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0.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removePersonalInfoOnSave="1" saveSubsetFonts="1">
  <p:sldMasterIdLst>
    <p:sldMasterId id="2147483648" r:id="rId1"/>
  </p:sldMasterIdLst>
  <p:notesMasterIdLst>
    <p:notesMasterId r:id="rId41"/>
  </p:notesMasterIdLst>
  <p:handoutMasterIdLst>
    <p:handoutMasterId r:id="rId42"/>
  </p:handoutMasterIdLst>
  <p:sldIdLst>
    <p:sldId id="1082" r:id="rId2"/>
    <p:sldId id="1292" r:id="rId3"/>
    <p:sldId id="1212" r:id="rId4"/>
    <p:sldId id="1291" r:id="rId5"/>
    <p:sldId id="1293" r:id="rId6"/>
    <p:sldId id="1294" r:id="rId7"/>
    <p:sldId id="1264" r:id="rId8"/>
    <p:sldId id="1296" r:id="rId9"/>
    <p:sldId id="1160" r:id="rId10"/>
    <p:sldId id="1184" r:id="rId11"/>
    <p:sldId id="1163" r:id="rId12"/>
    <p:sldId id="1261" r:id="rId13"/>
    <p:sldId id="1219" r:id="rId14"/>
    <p:sldId id="1229" r:id="rId15"/>
    <p:sldId id="1262" r:id="rId16"/>
    <p:sldId id="1297" r:id="rId17"/>
    <p:sldId id="1271" r:id="rId18"/>
    <p:sldId id="1225" r:id="rId19"/>
    <p:sldId id="1301" r:id="rId20"/>
    <p:sldId id="1302" r:id="rId21"/>
    <p:sldId id="1303" r:id="rId22"/>
    <p:sldId id="1304" r:id="rId23"/>
    <p:sldId id="1305" r:id="rId24"/>
    <p:sldId id="1306" r:id="rId25"/>
    <p:sldId id="1307" r:id="rId26"/>
    <p:sldId id="1308" r:id="rId27"/>
    <p:sldId id="1298" r:id="rId28"/>
    <p:sldId id="1299" r:id="rId29"/>
    <p:sldId id="1196" r:id="rId30"/>
    <p:sldId id="1279" r:id="rId31"/>
    <p:sldId id="1310" r:id="rId32"/>
    <p:sldId id="1300" r:id="rId33"/>
    <p:sldId id="1278" r:id="rId34"/>
    <p:sldId id="1252" r:id="rId35"/>
    <p:sldId id="1204" r:id="rId36"/>
    <p:sldId id="1309" r:id="rId37"/>
    <p:sldId id="1254" r:id="rId38"/>
    <p:sldId id="1290" r:id="rId39"/>
    <p:sldId id="1198" r:id="rId40"/>
  </p:sldIdLst>
  <p:sldSz cx="9906000" cy="6858000" type="A4"/>
  <p:notesSz cx="6797675" cy="9926638"/>
  <p:custDataLst>
    <p:tags r:id="rId43"/>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5638F3C0-8212-4A39-BAB8-9798B744BF31}">
          <p14:sldIdLst>
            <p14:sldId id="1082"/>
            <p14:sldId id="1292"/>
            <p14:sldId id="1212"/>
            <p14:sldId id="1291"/>
            <p14:sldId id="1293"/>
            <p14:sldId id="1294"/>
            <p14:sldId id="1264"/>
            <p14:sldId id="1296"/>
            <p14:sldId id="1160"/>
            <p14:sldId id="1184"/>
            <p14:sldId id="1163"/>
            <p14:sldId id="1261"/>
            <p14:sldId id="1219"/>
            <p14:sldId id="1229"/>
            <p14:sldId id="1262"/>
            <p14:sldId id="1297"/>
            <p14:sldId id="1271"/>
            <p14:sldId id="1225"/>
            <p14:sldId id="1301"/>
            <p14:sldId id="1302"/>
            <p14:sldId id="1303"/>
            <p14:sldId id="1304"/>
            <p14:sldId id="1305"/>
            <p14:sldId id="1306"/>
            <p14:sldId id="1307"/>
            <p14:sldId id="1308"/>
            <p14:sldId id="1298"/>
            <p14:sldId id="1299"/>
            <p14:sldId id="1196"/>
            <p14:sldId id="1279"/>
            <p14:sldId id="1310"/>
            <p14:sldId id="1300"/>
            <p14:sldId id="1278"/>
            <p14:sldId id="1252"/>
            <p14:sldId id="1204"/>
            <p14:sldId id="1309"/>
            <p14:sldId id="1254"/>
            <p14:sldId id="1290"/>
            <p14:sldId id="1198"/>
          </p14:sldIdLst>
        </p14:section>
        <p14:section name="Appendix" id="{B2E8CBB6-A5F3-4270-9FB0-52ECA96448A1}">
          <p14:sldIdLst/>
        </p14:section>
      </p14:sectionLst>
    </p:ext>
    <p:ext uri="{EFAFB233-063F-42B5-8137-9DF3F51BA10A}">
      <p15:sldGuideLst xmlns:p15="http://schemas.microsoft.com/office/powerpoint/2012/main">
        <p15:guide id="1" orient="horz" pos="119">
          <p15:clr>
            <a:srgbClr val="A4A3A4"/>
          </p15:clr>
        </p15:guide>
        <p15:guide id="2" orient="horz" pos="482">
          <p15:clr>
            <a:srgbClr val="A4A3A4"/>
          </p15:clr>
        </p15:guide>
        <p15:guide id="3" orient="horz" pos="2160">
          <p15:clr>
            <a:srgbClr val="A4A3A4"/>
          </p15:clr>
        </p15:guide>
        <p15:guide id="4" orient="horz" pos="536">
          <p15:clr>
            <a:srgbClr val="A4A3A4"/>
          </p15:clr>
        </p15:guide>
        <p15:guide id="5" orient="horz" pos="1043">
          <p15:clr>
            <a:srgbClr val="A4A3A4"/>
          </p15:clr>
        </p15:guide>
        <p15:guide id="6" pos="3120">
          <p15:clr>
            <a:srgbClr val="A4A3A4"/>
          </p15:clr>
        </p15:guide>
        <p15:guide id="7" pos="126">
          <p15:clr>
            <a:srgbClr val="A4A3A4"/>
          </p15:clr>
        </p15:guide>
        <p15:guide id="8" pos="6113">
          <p15:clr>
            <a:srgbClr val="A4A3A4"/>
          </p15:clr>
        </p15:guide>
        <p15:guide id="9" pos="6125">
          <p15:clr>
            <a:srgbClr val="A4A3A4"/>
          </p15:clr>
        </p15:guide>
        <p15:guide id="10" orient="horz" pos="2568">
          <p15:clr>
            <a:srgbClr val="A4A3A4"/>
          </p15:clr>
        </p15:guide>
        <p15:guide id="11" orient="horz" pos="1888">
          <p15:clr>
            <a:srgbClr val="A4A3A4"/>
          </p15:clr>
        </p15:guide>
        <p15:guide id="12" orient="horz" pos="3067">
          <p15:clr>
            <a:srgbClr val="A4A3A4"/>
          </p15:clr>
        </p15:guide>
        <p15:guide id="13" pos="4027">
          <p15:clr>
            <a:srgbClr val="A4A3A4"/>
          </p15:clr>
        </p15:guide>
        <p15:guide id="14" pos="6114">
          <p15:clr>
            <a:srgbClr val="A4A3A4"/>
          </p15:clr>
        </p15:guide>
        <p15:guide id="15" pos="3121">
          <p15:clr>
            <a:srgbClr val="A4A3A4"/>
          </p15:clr>
        </p15:guide>
        <p15:guide id="16" pos="125">
          <p15:clr>
            <a:srgbClr val="A4A3A4"/>
          </p15:clr>
        </p15:guide>
        <p15:guide id="17" pos="6126">
          <p15:clr>
            <a:srgbClr val="A4A3A4"/>
          </p15:clr>
        </p15:guide>
        <p15:guide id="18" pos="4028">
          <p15:clr>
            <a:srgbClr val="A4A3A4"/>
          </p15:clr>
        </p15:guide>
        <p15:guide id="19" pos="6115">
          <p15:clr>
            <a:srgbClr val="A4A3A4"/>
          </p15:clr>
        </p15:guide>
      </p15:sldGuideLst>
    </p:ext>
    <p:ext uri="{2D200454-40CA-4A62-9FC3-DE9A4176ACB9}">
      <p15:notesGuideLst xmlns:p15="http://schemas.microsoft.com/office/powerpoint/2012/main">
        <p15:guide id="1" orient="horz" pos="3127">
          <p15:clr>
            <a:srgbClr val="A4A3A4"/>
          </p15:clr>
        </p15:guide>
        <p15:guide id="2" pos="214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2" name="Author" initials="A" lastIdx="0" clrIdx="3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E9F0"/>
    <a:srgbClr val="BFD5E3"/>
    <a:srgbClr val="140848"/>
    <a:srgbClr val="153575"/>
    <a:srgbClr val="153D47"/>
    <a:srgbClr val="143448"/>
    <a:srgbClr val="669900"/>
    <a:srgbClr val="000000"/>
    <a:srgbClr val="FFFFFF"/>
    <a:srgbClr val="DB3F1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465" autoAdjust="0"/>
    <p:restoredTop sz="67936" autoAdjust="0"/>
  </p:normalViewPr>
  <p:slideViewPr>
    <p:cSldViewPr snapToGrid="0" showGuides="1">
      <p:cViewPr varScale="1">
        <p:scale>
          <a:sx n="59" d="100"/>
          <a:sy n="59" d="100"/>
        </p:scale>
        <p:origin x="2016" y="101"/>
      </p:cViewPr>
      <p:guideLst>
        <p:guide orient="horz" pos="119"/>
        <p:guide orient="horz" pos="482"/>
        <p:guide orient="horz" pos="2160"/>
        <p:guide orient="horz" pos="536"/>
        <p:guide orient="horz" pos="1043"/>
        <p:guide pos="3120"/>
        <p:guide pos="126"/>
        <p:guide pos="6113"/>
        <p:guide pos="6125"/>
        <p:guide orient="horz" pos="2568"/>
        <p:guide orient="horz" pos="1888"/>
        <p:guide orient="horz" pos="3067"/>
        <p:guide pos="4027"/>
        <p:guide pos="6114"/>
        <p:guide pos="3121"/>
        <p:guide pos="125"/>
        <p:guide pos="6126"/>
        <p:guide pos="4028"/>
        <p:guide pos="6115"/>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4142"/>
    </p:cViewPr>
  </p:sorterViewPr>
  <p:notesViewPr>
    <p:cSldViewPr snapToGrid="0">
      <p:cViewPr>
        <p:scale>
          <a:sx n="100" d="100"/>
          <a:sy n="100" d="100"/>
        </p:scale>
        <p:origin x="-3474" y="1038"/>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handoutMaster" Target="handoutMasters/handoutMaster1.xml"/><Relationship Id="rId47" Type="http://schemas.openxmlformats.org/officeDocument/2006/relationships/theme" Target="theme/theme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commentAuthors" Target="commentAuthor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tags" Target="tags/tag1.xml"/><Relationship Id="rId48" Type="http://schemas.openxmlformats.org/officeDocument/2006/relationships/tableStyles" Target="tableStyle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viewProps" Target="viewProps.xml"/><Relationship Id="rId20" Type="http://schemas.openxmlformats.org/officeDocument/2006/relationships/slide" Target="slides/slide19.xml"/><Relationship Id="rId41"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1"/>
            <a:ext cx="2946400" cy="496332"/>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sz="quarter" idx="1"/>
          </p:nvPr>
        </p:nvSpPr>
        <p:spPr>
          <a:xfrm>
            <a:off x="3849688" y="1"/>
            <a:ext cx="2946400" cy="496332"/>
          </a:xfrm>
          <a:prstGeom prst="rect">
            <a:avLst/>
          </a:prstGeom>
        </p:spPr>
        <p:txBody>
          <a:bodyPr vert="horz" lIns="91440" tIns="45720" rIns="91440" bIns="45720" rtlCol="0"/>
          <a:lstStyle>
            <a:lvl1pPr algn="r">
              <a:defRPr sz="1200"/>
            </a:lvl1pPr>
          </a:lstStyle>
          <a:p>
            <a:fld id="{E2AADE24-2B94-4FF9-8596-6D495B870FFA}" type="datetimeFigureOut">
              <a:rPr lang="de-DE" smtClean="0"/>
              <a:t>18.03.2019</a:t>
            </a:fld>
            <a:endParaRPr lang="de-DE"/>
          </a:p>
        </p:txBody>
      </p:sp>
      <p:sp>
        <p:nvSpPr>
          <p:cNvPr id="4" name="Fußzeilenplatzhalter 3"/>
          <p:cNvSpPr>
            <a:spLocks noGrp="1"/>
          </p:cNvSpPr>
          <p:nvPr>
            <p:ph type="ftr" sz="quarter" idx="2"/>
          </p:nvPr>
        </p:nvSpPr>
        <p:spPr>
          <a:xfrm>
            <a:off x="0" y="9428711"/>
            <a:ext cx="2946400" cy="496332"/>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p:cNvSpPr>
            <a:spLocks noGrp="1"/>
          </p:cNvSpPr>
          <p:nvPr>
            <p:ph type="sldNum" sz="quarter" idx="3"/>
          </p:nvPr>
        </p:nvSpPr>
        <p:spPr>
          <a:xfrm>
            <a:off x="3849688" y="9428711"/>
            <a:ext cx="2946400" cy="496332"/>
          </a:xfrm>
          <a:prstGeom prst="rect">
            <a:avLst/>
          </a:prstGeom>
        </p:spPr>
        <p:txBody>
          <a:bodyPr vert="horz" lIns="91440" tIns="45720" rIns="91440" bIns="45720" rtlCol="0" anchor="b"/>
          <a:lstStyle>
            <a:lvl1pPr algn="r">
              <a:defRPr sz="1200"/>
            </a:lvl1pPr>
          </a:lstStyle>
          <a:p>
            <a:fld id="{6BDE720B-B141-47BB-86B2-BBAB1D685513}" type="slidenum">
              <a:rPr lang="de-DE" smtClean="0"/>
              <a:t>‹#›</a:t>
            </a:fld>
            <a:endParaRPr lang="de-DE"/>
          </a:p>
        </p:txBody>
      </p:sp>
    </p:spTree>
    <p:extLst>
      <p:ext uri="{BB962C8B-B14F-4D97-AF65-F5344CB8AC3E}">
        <p14:creationId xmlns:p14="http://schemas.microsoft.com/office/powerpoint/2010/main" val="340363366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1" y="1"/>
            <a:ext cx="2945659" cy="496332"/>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50444" y="1"/>
            <a:ext cx="2945659" cy="496332"/>
          </a:xfrm>
          <a:prstGeom prst="rect">
            <a:avLst/>
          </a:prstGeom>
        </p:spPr>
        <p:txBody>
          <a:bodyPr vert="horz" lIns="91440" tIns="45720" rIns="91440" bIns="45720" rtlCol="0"/>
          <a:lstStyle>
            <a:lvl1pPr algn="r">
              <a:defRPr sz="1200"/>
            </a:lvl1pPr>
          </a:lstStyle>
          <a:p>
            <a:fld id="{40F6402B-DB8C-4CD0-8333-1293CA7CBFB4}" type="datetimeFigureOut">
              <a:rPr lang="de-DE" smtClean="0"/>
              <a:t>18.03.2019</a:t>
            </a:fld>
            <a:endParaRPr lang="de-DE"/>
          </a:p>
        </p:txBody>
      </p:sp>
      <p:sp>
        <p:nvSpPr>
          <p:cNvPr id="4" name="Folienbildplatzhalter 3"/>
          <p:cNvSpPr>
            <a:spLocks noGrp="1" noRot="1" noChangeAspect="1"/>
          </p:cNvSpPr>
          <p:nvPr>
            <p:ph type="sldImg" idx="2"/>
          </p:nvPr>
        </p:nvSpPr>
        <p:spPr>
          <a:xfrm>
            <a:off x="711200" y="744538"/>
            <a:ext cx="5375275" cy="3722687"/>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79768" y="4715154"/>
            <a:ext cx="5438140" cy="4466988"/>
          </a:xfrm>
          <a:prstGeom prst="rect">
            <a:avLst/>
          </a:prstGeom>
        </p:spPr>
        <p:txBody>
          <a:bodyPr vert="horz" lIns="91440" tIns="45720" rIns="91440" bIns="45720" rtlCol="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6" name="Fußzeilenplatzhalter 5"/>
          <p:cNvSpPr>
            <a:spLocks noGrp="1"/>
          </p:cNvSpPr>
          <p:nvPr>
            <p:ph type="ftr" sz="quarter" idx="4"/>
          </p:nvPr>
        </p:nvSpPr>
        <p:spPr>
          <a:xfrm>
            <a:off x="1" y="9428584"/>
            <a:ext cx="2945659" cy="496332"/>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50444" y="9428584"/>
            <a:ext cx="2945659" cy="496332"/>
          </a:xfrm>
          <a:prstGeom prst="rect">
            <a:avLst/>
          </a:prstGeom>
        </p:spPr>
        <p:txBody>
          <a:bodyPr vert="horz" lIns="91440" tIns="45720" rIns="91440" bIns="45720" rtlCol="0" anchor="b"/>
          <a:lstStyle>
            <a:lvl1pPr algn="r">
              <a:defRPr sz="1200"/>
            </a:lvl1pPr>
          </a:lstStyle>
          <a:p>
            <a:fld id="{273DC81D-38FA-4EFB-A816-49076D4E1450}" type="slidenum">
              <a:rPr lang="de-DE" smtClean="0"/>
              <a:t>‹#›</a:t>
            </a:fld>
            <a:endParaRPr lang="de-DE"/>
          </a:p>
        </p:txBody>
      </p:sp>
    </p:spTree>
    <p:extLst>
      <p:ext uri="{BB962C8B-B14F-4D97-AF65-F5344CB8AC3E}">
        <p14:creationId xmlns:p14="http://schemas.microsoft.com/office/powerpoint/2010/main" val="317595379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www.mpg.de/en" TargetMode="External"/><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esac-initiative.org/guidelines/" TargetMode="External"/><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esac-initiative.org/guidelines/" TargetMode="External"/><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esac-initiative.org/guidelines/" TargetMode="External"/><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esac-initiative.org/guidelines/" TargetMode="External"/><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esac-initiative.org/guidelines/" TargetMode="External"/><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3" Type="http://schemas.openxmlformats.org/officeDocument/2006/relationships/hyperlink" Target="http://esac-initiative.org/guidelines/" TargetMode="External"/><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3" Type="http://schemas.openxmlformats.org/officeDocument/2006/relationships/hyperlink" Target="http://esac-initiative.org/guidelines/" TargetMode="External"/><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3" Type="http://schemas.openxmlformats.org/officeDocument/2006/relationships/hyperlink" Target="http://esac-initiative.org/guidelines/" TargetMode="External"/><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3" Type="http://schemas.openxmlformats.org/officeDocument/2006/relationships/hyperlink" Target="http://esac-initiative.org/guidelines/" TargetMode="External"/><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3" Type="http://schemas.openxmlformats.org/officeDocument/2006/relationships/hyperlink" Target="https://www.latimes.com/business/hiltzik/la-fi-hiltzik-uc-elsevier-20181207-story.html" TargetMode="External"/><Relationship Id="rId2" Type="http://schemas.openxmlformats.org/officeDocument/2006/relationships/slide" Target="../slides/slide27.xml"/><Relationship Id="rId1" Type="http://schemas.openxmlformats.org/officeDocument/2006/relationships/notesMaster" Target="../notesMasters/notesMaster1.xml"/><Relationship Id="rId6" Type="http://schemas.openxmlformats.org/officeDocument/2006/relationships/hyperlink" Target="https://www.insidehighered.com/news/2018/12/13/university-california-challenges-elsevier-over-access-scholarly-research" TargetMode="External"/><Relationship Id="rId5" Type="http://schemas.openxmlformats.org/officeDocument/2006/relationships/hyperlink" Target="https://news.lib.berkeley.edu/crusade-open-access-and-what-library-doing-help-explained" TargetMode="External"/><Relationship Id="rId4" Type="http://schemas.openxmlformats.org/officeDocument/2006/relationships/hyperlink" Target="http://www.dailycal.org/2018/12/13/uc-to-negotiate-terms-with-worlds-largest-publisher-of-scholarly-articles/" TargetMode="External"/></Relationships>
</file>

<file path=ppt/notesSlides/_rels/notesSlide26.xml.rels><?xml version="1.0" encoding="UTF-8" standalone="yes"?>
<Relationships xmlns="http://schemas.openxmlformats.org/package/2006/relationships"><Relationship Id="rId3" Type="http://schemas.openxmlformats.org/officeDocument/2006/relationships/hyperlink" Target="https://senate.universityofcalifornia.edu/_files/reports/academic-council-statement-elsevier-feb28.pdf" TargetMode="External"/><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3" Type="http://schemas.openxmlformats.org/officeDocument/2006/relationships/hyperlink" Target="https://osf.io/mr9s8/" TargetMode="External"/><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3" Type="http://schemas.openxmlformats.org/officeDocument/2006/relationships/hyperlink" Target="https://osf.io/mr9s8/" TargetMode="External"/><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3" Type="http://schemas.openxmlformats.org/officeDocument/2006/relationships/hyperlink" Target="https://docs.google.com/spreadsheets/d/1KoasXWQC6C9gGBw5U7fcKxYtytQ8ooqHACiUFRNEcIU/edit#gid=1733337976" TargetMode="External"/><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issi-society.org/blog/posts/2019/january/the-international-society-for-scientometrics-and-informetrics-ends-support-for-journal-of-informetrics-launches-new-open-access-journal-quantitative-science-studies/" TargetMode="External"/><Relationship Id="rId7" Type="http://schemas.openxmlformats.org/officeDocument/2006/relationships/hyperlink" Target="https://i4oc.org/" TargetMode="External"/><Relationship Id="rId2" Type="http://schemas.openxmlformats.org/officeDocument/2006/relationships/slide" Target="../slides/slide5.xml"/><Relationship Id="rId1" Type="http://schemas.openxmlformats.org/officeDocument/2006/relationships/notesMaster" Target="../notesMasters/notesMaster1.xml"/><Relationship Id="rId6" Type="http://schemas.openxmlformats.org/officeDocument/2006/relationships/hyperlink" Target="https://www.journals.elsevier.com/journal-of-informetrics" TargetMode="External"/><Relationship Id="rId5" Type="http://schemas.openxmlformats.org/officeDocument/2006/relationships/hyperlink" Target="https://www.mitpressjournals.org/journals/qss/editorial" TargetMode="External"/><Relationship Id="rId4" Type="http://schemas.openxmlformats.org/officeDocument/2006/relationships/hyperlink" Target="https://www.mitpressjournals.org/loi/qss" TargetMode="Externa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711200" y="744538"/>
            <a:ext cx="5375275" cy="3722687"/>
          </a:xfrm>
        </p:spPr>
      </p:sp>
      <p:sp>
        <p:nvSpPr>
          <p:cNvPr id="3" name="Notizenplatzhalter 2"/>
          <p:cNvSpPr>
            <a:spLocks noGrp="1"/>
          </p:cNvSpPr>
          <p:nvPr>
            <p:ph type="body" idx="1"/>
          </p:nvPr>
        </p:nvSpPr>
        <p:spPr/>
        <p:txBody>
          <a:bodyPr/>
          <a:lstStyle/>
          <a:p>
            <a:r>
              <a:rPr lang="en-GB" sz="1200" kern="1200" dirty="0" smtClean="0">
                <a:solidFill>
                  <a:schemeClr val="tx1"/>
                </a:solidFill>
                <a:effectLst/>
                <a:latin typeface="+mn-lt"/>
                <a:ea typeface="+mn-ea"/>
                <a:cs typeface="+mn-cs"/>
              </a:rPr>
              <a:t> </a:t>
            </a:r>
          </a:p>
          <a:p>
            <a:pPr lvl="1"/>
            <a:r>
              <a:rPr lang="en-US" sz="1200" kern="1200" dirty="0" smtClean="0">
                <a:solidFill>
                  <a:schemeClr val="tx1"/>
                </a:solidFill>
                <a:effectLst/>
                <a:latin typeface="+mn-lt"/>
                <a:ea typeface="+mn-ea"/>
                <a:cs typeface="+mn-cs"/>
              </a:rPr>
              <a:t>Understand the relevance of OA publishing</a:t>
            </a:r>
            <a:endParaRPr lang="en-GB" sz="1200" kern="1200" dirty="0" smtClean="0">
              <a:solidFill>
                <a:schemeClr val="tx1"/>
              </a:solidFill>
              <a:effectLst/>
              <a:latin typeface="+mn-lt"/>
              <a:ea typeface="+mn-ea"/>
              <a:cs typeface="+mn-cs"/>
            </a:endParaRPr>
          </a:p>
          <a:p>
            <a:r>
              <a:rPr lang="en-GB" sz="1200" kern="1200" dirty="0" smtClean="0">
                <a:solidFill>
                  <a:schemeClr val="tx1"/>
                </a:solidFill>
                <a:effectLst/>
                <a:latin typeface="+mn-lt"/>
                <a:ea typeface="+mn-ea"/>
                <a:cs typeface="+mn-cs"/>
              </a:rPr>
              <a:t>Stockholm University</a:t>
            </a:r>
          </a:p>
          <a:p>
            <a:r>
              <a:rPr lang="en-GB" sz="1200" kern="1200" dirty="0" smtClean="0">
                <a:solidFill>
                  <a:schemeClr val="tx1"/>
                </a:solidFill>
                <a:effectLst/>
                <a:latin typeface="+mn-lt"/>
                <a:ea typeface="+mn-ea"/>
                <a:cs typeface="+mn-cs"/>
              </a:rPr>
              <a:t>Number of titles</a:t>
            </a:r>
          </a:p>
          <a:p>
            <a:r>
              <a:rPr lang="en-GB" sz="1200" kern="1200" dirty="0" smtClean="0">
                <a:solidFill>
                  <a:schemeClr val="tx1"/>
                </a:solidFill>
                <a:effectLst/>
                <a:latin typeface="+mn-lt"/>
                <a:ea typeface="+mn-ea"/>
                <a:cs typeface="+mn-cs"/>
              </a:rPr>
              <a:t> </a:t>
            </a:r>
          </a:p>
          <a:p>
            <a:pPr lvl="1"/>
            <a:r>
              <a:rPr lang="en-US" sz="1200" kern="1200" dirty="0" smtClean="0">
                <a:solidFill>
                  <a:schemeClr val="tx1"/>
                </a:solidFill>
                <a:effectLst/>
                <a:latin typeface="+mn-lt"/>
                <a:ea typeface="+mn-ea"/>
                <a:cs typeface="+mn-cs"/>
              </a:rPr>
              <a:t>Monitor and analyze your publication and financial data</a:t>
            </a:r>
            <a:endParaRPr lang="en-GB" sz="1200" kern="1200" dirty="0" smtClean="0">
              <a:solidFill>
                <a:schemeClr val="tx1"/>
              </a:solidFill>
              <a:effectLst/>
              <a:latin typeface="+mn-lt"/>
              <a:ea typeface="+mn-ea"/>
              <a:cs typeface="+mn-cs"/>
            </a:endParaRPr>
          </a:p>
          <a:p>
            <a:r>
              <a:rPr lang="en-GB" sz="1200" kern="1200" dirty="0" smtClean="0">
                <a:solidFill>
                  <a:schemeClr val="tx1"/>
                </a:solidFill>
                <a:effectLst/>
                <a:latin typeface="+mn-lt"/>
                <a:ea typeface="+mn-ea"/>
                <a:cs typeface="+mn-cs"/>
              </a:rPr>
              <a:t>Norway example (refers to Elsevier)</a:t>
            </a:r>
          </a:p>
          <a:p>
            <a:r>
              <a:rPr lang="en-GB" sz="1200" kern="1200" dirty="0" smtClean="0">
                <a:solidFill>
                  <a:schemeClr val="tx1"/>
                </a:solidFill>
                <a:effectLst/>
                <a:latin typeface="+mn-lt"/>
                <a:ea typeface="+mn-ea"/>
                <a:cs typeface="+mn-cs"/>
              </a:rPr>
              <a:t> </a:t>
            </a:r>
          </a:p>
          <a:p>
            <a:pPr lvl="1"/>
            <a:r>
              <a:rPr lang="en-US" sz="1200" kern="1200" dirty="0" smtClean="0">
                <a:solidFill>
                  <a:schemeClr val="tx1"/>
                </a:solidFill>
                <a:effectLst/>
                <a:latin typeface="+mn-lt"/>
                <a:ea typeface="+mn-ea"/>
                <a:cs typeface="+mn-cs"/>
              </a:rPr>
              <a:t>Engage stakeholders at all levels</a:t>
            </a:r>
            <a:endParaRPr lang="en-GB" sz="1200" kern="1200" dirty="0" smtClean="0">
              <a:solidFill>
                <a:schemeClr val="tx1"/>
              </a:solidFill>
              <a:effectLst/>
              <a:latin typeface="+mn-lt"/>
              <a:ea typeface="+mn-ea"/>
              <a:cs typeface="+mn-cs"/>
            </a:endParaRPr>
          </a:p>
          <a:p>
            <a:r>
              <a:rPr lang="en-GB" sz="1200" kern="1200" dirty="0" smtClean="0">
                <a:solidFill>
                  <a:schemeClr val="tx1"/>
                </a:solidFill>
                <a:effectLst/>
                <a:latin typeface="+mn-lt"/>
                <a:ea typeface="+mn-ea"/>
                <a:cs typeface="+mn-cs"/>
              </a:rPr>
              <a:t>UC</a:t>
            </a:r>
          </a:p>
          <a:p>
            <a:r>
              <a:rPr lang="en-GB" sz="1200" kern="1200" dirty="0" smtClean="0">
                <a:solidFill>
                  <a:schemeClr val="tx1"/>
                </a:solidFill>
                <a:effectLst/>
                <a:latin typeface="+mn-lt"/>
                <a:ea typeface="+mn-ea"/>
                <a:cs typeface="+mn-cs"/>
              </a:rPr>
              <a:t> </a:t>
            </a:r>
          </a:p>
          <a:p>
            <a:pPr lvl="1"/>
            <a:r>
              <a:rPr lang="en-US" sz="1200" kern="1200" dirty="0" smtClean="0">
                <a:solidFill>
                  <a:schemeClr val="tx1"/>
                </a:solidFill>
                <a:effectLst/>
                <a:latin typeface="+mn-lt"/>
                <a:ea typeface="+mn-ea"/>
                <a:cs typeface="+mn-cs"/>
              </a:rPr>
              <a:t>Prepare a publisher negotiation strategy</a:t>
            </a:r>
            <a:endParaRPr lang="en-GB" sz="1200" kern="1200" dirty="0" smtClean="0">
              <a:solidFill>
                <a:schemeClr val="tx1"/>
              </a:solidFill>
              <a:effectLst/>
              <a:latin typeface="+mn-lt"/>
              <a:ea typeface="+mn-ea"/>
              <a:cs typeface="+mn-cs"/>
            </a:endParaRPr>
          </a:p>
          <a:p>
            <a:r>
              <a:rPr lang="en-GB" sz="1200" kern="1200" dirty="0" smtClean="0">
                <a:solidFill>
                  <a:schemeClr val="tx1"/>
                </a:solidFill>
                <a:effectLst/>
                <a:latin typeface="+mn-lt"/>
                <a:ea typeface="+mn-ea"/>
                <a:cs typeface="+mn-cs"/>
              </a:rPr>
              <a:t>MPDL big 3 are in normalized for 100%</a:t>
            </a:r>
          </a:p>
          <a:p>
            <a:r>
              <a:rPr lang="en-GB" sz="1200" kern="1200" dirty="0" smtClean="0">
                <a:solidFill>
                  <a:schemeClr val="tx1"/>
                </a:solidFill>
                <a:effectLst/>
                <a:latin typeface="+mn-lt"/>
                <a:ea typeface="+mn-ea"/>
                <a:cs typeface="+mn-cs"/>
              </a:rPr>
              <a:t>MPDL data</a:t>
            </a:r>
          </a:p>
          <a:p>
            <a:r>
              <a:rPr lang="en-GB" sz="1200" kern="1200" dirty="0" smtClean="0">
                <a:solidFill>
                  <a:schemeClr val="tx1"/>
                </a:solidFill>
                <a:effectLst/>
                <a:latin typeface="+mn-lt"/>
                <a:ea typeface="+mn-ea"/>
                <a:cs typeface="+mn-cs"/>
              </a:rPr>
              <a:t>Example from </a:t>
            </a:r>
            <a:r>
              <a:rPr lang="en-GB" sz="1200" kern="1200" dirty="0" err="1" smtClean="0">
                <a:solidFill>
                  <a:schemeClr val="tx1"/>
                </a:solidFill>
                <a:effectLst/>
                <a:latin typeface="+mn-lt"/>
                <a:ea typeface="+mn-ea"/>
                <a:cs typeface="+mn-cs"/>
              </a:rPr>
              <a:t>netherlands</a:t>
            </a:r>
            <a:r>
              <a:rPr lang="en-GB" sz="1200" kern="1200" dirty="0" smtClean="0">
                <a:solidFill>
                  <a:schemeClr val="tx1"/>
                </a:solidFill>
                <a:effectLst/>
                <a:latin typeface="+mn-lt"/>
                <a:ea typeface="+mn-ea"/>
                <a:cs typeface="+mn-cs"/>
              </a:rPr>
              <a:t>, </a:t>
            </a:r>
            <a:r>
              <a:rPr lang="en-GB" sz="1200" kern="1200" dirty="0" err="1" smtClean="0">
                <a:solidFill>
                  <a:schemeClr val="tx1"/>
                </a:solidFill>
                <a:effectLst/>
                <a:latin typeface="+mn-lt"/>
                <a:ea typeface="+mn-ea"/>
                <a:cs typeface="+mn-cs"/>
              </a:rPr>
              <a:t>ie</a:t>
            </a:r>
            <a:r>
              <a:rPr lang="en-GB" sz="1200" kern="1200" dirty="0" smtClean="0">
                <a:solidFill>
                  <a:schemeClr val="tx1"/>
                </a:solidFill>
                <a:effectLst/>
                <a:latin typeface="+mn-lt"/>
                <a:ea typeface="+mn-ea"/>
                <a:cs typeface="+mn-cs"/>
              </a:rPr>
              <a:t> RSC – step back from an agreement and document for alternative access routes (failure must be an option)</a:t>
            </a:r>
          </a:p>
          <a:p>
            <a:r>
              <a:rPr lang="en-GB" sz="1200" kern="1200" dirty="0" smtClean="0">
                <a:solidFill>
                  <a:schemeClr val="tx1"/>
                </a:solidFill>
                <a:effectLst/>
                <a:latin typeface="+mn-lt"/>
                <a:ea typeface="+mn-ea"/>
                <a:cs typeface="+mn-cs"/>
              </a:rPr>
              <a:t> </a:t>
            </a:r>
          </a:p>
          <a:p>
            <a:pPr lvl="1"/>
            <a:r>
              <a:rPr lang="en-US" sz="1200" kern="1200" dirty="0" smtClean="0">
                <a:solidFill>
                  <a:schemeClr val="tx1"/>
                </a:solidFill>
                <a:effectLst/>
                <a:latin typeface="+mn-lt"/>
                <a:ea typeface="+mn-ea"/>
                <a:cs typeface="+mn-cs"/>
              </a:rPr>
              <a:t>Leverage transformative agreements</a:t>
            </a:r>
            <a:endParaRPr lang="en-GB" sz="1200" kern="1200" dirty="0" smtClean="0">
              <a:solidFill>
                <a:schemeClr val="tx1"/>
              </a:solidFill>
              <a:effectLst/>
              <a:latin typeface="+mn-lt"/>
              <a:ea typeface="+mn-ea"/>
              <a:cs typeface="+mn-cs"/>
            </a:endParaRPr>
          </a:p>
          <a:p>
            <a:r>
              <a:rPr lang="en-GB" sz="1200" kern="1200" dirty="0" smtClean="0">
                <a:solidFill>
                  <a:schemeClr val="tx1"/>
                </a:solidFill>
                <a:effectLst/>
                <a:latin typeface="+mn-lt"/>
                <a:ea typeface="+mn-ea"/>
                <a:cs typeface="+mn-cs"/>
              </a:rPr>
              <a:t>MIT clause</a:t>
            </a:r>
          </a:p>
          <a:p>
            <a:r>
              <a:rPr lang="en-GB" sz="1200" kern="1200" dirty="0" smtClean="0">
                <a:solidFill>
                  <a:schemeClr val="tx1"/>
                </a:solidFill>
                <a:effectLst/>
                <a:latin typeface="+mn-lt"/>
                <a:ea typeface="+mn-ea"/>
                <a:cs typeface="+mn-cs"/>
              </a:rPr>
              <a:t>Refer to ESAC (workshop – discussion of springer compact)</a:t>
            </a:r>
          </a:p>
          <a:p>
            <a:r>
              <a:rPr lang="en-GB" sz="1200" kern="1200" dirty="0" smtClean="0">
                <a:solidFill>
                  <a:schemeClr val="tx1"/>
                </a:solidFill>
                <a:effectLst/>
                <a:latin typeface="+mn-lt"/>
                <a:ea typeface="+mn-ea"/>
                <a:cs typeface="+mn-cs"/>
              </a:rPr>
              <a:t> </a:t>
            </a:r>
          </a:p>
          <a:p>
            <a:r>
              <a:rPr lang="en-GB" sz="1200" kern="1200" dirty="0" smtClean="0">
                <a:solidFill>
                  <a:schemeClr val="tx1"/>
                </a:solidFill>
                <a:effectLst/>
                <a:latin typeface="+mn-lt"/>
                <a:ea typeface="+mn-ea"/>
                <a:cs typeface="+mn-cs"/>
              </a:rPr>
              <a:t> </a:t>
            </a:r>
          </a:p>
          <a:p>
            <a:pPr lvl="1"/>
            <a:r>
              <a:rPr lang="en-US" sz="1200" kern="1200" dirty="0" smtClean="0">
                <a:solidFill>
                  <a:schemeClr val="tx1"/>
                </a:solidFill>
                <a:effectLst/>
                <a:latin typeface="+mn-lt"/>
                <a:ea typeface="+mn-ea"/>
                <a:cs typeface="+mn-cs"/>
              </a:rPr>
              <a:t>Collaborate and communicate</a:t>
            </a:r>
            <a:endParaRPr lang="en-GB" sz="1200" kern="1200" dirty="0" smtClean="0">
              <a:solidFill>
                <a:schemeClr val="tx1"/>
              </a:solidFill>
              <a:effectLst/>
              <a:latin typeface="+mn-lt"/>
              <a:ea typeface="+mn-ea"/>
              <a:cs typeface="+mn-cs"/>
            </a:endParaRPr>
          </a:p>
          <a:p>
            <a:r>
              <a:rPr lang="en-GB" sz="1200" kern="1200" dirty="0" smtClean="0">
                <a:solidFill>
                  <a:schemeClr val="tx1"/>
                </a:solidFill>
                <a:effectLst/>
                <a:latin typeface="+mn-lt"/>
                <a:ea typeface="+mn-ea"/>
                <a:cs typeface="+mn-cs"/>
              </a:rPr>
              <a:t>ESAC</a:t>
            </a:r>
          </a:p>
          <a:p>
            <a:r>
              <a:rPr lang="en-GB" sz="1200" kern="1200" dirty="0" smtClean="0">
                <a:solidFill>
                  <a:schemeClr val="tx1"/>
                </a:solidFill>
                <a:effectLst/>
                <a:latin typeface="+mn-lt"/>
                <a:ea typeface="+mn-ea"/>
                <a:cs typeface="+mn-cs"/>
              </a:rPr>
              <a:t>LIBER and EUA</a:t>
            </a:r>
          </a:p>
          <a:p>
            <a:r>
              <a:rPr lang="en-GB" sz="1200" kern="1200" dirty="0" smtClean="0">
                <a:solidFill>
                  <a:schemeClr val="tx1"/>
                </a:solidFill>
                <a:effectLst/>
                <a:latin typeface="+mn-lt"/>
                <a:ea typeface="+mn-ea"/>
                <a:cs typeface="+mn-cs"/>
              </a:rPr>
              <a:t>OA2020</a:t>
            </a:r>
          </a:p>
          <a:p>
            <a:r>
              <a:rPr lang="en-GB" sz="1200" kern="1200" dirty="0" err="1" smtClean="0">
                <a:solidFill>
                  <a:schemeClr val="tx1"/>
                </a:solidFill>
                <a:effectLst/>
                <a:latin typeface="+mn-lt"/>
                <a:ea typeface="+mn-ea"/>
                <a:cs typeface="+mn-cs"/>
              </a:rPr>
              <a:t>OpenAPC</a:t>
            </a:r>
            <a:endParaRPr lang="en-GB" sz="1200" kern="1200" dirty="0" smtClean="0">
              <a:solidFill>
                <a:schemeClr val="tx1"/>
              </a:solidFill>
              <a:effectLst/>
              <a:latin typeface="+mn-lt"/>
              <a:ea typeface="+mn-ea"/>
              <a:cs typeface="+mn-cs"/>
            </a:endParaRPr>
          </a:p>
          <a:p>
            <a:r>
              <a:rPr lang="en-GB" sz="1200" kern="1200" dirty="0" smtClean="0">
                <a:solidFill>
                  <a:schemeClr val="tx1"/>
                </a:solidFill>
                <a:effectLst/>
                <a:latin typeface="+mn-lt"/>
                <a:ea typeface="+mn-ea"/>
                <a:cs typeface="+mn-cs"/>
              </a:rPr>
              <a:t>marketing</a:t>
            </a:r>
          </a:p>
          <a:p>
            <a:pPr marL="0" indent="0">
              <a:buFontTx/>
              <a:buNone/>
            </a:pPr>
            <a:endParaRPr lang="en-US" sz="1200" kern="1200" baseline="0" dirty="0" smtClean="0">
              <a:solidFill>
                <a:schemeClr val="tx1"/>
              </a:solidFill>
              <a:effectLst/>
              <a:latin typeface="+mn-lt"/>
              <a:ea typeface="+mn-ea"/>
              <a:cs typeface="+mn-cs"/>
            </a:endParaRPr>
          </a:p>
        </p:txBody>
      </p:sp>
      <p:sp>
        <p:nvSpPr>
          <p:cNvPr id="4" name="Foliennummernplatzhalter 3"/>
          <p:cNvSpPr>
            <a:spLocks noGrp="1"/>
          </p:cNvSpPr>
          <p:nvPr>
            <p:ph type="sldNum" sz="quarter" idx="10"/>
          </p:nvPr>
        </p:nvSpPr>
        <p:spPr/>
        <p:txBody>
          <a:bodyPr/>
          <a:lstStyle/>
          <a:p>
            <a:fld id="{273DC81D-38FA-4EFB-A816-49076D4E1450}" type="slidenum">
              <a:rPr lang="de-DE" smtClean="0"/>
              <a:t>0</a:t>
            </a:fld>
            <a:endParaRPr lang="de-DE"/>
          </a:p>
        </p:txBody>
      </p:sp>
    </p:spTree>
    <p:extLst>
      <p:ext uri="{BB962C8B-B14F-4D97-AF65-F5344CB8AC3E}">
        <p14:creationId xmlns:p14="http://schemas.microsoft.com/office/powerpoint/2010/main" val="290354325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273DC81D-38FA-4EFB-A816-49076D4E1450}" type="slidenum">
              <a:rPr lang="de-DE" smtClean="0"/>
              <a:t>10</a:t>
            </a:fld>
            <a:endParaRPr lang="de-DE"/>
          </a:p>
        </p:txBody>
      </p:sp>
    </p:spTree>
    <p:extLst>
      <p:ext uri="{BB962C8B-B14F-4D97-AF65-F5344CB8AC3E}">
        <p14:creationId xmlns:p14="http://schemas.microsoft.com/office/powerpoint/2010/main" val="219042849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273DC81D-38FA-4EFB-A816-49076D4E1450}" type="slidenum">
              <a:rPr lang="de-DE" smtClean="0"/>
              <a:t>11</a:t>
            </a:fld>
            <a:endParaRPr lang="de-DE"/>
          </a:p>
        </p:txBody>
      </p:sp>
    </p:spTree>
    <p:extLst>
      <p:ext uri="{BB962C8B-B14F-4D97-AF65-F5344CB8AC3E}">
        <p14:creationId xmlns:p14="http://schemas.microsoft.com/office/powerpoint/2010/main" val="36667221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273DC81D-38FA-4EFB-A816-49076D4E1450}" type="slidenum">
              <a:rPr lang="de-DE" smtClean="0"/>
              <a:t>13</a:t>
            </a:fld>
            <a:endParaRPr lang="de-DE"/>
          </a:p>
        </p:txBody>
      </p:sp>
    </p:spTree>
    <p:extLst>
      <p:ext uri="{BB962C8B-B14F-4D97-AF65-F5344CB8AC3E}">
        <p14:creationId xmlns:p14="http://schemas.microsoft.com/office/powerpoint/2010/main" val="312709379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5 continents, 38 countries, 130</a:t>
            </a:r>
            <a:r>
              <a:rPr lang="en-GB" baseline="0" dirty="0" smtClean="0"/>
              <a:t> signatories</a:t>
            </a:r>
          </a:p>
          <a:p>
            <a:endParaRPr lang="en-GB" baseline="0" dirty="0" smtClean="0"/>
          </a:p>
          <a:p>
            <a:r>
              <a:rPr lang="en-GB" sz="1200" b="1" kern="1200" dirty="0" smtClean="0">
                <a:solidFill>
                  <a:schemeClr val="tx1"/>
                </a:solidFill>
                <a:effectLst/>
                <a:latin typeface="+mn-lt"/>
                <a:ea typeface="+mn-ea"/>
                <a:cs typeface="+mn-cs"/>
              </a:rPr>
              <a:t>About the Max Planck Society</a:t>
            </a:r>
            <a:endParaRPr lang="en-GB" sz="1200" kern="1200" dirty="0" smtClean="0">
              <a:solidFill>
                <a:schemeClr val="tx1"/>
              </a:solidFill>
              <a:effectLst/>
              <a:latin typeface="+mn-lt"/>
              <a:ea typeface="+mn-ea"/>
              <a:cs typeface="+mn-cs"/>
            </a:endParaRPr>
          </a:p>
          <a:p>
            <a:r>
              <a:rPr lang="en-GB" sz="1200" kern="1200" dirty="0" smtClean="0">
                <a:solidFill>
                  <a:schemeClr val="tx1"/>
                </a:solidFill>
                <a:effectLst/>
                <a:latin typeface="+mn-lt"/>
                <a:ea typeface="+mn-ea"/>
                <a:cs typeface="+mn-cs"/>
              </a:rPr>
              <a:t>The Max Planck Society for the Advancement of Science (</a:t>
            </a:r>
            <a:r>
              <a:rPr lang="en-GB" sz="1200" u="none" strike="noStrike" kern="1200" dirty="0" smtClean="0">
                <a:solidFill>
                  <a:schemeClr val="tx1"/>
                </a:solidFill>
                <a:effectLst/>
                <a:latin typeface="+mn-lt"/>
                <a:ea typeface="+mn-ea"/>
                <a:cs typeface="+mn-cs"/>
                <a:hlinkClick r:id="rId3"/>
              </a:rPr>
              <a:t>www.mpg.de/en</a:t>
            </a:r>
            <a:r>
              <a:rPr lang="en-GB" sz="1200" kern="1200" dirty="0" smtClean="0">
                <a:solidFill>
                  <a:schemeClr val="tx1"/>
                </a:solidFill>
                <a:effectLst/>
                <a:latin typeface="+mn-lt"/>
                <a:ea typeface="+mn-ea"/>
                <a:cs typeface="+mn-cs"/>
              </a:rPr>
              <a:t>) is an independent, non-profit research organization. Focusing on research fields that are particularly innovative, the 83 Max Planck Institutes conduct basic research in the service of the general public in the natural sciences, life sciences, social sciences, and the humanities. More than 15,000 studies by its researchers are published each year in internationally renowned scientific journals.</a:t>
            </a:r>
          </a:p>
          <a:p>
            <a:endParaRPr lang="en-GB" dirty="0"/>
          </a:p>
        </p:txBody>
      </p:sp>
      <p:sp>
        <p:nvSpPr>
          <p:cNvPr id="4" name="Slide Number Placeholder 3"/>
          <p:cNvSpPr>
            <a:spLocks noGrp="1"/>
          </p:cNvSpPr>
          <p:nvPr>
            <p:ph type="sldNum" sz="quarter" idx="10"/>
          </p:nvPr>
        </p:nvSpPr>
        <p:spPr/>
        <p:txBody>
          <a:bodyPr/>
          <a:lstStyle/>
          <a:p>
            <a:fld id="{273DC81D-38FA-4EFB-A816-49076D4E1450}" type="slidenum">
              <a:rPr lang="de-DE" smtClean="0"/>
              <a:t>14</a:t>
            </a:fld>
            <a:endParaRPr lang="de-DE"/>
          </a:p>
        </p:txBody>
      </p:sp>
    </p:spTree>
    <p:extLst>
      <p:ext uri="{BB962C8B-B14F-4D97-AF65-F5344CB8AC3E}">
        <p14:creationId xmlns:p14="http://schemas.microsoft.com/office/powerpoint/2010/main" val="153944952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What do researchers</a:t>
            </a:r>
            <a:r>
              <a:rPr lang="en-GB" baseline="0" dirty="0" smtClean="0"/>
              <a:t> want?</a:t>
            </a:r>
          </a:p>
          <a:p>
            <a:r>
              <a:rPr lang="en-GB" baseline="0" dirty="0" smtClean="0"/>
              <a:t>They want to publish in their </a:t>
            </a:r>
            <a:r>
              <a:rPr lang="en-GB" baseline="0" dirty="0" err="1" smtClean="0"/>
              <a:t>favorite</a:t>
            </a:r>
            <a:r>
              <a:rPr lang="en-GB" baseline="0" dirty="0" smtClean="0"/>
              <a:t> journals</a:t>
            </a:r>
          </a:p>
          <a:p>
            <a:r>
              <a:rPr lang="en-GB" baseline="0" dirty="0" smtClean="0"/>
              <a:t>They want their work to be widely read and cited</a:t>
            </a:r>
          </a:p>
          <a:p>
            <a:r>
              <a:rPr lang="en-GB" baseline="0" dirty="0" smtClean="0"/>
              <a:t>They want the rights to re-use and share their work</a:t>
            </a:r>
          </a:p>
          <a:p>
            <a:r>
              <a:rPr lang="en-GB" baseline="0" dirty="0" smtClean="0"/>
              <a:t>They want to maintain their existing workflows</a:t>
            </a:r>
          </a:p>
          <a:p>
            <a:r>
              <a:rPr lang="en-GB" baseline="0" dirty="0" smtClean="0"/>
              <a:t>They want access to all existing journals</a:t>
            </a:r>
          </a:p>
          <a:p>
            <a:r>
              <a:rPr lang="en-GB" baseline="0" dirty="0" smtClean="0"/>
              <a:t>They want to make sure there are no publication barriers for anyone</a:t>
            </a:r>
            <a:endParaRPr lang="en-GB" dirty="0"/>
          </a:p>
        </p:txBody>
      </p:sp>
      <p:sp>
        <p:nvSpPr>
          <p:cNvPr id="4" name="Slide Number Placeholder 3"/>
          <p:cNvSpPr>
            <a:spLocks noGrp="1"/>
          </p:cNvSpPr>
          <p:nvPr>
            <p:ph type="sldNum" sz="quarter" idx="10"/>
          </p:nvPr>
        </p:nvSpPr>
        <p:spPr/>
        <p:txBody>
          <a:bodyPr/>
          <a:lstStyle/>
          <a:p>
            <a:fld id="{273DC81D-38FA-4EFB-A816-49076D4E1450}" type="slidenum">
              <a:rPr lang="de-DE" smtClean="0"/>
              <a:t>15</a:t>
            </a:fld>
            <a:endParaRPr lang="de-DE"/>
          </a:p>
        </p:txBody>
      </p:sp>
    </p:spTree>
    <p:extLst>
      <p:ext uri="{BB962C8B-B14F-4D97-AF65-F5344CB8AC3E}">
        <p14:creationId xmlns:p14="http://schemas.microsoft.com/office/powerpoint/2010/main" val="415739365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273DC81D-38FA-4EFB-A816-49076D4E1450}" type="slidenum">
              <a:rPr lang="de-DE" smtClean="0"/>
              <a:t>16</a:t>
            </a:fld>
            <a:endParaRPr lang="de-DE"/>
          </a:p>
        </p:txBody>
      </p:sp>
    </p:spTree>
    <p:extLst>
      <p:ext uri="{BB962C8B-B14F-4D97-AF65-F5344CB8AC3E}">
        <p14:creationId xmlns:p14="http://schemas.microsoft.com/office/powerpoint/2010/main" val="351424708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r>
              <a:rPr lang="en-US" sz="1200" b="0" i="0" kern="1200" dirty="0" smtClean="0">
                <a:solidFill>
                  <a:schemeClr val="tx1"/>
                </a:solidFill>
                <a:effectLst/>
                <a:latin typeface="+mn-lt"/>
                <a:ea typeface="+mn-ea"/>
                <a:cs typeface="+mn-cs"/>
              </a:rPr>
              <a:t>Transformative agreements are those contracts negotiated between institutions (libraries, national and regional consortia) and publishers that </a:t>
            </a:r>
            <a:r>
              <a:rPr lang="en-US" sz="1200" b="1" i="0" kern="1200" dirty="0" smtClean="0">
                <a:solidFill>
                  <a:schemeClr val="tx1"/>
                </a:solidFill>
                <a:effectLst/>
                <a:latin typeface="+mn-lt"/>
                <a:ea typeface="+mn-ea"/>
                <a:cs typeface="+mn-cs"/>
              </a:rPr>
              <a:t>transform the business model underlying scholarly journals from subscription to open access</a:t>
            </a:r>
            <a:r>
              <a:rPr lang="en-US" sz="1200" b="0" i="0" kern="1200" dirty="0" smtClean="0">
                <a:solidFill>
                  <a:schemeClr val="tx1"/>
                </a:solidFill>
                <a:effectLst/>
                <a:latin typeface="+mn-lt"/>
                <a:ea typeface="+mn-ea"/>
                <a:cs typeface="+mn-cs"/>
              </a:rPr>
              <a:t>. As the vast majority of scholarly publishing and expenditure of any given institution tends to be concentrated in journals produced by a relatively small number of publishers, implementing transformative agreements with these publishers constitutes a high-impact strategy: many institutions and consortia find that by negotiating such agreements with fewer than 10 publishers, they can achieve immediate open access for the vast majority of their outputs.</a:t>
            </a:r>
          </a:p>
          <a:p>
            <a:pPr fontAlgn="base"/>
            <a:r>
              <a:rPr lang="en-US" sz="1200" b="0" i="0" kern="1200" dirty="0" smtClean="0">
                <a:solidFill>
                  <a:schemeClr val="tx1"/>
                </a:solidFill>
                <a:effectLst/>
                <a:latin typeface="+mn-lt"/>
                <a:ea typeface="+mn-ea"/>
                <a:cs typeface="+mn-cs"/>
              </a:rPr>
              <a:t>They have </a:t>
            </a:r>
            <a:r>
              <a:rPr lang="en-US" sz="1200" b="1" i="0" kern="1200" dirty="0" smtClean="0">
                <a:solidFill>
                  <a:schemeClr val="tx1"/>
                </a:solidFill>
                <a:effectLst/>
                <a:latin typeface="+mn-lt"/>
                <a:ea typeface="+mn-ea"/>
                <a:cs typeface="+mn-cs"/>
              </a:rPr>
              <a:t>a variety of configurations</a:t>
            </a:r>
            <a:r>
              <a:rPr lang="en-US" sz="1200" b="0" i="0" kern="1200" dirty="0" smtClean="0">
                <a:solidFill>
                  <a:schemeClr val="tx1"/>
                </a:solidFill>
                <a:effectLst/>
                <a:latin typeface="+mn-lt"/>
                <a:ea typeface="+mn-ea"/>
                <a:cs typeface="+mn-cs"/>
              </a:rPr>
              <a:t> that reflect the diverse and fluid landscape of scholarly communication, starting with “offsetting” through to the recent “Publish &amp; Read, or PAR” model, and more.</a:t>
            </a:r>
          </a:p>
          <a:p>
            <a:pPr fontAlgn="base"/>
            <a:r>
              <a:rPr lang="en-US" sz="1200" b="0" i="0" kern="1200" dirty="0" smtClean="0">
                <a:solidFill>
                  <a:schemeClr val="tx1"/>
                </a:solidFill>
                <a:effectLst/>
                <a:latin typeface="+mn-lt"/>
                <a:ea typeface="+mn-ea"/>
                <a:cs typeface="+mn-cs"/>
              </a:rPr>
              <a:t>Agreements continue to evolve as they are increasingly adopted around the world and the body of evidence on their impact grows.</a:t>
            </a:r>
          </a:p>
          <a:p>
            <a:pPr fontAlgn="base"/>
            <a:r>
              <a:rPr lang="en-US" sz="1200" b="0" i="0" kern="1200" dirty="0" smtClean="0">
                <a:solidFill>
                  <a:schemeClr val="tx1"/>
                </a:solidFill>
                <a:effectLst/>
                <a:latin typeface="+mn-lt"/>
                <a:ea typeface="+mn-ea"/>
                <a:cs typeface="+mn-cs"/>
              </a:rPr>
              <a:t>Put into practice, </a:t>
            </a:r>
            <a:r>
              <a:rPr lang="en-US" sz="1200" b="1" i="0" kern="1200" dirty="0" smtClean="0">
                <a:solidFill>
                  <a:schemeClr val="tx1"/>
                </a:solidFill>
                <a:effectLst/>
                <a:latin typeface="+mn-lt"/>
                <a:ea typeface="+mn-ea"/>
                <a:cs typeface="+mn-cs"/>
              </a:rPr>
              <a:t>instead of paying fees for access to journals behind subscription paywalls, funds are repurposed to remunerate publishers for their editorial services associated with the open access publication of accepted articles</a:t>
            </a:r>
            <a:r>
              <a:rPr lang="en-US" sz="1200" b="0" i="0" kern="1200" dirty="0" smtClean="0">
                <a:solidFill>
                  <a:schemeClr val="tx1"/>
                </a:solidFill>
                <a:effectLst/>
                <a:latin typeface="+mn-lt"/>
                <a:ea typeface="+mn-ea"/>
                <a:cs typeface="+mn-cs"/>
              </a:rPr>
              <a:t>.</a:t>
            </a:r>
          </a:p>
          <a:p>
            <a:pPr fontAlgn="base"/>
            <a:r>
              <a:rPr lang="en-US" sz="1200" b="0" i="0" kern="1200" dirty="0" smtClean="0">
                <a:solidFill>
                  <a:schemeClr val="tx1"/>
                </a:solidFill>
                <a:effectLst/>
                <a:latin typeface="+mn-lt"/>
                <a:ea typeface="+mn-ea"/>
                <a:cs typeface="+mn-cs"/>
              </a:rPr>
              <a:t>In most models, fees are articulated at the article level or in proportion to the number of articles published, disbanding the lump-sums fees of subscriptions that are largely based on legacy print expenditures. </a:t>
            </a:r>
            <a:r>
              <a:rPr lang="en-US" sz="1200" b="1" i="0" kern="1200" dirty="0" smtClean="0">
                <a:solidFill>
                  <a:schemeClr val="tx1"/>
                </a:solidFill>
                <a:effectLst/>
                <a:latin typeface="+mn-lt"/>
                <a:ea typeface="+mn-ea"/>
                <a:cs typeface="+mn-cs"/>
              </a:rPr>
              <a:t>The fundamental principles of transformative agreements include that they are temporary and transitional</a:t>
            </a:r>
            <a:r>
              <a:rPr lang="en-US" sz="1200" b="0" i="0" kern="1200" dirty="0" smtClean="0">
                <a:solidFill>
                  <a:schemeClr val="tx1"/>
                </a:solidFill>
                <a:effectLst/>
                <a:latin typeface="+mn-lt"/>
                <a:ea typeface="+mn-ea"/>
                <a:cs typeface="+mn-cs"/>
              </a:rPr>
              <a:t> meaning that they are no end in itself but rather provide a framework in which a swift and irreversible shift away from the subscription model can be organized, affecting the financial and operational changes required for a fully open access publishing paradigm.</a:t>
            </a:r>
          </a:p>
          <a:p>
            <a:pPr fontAlgn="base"/>
            <a:r>
              <a:rPr lang="en-US" sz="1200" b="0" i="0" kern="1200" dirty="0" smtClean="0">
                <a:solidFill>
                  <a:schemeClr val="tx1"/>
                </a:solidFill>
                <a:effectLst/>
                <a:latin typeface="+mn-lt"/>
                <a:ea typeface="+mn-ea"/>
                <a:cs typeface="+mn-cs"/>
              </a:rPr>
              <a:t>Requirements and guiding principles for the negotiations of transformative agreements </a:t>
            </a:r>
            <a:r>
              <a:rPr lang="en-US" sz="1200" b="0" i="0" u="none" strike="noStrike" kern="1200" dirty="0" smtClean="0">
                <a:solidFill>
                  <a:schemeClr val="tx1"/>
                </a:solidFill>
                <a:effectLst/>
                <a:latin typeface="+mn-lt"/>
                <a:ea typeface="+mn-ea"/>
                <a:cs typeface="+mn-cs"/>
                <a:hlinkClick r:id="rId3"/>
              </a:rPr>
              <a:t>have been published</a:t>
            </a:r>
            <a:r>
              <a:rPr lang="en-US" sz="1200" b="0" i="0" kern="1200" dirty="0" smtClean="0">
                <a:solidFill>
                  <a:schemeClr val="tx1"/>
                </a:solidFill>
                <a:effectLst/>
                <a:latin typeface="+mn-lt"/>
                <a:ea typeface="+mn-ea"/>
                <a:cs typeface="+mn-cs"/>
              </a:rPr>
              <a:t> by libraries and library consortia around the world which demonstrates the ongoing effort of the </a:t>
            </a:r>
            <a:r>
              <a:rPr lang="en-US" sz="1200" b="0" i="0" kern="1200" dirty="0" err="1" smtClean="0">
                <a:solidFill>
                  <a:schemeClr val="tx1"/>
                </a:solidFill>
                <a:effectLst/>
                <a:latin typeface="+mn-lt"/>
                <a:ea typeface="+mn-ea"/>
                <a:cs typeface="+mn-cs"/>
              </a:rPr>
              <a:t>comunity</a:t>
            </a:r>
            <a:r>
              <a:rPr lang="en-US" sz="1200" b="0" i="0" kern="1200" dirty="0" smtClean="0">
                <a:solidFill>
                  <a:schemeClr val="tx1"/>
                </a:solidFill>
                <a:effectLst/>
                <a:latin typeface="+mn-lt"/>
                <a:ea typeface="+mn-ea"/>
                <a:cs typeface="+mn-cs"/>
              </a:rPr>
              <a:t> to shape the new </a:t>
            </a:r>
            <a:r>
              <a:rPr lang="en-US" sz="1200" b="0" i="0" kern="1200" dirty="0" err="1" smtClean="0">
                <a:solidFill>
                  <a:schemeClr val="tx1"/>
                </a:solidFill>
                <a:effectLst/>
                <a:latin typeface="+mn-lt"/>
                <a:ea typeface="+mn-ea"/>
                <a:cs typeface="+mn-cs"/>
              </a:rPr>
              <a:t>busisness</a:t>
            </a:r>
            <a:r>
              <a:rPr lang="en-US" sz="1200" b="0" i="0" kern="1200" dirty="0" smtClean="0">
                <a:solidFill>
                  <a:schemeClr val="tx1"/>
                </a:solidFill>
                <a:effectLst/>
                <a:latin typeface="+mn-lt"/>
                <a:ea typeface="+mn-ea"/>
                <a:cs typeface="+mn-cs"/>
              </a:rPr>
              <a:t> model and to improve transparency and efficiency. With our ESAC registry, we want to contribute to that process.</a:t>
            </a:r>
          </a:p>
          <a:p>
            <a:pPr>
              <a:spcAft>
                <a:spcPts val="0"/>
              </a:spcAft>
            </a:pPr>
            <a:endParaRPr lang="en-GB" dirty="0" smtClean="0"/>
          </a:p>
        </p:txBody>
      </p:sp>
      <p:sp>
        <p:nvSpPr>
          <p:cNvPr id="4" name="Slide Number Placeholder 3"/>
          <p:cNvSpPr>
            <a:spLocks noGrp="1"/>
          </p:cNvSpPr>
          <p:nvPr>
            <p:ph type="sldNum" sz="quarter" idx="10"/>
          </p:nvPr>
        </p:nvSpPr>
        <p:spPr/>
        <p:txBody>
          <a:bodyPr/>
          <a:lstStyle/>
          <a:p>
            <a:fld id="{273DC81D-38FA-4EFB-A816-49076D4E1450}" type="slidenum">
              <a:rPr lang="de-DE" smtClean="0"/>
              <a:t>17</a:t>
            </a:fld>
            <a:endParaRPr lang="de-DE"/>
          </a:p>
        </p:txBody>
      </p:sp>
    </p:spTree>
    <p:extLst>
      <p:ext uri="{BB962C8B-B14F-4D97-AF65-F5344CB8AC3E}">
        <p14:creationId xmlns:p14="http://schemas.microsoft.com/office/powerpoint/2010/main" val="376492882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r>
              <a:rPr lang="en-US" sz="1200" b="0" i="0" kern="1200" dirty="0" smtClean="0">
                <a:solidFill>
                  <a:schemeClr val="tx1"/>
                </a:solidFill>
                <a:effectLst/>
                <a:latin typeface="+mn-lt"/>
                <a:ea typeface="+mn-ea"/>
                <a:cs typeface="+mn-cs"/>
              </a:rPr>
              <a:t>Transformative agreements are those contracts negotiated between institutions (libraries, national and regional consortia) and publishers that </a:t>
            </a:r>
            <a:r>
              <a:rPr lang="en-US" sz="1200" b="1" i="0" kern="1200" dirty="0" smtClean="0">
                <a:solidFill>
                  <a:schemeClr val="tx1"/>
                </a:solidFill>
                <a:effectLst/>
                <a:latin typeface="+mn-lt"/>
                <a:ea typeface="+mn-ea"/>
                <a:cs typeface="+mn-cs"/>
              </a:rPr>
              <a:t>transform the business model underlying scholarly journals from subscription to open access</a:t>
            </a:r>
            <a:r>
              <a:rPr lang="en-US" sz="1200" b="0" i="0" kern="1200" dirty="0" smtClean="0">
                <a:solidFill>
                  <a:schemeClr val="tx1"/>
                </a:solidFill>
                <a:effectLst/>
                <a:latin typeface="+mn-lt"/>
                <a:ea typeface="+mn-ea"/>
                <a:cs typeface="+mn-cs"/>
              </a:rPr>
              <a:t>. As the vast majority of scholarly publishing and expenditure of any given institution tends to be concentrated in journals produced by a relatively small number of publishers, implementing transformative agreements with these publishers constitutes a high-impact strategy: many institutions and consortia find that by negotiating such agreements with fewer than 10 publishers, they can achieve immediate open access for the vast majority of their outputs.</a:t>
            </a:r>
          </a:p>
          <a:p>
            <a:pPr fontAlgn="base"/>
            <a:r>
              <a:rPr lang="en-US" sz="1200" b="0" i="0" kern="1200" dirty="0" smtClean="0">
                <a:solidFill>
                  <a:schemeClr val="tx1"/>
                </a:solidFill>
                <a:effectLst/>
                <a:latin typeface="+mn-lt"/>
                <a:ea typeface="+mn-ea"/>
                <a:cs typeface="+mn-cs"/>
              </a:rPr>
              <a:t>They have </a:t>
            </a:r>
            <a:r>
              <a:rPr lang="en-US" sz="1200" b="1" i="0" kern="1200" dirty="0" smtClean="0">
                <a:solidFill>
                  <a:schemeClr val="tx1"/>
                </a:solidFill>
                <a:effectLst/>
                <a:latin typeface="+mn-lt"/>
                <a:ea typeface="+mn-ea"/>
                <a:cs typeface="+mn-cs"/>
              </a:rPr>
              <a:t>a variety of configurations</a:t>
            </a:r>
            <a:r>
              <a:rPr lang="en-US" sz="1200" b="0" i="0" kern="1200" dirty="0" smtClean="0">
                <a:solidFill>
                  <a:schemeClr val="tx1"/>
                </a:solidFill>
                <a:effectLst/>
                <a:latin typeface="+mn-lt"/>
                <a:ea typeface="+mn-ea"/>
                <a:cs typeface="+mn-cs"/>
              </a:rPr>
              <a:t> that reflect the diverse and fluid landscape of scholarly communication, starting with “offsetting” through to the recent “Publish &amp; Read, or PAR” model, and more.</a:t>
            </a:r>
          </a:p>
          <a:p>
            <a:pPr fontAlgn="base"/>
            <a:r>
              <a:rPr lang="en-US" sz="1200" b="0" i="0" kern="1200" dirty="0" smtClean="0">
                <a:solidFill>
                  <a:schemeClr val="tx1"/>
                </a:solidFill>
                <a:effectLst/>
                <a:latin typeface="+mn-lt"/>
                <a:ea typeface="+mn-ea"/>
                <a:cs typeface="+mn-cs"/>
              </a:rPr>
              <a:t>Agreements continue to evolve as they are increasingly adopted around the world and the body of evidence on their impact grows.</a:t>
            </a:r>
          </a:p>
          <a:p>
            <a:pPr fontAlgn="base"/>
            <a:r>
              <a:rPr lang="en-US" sz="1200" b="0" i="0" kern="1200" dirty="0" smtClean="0">
                <a:solidFill>
                  <a:schemeClr val="tx1"/>
                </a:solidFill>
                <a:effectLst/>
                <a:latin typeface="+mn-lt"/>
                <a:ea typeface="+mn-ea"/>
                <a:cs typeface="+mn-cs"/>
              </a:rPr>
              <a:t>Put into practice, </a:t>
            </a:r>
            <a:r>
              <a:rPr lang="en-US" sz="1200" b="1" i="0" kern="1200" dirty="0" smtClean="0">
                <a:solidFill>
                  <a:schemeClr val="tx1"/>
                </a:solidFill>
                <a:effectLst/>
                <a:latin typeface="+mn-lt"/>
                <a:ea typeface="+mn-ea"/>
                <a:cs typeface="+mn-cs"/>
              </a:rPr>
              <a:t>instead of paying fees for access to journals behind subscription paywalls, funds are repurposed to remunerate publishers for their editorial services associated with the open access publication of accepted articles</a:t>
            </a:r>
            <a:r>
              <a:rPr lang="en-US" sz="1200" b="0" i="0" kern="1200" dirty="0" smtClean="0">
                <a:solidFill>
                  <a:schemeClr val="tx1"/>
                </a:solidFill>
                <a:effectLst/>
                <a:latin typeface="+mn-lt"/>
                <a:ea typeface="+mn-ea"/>
                <a:cs typeface="+mn-cs"/>
              </a:rPr>
              <a:t>.</a:t>
            </a:r>
          </a:p>
          <a:p>
            <a:pPr fontAlgn="base"/>
            <a:r>
              <a:rPr lang="en-US" sz="1200" b="0" i="0" kern="1200" dirty="0" smtClean="0">
                <a:solidFill>
                  <a:schemeClr val="tx1"/>
                </a:solidFill>
                <a:effectLst/>
                <a:latin typeface="+mn-lt"/>
                <a:ea typeface="+mn-ea"/>
                <a:cs typeface="+mn-cs"/>
              </a:rPr>
              <a:t>In most models, fees are articulated at the article level or in proportion to the number of articles published, disbanding the lump-sums fees of subscriptions that are largely based on legacy print expenditures. </a:t>
            </a:r>
            <a:r>
              <a:rPr lang="en-US" sz="1200" b="1" i="0" kern="1200" dirty="0" smtClean="0">
                <a:solidFill>
                  <a:schemeClr val="tx1"/>
                </a:solidFill>
                <a:effectLst/>
                <a:latin typeface="+mn-lt"/>
                <a:ea typeface="+mn-ea"/>
                <a:cs typeface="+mn-cs"/>
              </a:rPr>
              <a:t>The fundamental principles of transformative agreements include that they are temporary and transitional</a:t>
            </a:r>
            <a:r>
              <a:rPr lang="en-US" sz="1200" b="0" i="0" kern="1200" dirty="0" smtClean="0">
                <a:solidFill>
                  <a:schemeClr val="tx1"/>
                </a:solidFill>
                <a:effectLst/>
                <a:latin typeface="+mn-lt"/>
                <a:ea typeface="+mn-ea"/>
                <a:cs typeface="+mn-cs"/>
              </a:rPr>
              <a:t> meaning that they are no end in itself but rather provide a framework in which a swift and irreversible shift away from the subscription model can be organized, affecting the financial and operational changes required for a fully open access publishing paradigm.</a:t>
            </a:r>
          </a:p>
          <a:p>
            <a:pPr fontAlgn="base"/>
            <a:r>
              <a:rPr lang="en-US" sz="1200" b="0" i="0" kern="1200" dirty="0" smtClean="0">
                <a:solidFill>
                  <a:schemeClr val="tx1"/>
                </a:solidFill>
                <a:effectLst/>
                <a:latin typeface="+mn-lt"/>
                <a:ea typeface="+mn-ea"/>
                <a:cs typeface="+mn-cs"/>
              </a:rPr>
              <a:t>Requirements and guiding principles for the negotiations of transformative agreements </a:t>
            </a:r>
            <a:r>
              <a:rPr lang="en-US" sz="1200" b="0" i="0" u="none" strike="noStrike" kern="1200" dirty="0" smtClean="0">
                <a:solidFill>
                  <a:schemeClr val="tx1"/>
                </a:solidFill>
                <a:effectLst/>
                <a:latin typeface="+mn-lt"/>
                <a:ea typeface="+mn-ea"/>
                <a:cs typeface="+mn-cs"/>
                <a:hlinkClick r:id="rId3"/>
              </a:rPr>
              <a:t>have been published</a:t>
            </a:r>
            <a:r>
              <a:rPr lang="en-US" sz="1200" b="0" i="0" kern="1200" dirty="0" smtClean="0">
                <a:solidFill>
                  <a:schemeClr val="tx1"/>
                </a:solidFill>
                <a:effectLst/>
                <a:latin typeface="+mn-lt"/>
                <a:ea typeface="+mn-ea"/>
                <a:cs typeface="+mn-cs"/>
              </a:rPr>
              <a:t> by libraries and library consortia around the world which demonstrates the ongoing effort of the </a:t>
            </a:r>
            <a:r>
              <a:rPr lang="en-US" sz="1200" b="0" i="0" kern="1200" dirty="0" err="1" smtClean="0">
                <a:solidFill>
                  <a:schemeClr val="tx1"/>
                </a:solidFill>
                <a:effectLst/>
                <a:latin typeface="+mn-lt"/>
                <a:ea typeface="+mn-ea"/>
                <a:cs typeface="+mn-cs"/>
              </a:rPr>
              <a:t>comunity</a:t>
            </a:r>
            <a:r>
              <a:rPr lang="en-US" sz="1200" b="0" i="0" kern="1200" dirty="0" smtClean="0">
                <a:solidFill>
                  <a:schemeClr val="tx1"/>
                </a:solidFill>
                <a:effectLst/>
                <a:latin typeface="+mn-lt"/>
                <a:ea typeface="+mn-ea"/>
                <a:cs typeface="+mn-cs"/>
              </a:rPr>
              <a:t> to shape the new </a:t>
            </a:r>
            <a:r>
              <a:rPr lang="en-US" sz="1200" b="0" i="0" kern="1200" dirty="0" err="1" smtClean="0">
                <a:solidFill>
                  <a:schemeClr val="tx1"/>
                </a:solidFill>
                <a:effectLst/>
                <a:latin typeface="+mn-lt"/>
                <a:ea typeface="+mn-ea"/>
                <a:cs typeface="+mn-cs"/>
              </a:rPr>
              <a:t>busisness</a:t>
            </a:r>
            <a:r>
              <a:rPr lang="en-US" sz="1200" b="0" i="0" kern="1200" dirty="0" smtClean="0">
                <a:solidFill>
                  <a:schemeClr val="tx1"/>
                </a:solidFill>
                <a:effectLst/>
                <a:latin typeface="+mn-lt"/>
                <a:ea typeface="+mn-ea"/>
                <a:cs typeface="+mn-cs"/>
              </a:rPr>
              <a:t> model and to improve transparency and efficiency. With our ESAC registry, we want to contribute to that process.</a:t>
            </a:r>
          </a:p>
          <a:p>
            <a:pPr>
              <a:spcAft>
                <a:spcPts val="0"/>
              </a:spcAft>
            </a:pPr>
            <a:endParaRPr lang="en-GB" dirty="0" smtClean="0"/>
          </a:p>
        </p:txBody>
      </p:sp>
      <p:sp>
        <p:nvSpPr>
          <p:cNvPr id="4" name="Slide Number Placeholder 3"/>
          <p:cNvSpPr>
            <a:spLocks noGrp="1"/>
          </p:cNvSpPr>
          <p:nvPr>
            <p:ph type="sldNum" sz="quarter" idx="10"/>
          </p:nvPr>
        </p:nvSpPr>
        <p:spPr/>
        <p:txBody>
          <a:bodyPr/>
          <a:lstStyle/>
          <a:p>
            <a:fld id="{273DC81D-38FA-4EFB-A816-49076D4E1450}" type="slidenum">
              <a:rPr lang="de-DE" smtClean="0"/>
              <a:t>18</a:t>
            </a:fld>
            <a:endParaRPr lang="de-DE"/>
          </a:p>
        </p:txBody>
      </p:sp>
    </p:spTree>
    <p:extLst>
      <p:ext uri="{BB962C8B-B14F-4D97-AF65-F5344CB8AC3E}">
        <p14:creationId xmlns:p14="http://schemas.microsoft.com/office/powerpoint/2010/main" val="265106101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r>
              <a:rPr lang="en-US" sz="1200" b="0" i="0" kern="1200" dirty="0" smtClean="0">
                <a:solidFill>
                  <a:schemeClr val="tx1"/>
                </a:solidFill>
                <a:effectLst/>
                <a:latin typeface="+mn-lt"/>
                <a:ea typeface="+mn-ea"/>
                <a:cs typeface="+mn-cs"/>
              </a:rPr>
              <a:t>Transformative agreements are those contracts negotiated between institutions (libraries, national and regional consortia) and publishers that </a:t>
            </a:r>
            <a:r>
              <a:rPr lang="en-US" sz="1200" b="1" i="0" kern="1200" dirty="0" smtClean="0">
                <a:solidFill>
                  <a:schemeClr val="tx1"/>
                </a:solidFill>
                <a:effectLst/>
                <a:latin typeface="+mn-lt"/>
                <a:ea typeface="+mn-ea"/>
                <a:cs typeface="+mn-cs"/>
              </a:rPr>
              <a:t>transform the business model underlying scholarly journals from subscription to open access</a:t>
            </a:r>
            <a:r>
              <a:rPr lang="en-US" sz="1200" b="0" i="0" kern="1200" dirty="0" smtClean="0">
                <a:solidFill>
                  <a:schemeClr val="tx1"/>
                </a:solidFill>
                <a:effectLst/>
                <a:latin typeface="+mn-lt"/>
                <a:ea typeface="+mn-ea"/>
                <a:cs typeface="+mn-cs"/>
              </a:rPr>
              <a:t>. As the vast majority of scholarly publishing and expenditure of any given institution tends to be concentrated in journals produced by a relatively small number of publishers, implementing transformative agreements with these publishers constitutes a high-impact strategy: many institutions and consortia find that by negotiating such agreements with fewer than 10 publishers, they can achieve immediate open access for the vast majority of their outputs.</a:t>
            </a:r>
          </a:p>
          <a:p>
            <a:pPr fontAlgn="base"/>
            <a:r>
              <a:rPr lang="en-US" sz="1200" b="0" i="0" kern="1200" dirty="0" smtClean="0">
                <a:solidFill>
                  <a:schemeClr val="tx1"/>
                </a:solidFill>
                <a:effectLst/>
                <a:latin typeface="+mn-lt"/>
                <a:ea typeface="+mn-ea"/>
                <a:cs typeface="+mn-cs"/>
              </a:rPr>
              <a:t>They have </a:t>
            </a:r>
            <a:r>
              <a:rPr lang="en-US" sz="1200" b="1" i="0" kern="1200" dirty="0" smtClean="0">
                <a:solidFill>
                  <a:schemeClr val="tx1"/>
                </a:solidFill>
                <a:effectLst/>
                <a:latin typeface="+mn-lt"/>
                <a:ea typeface="+mn-ea"/>
                <a:cs typeface="+mn-cs"/>
              </a:rPr>
              <a:t>a variety of configurations</a:t>
            </a:r>
            <a:r>
              <a:rPr lang="en-US" sz="1200" b="0" i="0" kern="1200" dirty="0" smtClean="0">
                <a:solidFill>
                  <a:schemeClr val="tx1"/>
                </a:solidFill>
                <a:effectLst/>
                <a:latin typeface="+mn-lt"/>
                <a:ea typeface="+mn-ea"/>
                <a:cs typeface="+mn-cs"/>
              </a:rPr>
              <a:t> that reflect the diverse and fluid landscape of scholarly communication, starting with “offsetting” through to the recent “Publish &amp; Read, or PAR” model, and more.</a:t>
            </a:r>
          </a:p>
          <a:p>
            <a:pPr fontAlgn="base"/>
            <a:r>
              <a:rPr lang="en-US" sz="1200" b="0" i="0" kern="1200" dirty="0" smtClean="0">
                <a:solidFill>
                  <a:schemeClr val="tx1"/>
                </a:solidFill>
                <a:effectLst/>
                <a:latin typeface="+mn-lt"/>
                <a:ea typeface="+mn-ea"/>
                <a:cs typeface="+mn-cs"/>
              </a:rPr>
              <a:t>Agreements continue to evolve as they are increasingly adopted around the world and the body of evidence on their impact grows.</a:t>
            </a:r>
          </a:p>
          <a:p>
            <a:pPr fontAlgn="base"/>
            <a:r>
              <a:rPr lang="en-US" sz="1200" b="0" i="0" kern="1200" dirty="0" smtClean="0">
                <a:solidFill>
                  <a:schemeClr val="tx1"/>
                </a:solidFill>
                <a:effectLst/>
                <a:latin typeface="+mn-lt"/>
                <a:ea typeface="+mn-ea"/>
                <a:cs typeface="+mn-cs"/>
              </a:rPr>
              <a:t>Put into practice, </a:t>
            </a:r>
            <a:r>
              <a:rPr lang="en-US" sz="1200" b="1" i="0" kern="1200" dirty="0" smtClean="0">
                <a:solidFill>
                  <a:schemeClr val="tx1"/>
                </a:solidFill>
                <a:effectLst/>
                <a:latin typeface="+mn-lt"/>
                <a:ea typeface="+mn-ea"/>
                <a:cs typeface="+mn-cs"/>
              </a:rPr>
              <a:t>instead of paying fees for access to journals behind subscription paywalls, funds are repurposed to remunerate publishers for their editorial services associated with the open access publication of accepted articles</a:t>
            </a:r>
            <a:r>
              <a:rPr lang="en-US" sz="1200" b="0" i="0" kern="1200" dirty="0" smtClean="0">
                <a:solidFill>
                  <a:schemeClr val="tx1"/>
                </a:solidFill>
                <a:effectLst/>
                <a:latin typeface="+mn-lt"/>
                <a:ea typeface="+mn-ea"/>
                <a:cs typeface="+mn-cs"/>
              </a:rPr>
              <a:t>.</a:t>
            </a:r>
          </a:p>
          <a:p>
            <a:pPr fontAlgn="base"/>
            <a:r>
              <a:rPr lang="en-US" sz="1200" b="0" i="0" kern="1200" dirty="0" smtClean="0">
                <a:solidFill>
                  <a:schemeClr val="tx1"/>
                </a:solidFill>
                <a:effectLst/>
                <a:latin typeface="+mn-lt"/>
                <a:ea typeface="+mn-ea"/>
                <a:cs typeface="+mn-cs"/>
              </a:rPr>
              <a:t>In most models, fees are articulated at the article level or in proportion to the number of articles published, disbanding the lump-sums fees of subscriptions that are largely based on legacy print expenditures. </a:t>
            </a:r>
            <a:r>
              <a:rPr lang="en-US" sz="1200" b="1" i="0" kern="1200" dirty="0" smtClean="0">
                <a:solidFill>
                  <a:schemeClr val="tx1"/>
                </a:solidFill>
                <a:effectLst/>
                <a:latin typeface="+mn-lt"/>
                <a:ea typeface="+mn-ea"/>
                <a:cs typeface="+mn-cs"/>
              </a:rPr>
              <a:t>The fundamental principles of transformative agreements include that they are temporary and transitional</a:t>
            </a:r>
            <a:r>
              <a:rPr lang="en-US" sz="1200" b="0" i="0" kern="1200" dirty="0" smtClean="0">
                <a:solidFill>
                  <a:schemeClr val="tx1"/>
                </a:solidFill>
                <a:effectLst/>
                <a:latin typeface="+mn-lt"/>
                <a:ea typeface="+mn-ea"/>
                <a:cs typeface="+mn-cs"/>
              </a:rPr>
              <a:t> meaning that they are no end in itself but rather provide a framework in which a swift and irreversible shift away from the subscription model can be organized, affecting the financial and operational changes required for a fully open access publishing paradigm.</a:t>
            </a:r>
          </a:p>
          <a:p>
            <a:pPr fontAlgn="base"/>
            <a:r>
              <a:rPr lang="en-US" sz="1200" b="0" i="0" kern="1200" dirty="0" smtClean="0">
                <a:solidFill>
                  <a:schemeClr val="tx1"/>
                </a:solidFill>
                <a:effectLst/>
                <a:latin typeface="+mn-lt"/>
                <a:ea typeface="+mn-ea"/>
                <a:cs typeface="+mn-cs"/>
              </a:rPr>
              <a:t>Requirements and guiding principles for the negotiations of transformative agreements </a:t>
            </a:r>
            <a:r>
              <a:rPr lang="en-US" sz="1200" b="0" i="0" u="none" strike="noStrike" kern="1200" dirty="0" smtClean="0">
                <a:solidFill>
                  <a:schemeClr val="tx1"/>
                </a:solidFill>
                <a:effectLst/>
                <a:latin typeface="+mn-lt"/>
                <a:ea typeface="+mn-ea"/>
                <a:cs typeface="+mn-cs"/>
                <a:hlinkClick r:id="rId3"/>
              </a:rPr>
              <a:t>have been published</a:t>
            </a:r>
            <a:r>
              <a:rPr lang="en-US" sz="1200" b="0" i="0" kern="1200" dirty="0" smtClean="0">
                <a:solidFill>
                  <a:schemeClr val="tx1"/>
                </a:solidFill>
                <a:effectLst/>
                <a:latin typeface="+mn-lt"/>
                <a:ea typeface="+mn-ea"/>
                <a:cs typeface="+mn-cs"/>
              </a:rPr>
              <a:t> by libraries and library consortia around the world which demonstrates the ongoing effort of the </a:t>
            </a:r>
            <a:r>
              <a:rPr lang="en-US" sz="1200" b="0" i="0" kern="1200" dirty="0" err="1" smtClean="0">
                <a:solidFill>
                  <a:schemeClr val="tx1"/>
                </a:solidFill>
                <a:effectLst/>
                <a:latin typeface="+mn-lt"/>
                <a:ea typeface="+mn-ea"/>
                <a:cs typeface="+mn-cs"/>
              </a:rPr>
              <a:t>comunity</a:t>
            </a:r>
            <a:r>
              <a:rPr lang="en-US" sz="1200" b="0" i="0" kern="1200" dirty="0" smtClean="0">
                <a:solidFill>
                  <a:schemeClr val="tx1"/>
                </a:solidFill>
                <a:effectLst/>
                <a:latin typeface="+mn-lt"/>
                <a:ea typeface="+mn-ea"/>
                <a:cs typeface="+mn-cs"/>
              </a:rPr>
              <a:t> to shape the new </a:t>
            </a:r>
            <a:r>
              <a:rPr lang="en-US" sz="1200" b="0" i="0" kern="1200" dirty="0" err="1" smtClean="0">
                <a:solidFill>
                  <a:schemeClr val="tx1"/>
                </a:solidFill>
                <a:effectLst/>
                <a:latin typeface="+mn-lt"/>
                <a:ea typeface="+mn-ea"/>
                <a:cs typeface="+mn-cs"/>
              </a:rPr>
              <a:t>busisness</a:t>
            </a:r>
            <a:r>
              <a:rPr lang="en-US" sz="1200" b="0" i="0" kern="1200" dirty="0" smtClean="0">
                <a:solidFill>
                  <a:schemeClr val="tx1"/>
                </a:solidFill>
                <a:effectLst/>
                <a:latin typeface="+mn-lt"/>
                <a:ea typeface="+mn-ea"/>
                <a:cs typeface="+mn-cs"/>
              </a:rPr>
              <a:t> model and to improve transparency and efficiency. With our ESAC registry, we want to contribute to that process.</a:t>
            </a:r>
          </a:p>
          <a:p>
            <a:pPr>
              <a:spcAft>
                <a:spcPts val="0"/>
              </a:spcAft>
            </a:pPr>
            <a:endParaRPr lang="en-GB" dirty="0" smtClean="0"/>
          </a:p>
        </p:txBody>
      </p:sp>
      <p:sp>
        <p:nvSpPr>
          <p:cNvPr id="4" name="Slide Number Placeholder 3"/>
          <p:cNvSpPr>
            <a:spLocks noGrp="1"/>
          </p:cNvSpPr>
          <p:nvPr>
            <p:ph type="sldNum" sz="quarter" idx="10"/>
          </p:nvPr>
        </p:nvSpPr>
        <p:spPr/>
        <p:txBody>
          <a:bodyPr/>
          <a:lstStyle/>
          <a:p>
            <a:fld id="{273DC81D-38FA-4EFB-A816-49076D4E1450}" type="slidenum">
              <a:rPr lang="de-DE" smtClean="0"/>
              <a:t>19</a:t>
            </a:fld>
            <a:endParaRPr lang="de-DE"/>
          </a:p>
        </p:txBody>
      </p:sp>
    </p:spTree>
    <p:extLst>
      <p:ext uri="{BB962C8B-B14F-4D97-AF65-F5344CB8AC3E}">
        <p14:creationId xmlns:p14="http://schemas.microsoft.com/office/powerpoint/2010/main" val="11502541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r>
              <a:rPr lang="en-US" sz="1200" b="0" i="0" kern="1200" dirty="0" smtClean="0">
                <a:solidFill>
                  <a:schemeClr val="tx1"/>
                </a:solidFill>
                <a:effectLst/>
                <a:latin typeface="+mn-lt"/>
                <a:ea typeface="+mn-ea"/>
                <a:cs typeface="+mn-cs"/>
              </a:rPr>
              <a:t>Transformative agreements are those contracts negotiated between institutions (libraries, national and regional consortia) and publishers that </a:t>
            </a:r>
            <a:r>
              <a:rPr lang="en-US" sz="1200" b="1" i="0" kern="1200" dirty="0" smtClean="0">
                <a:solidFill>
                  <a:schemeClr val="tx1"/>
                </a:solidFill>
                <a:effectLst/>
                <a:latin typeface="+mn-lt"/>
                <a:ea typeface="+mn-ea"/>
                <a:cs typeface="+mn-cs"/>
              </a:rPr>
              <a:t>transform the business model underlying scholarly journals from subscription to open access</a:t>
            </a:r>
            <a:r>
              <a:rPr lang="en-US" sz="1200" b="0" i="0" kern="1200" dirty="0" smtClean="0">
                <a:solidFill>
                  <a:schemeClr val="tx1"/>
                </a:solidFill>
                <a:effectLst/>
                <a:latin typeface="+mn-lt"/>
                <a:ea typeface="+mn-ea"/>
                <a:cs typeface="+mn-cs"/>
              </a:rPr>
              <a:t>. As the vast majority of scholarly publishing and expenditure of any given institution tends to be concentrated in journals produced by a relatively small number of publishers, implementing transformative agreements with these publishers constitutes a high-impact strategy: many institutions and consortia find that by negotiating such agreements with fewer than 10 publishers, they can achieve immediate open access for the vast majority of their outputs.</a:t>
            </a:r>
          </a:p>
          <a:p>
            <a:pPr fontAlgn="base"/>
            <a:r>
              <a:rPr lang="en-US" sz="1200" b="0" i="0" kern="1200" dirty="0" smtClean="0">
                <a:solidFill>
                  <a:schemeClr val="tx1"/>
                </a:solidFill>
                <a:effectLst/>
                <a:latin typeface="+mn-lt"/>
                <a:ea typeface="+mn-ea"/>
                <a:cs typeface="+mn-cs"/>
              </a:rPr>
              <a:t>They have </a:t>
            </a:r>
            <a:r>
              <a:rPr lang="en-US" sz="1200" b="1" i="0" kern="1200" dirty="0" smtClean="0">
                <a:solidFill>
                  <a:schemeClr val="tx1"/>
                </a:solidFill>
                <a:effectLst/>
                <a:latin typeface="+mn-lt"/>
                <a:ea typeface="+mn-ea"/>
                <a:cs typeface="+mn-cs"/>
              </a:rPr>
              <a:t>a variety of configurations</a:t>
            </a:r>
            <a:r>
              <a:rPr lang="en-US" sz="1200" b="0" i="0" kern="1200" dirty="0" smtClean="0">
                <a:solidFill>
                  <a:schemeClr val="tx1"/>
                </a:solidFill>
                <a:effectLst/>
                <a:latin typeface="+mn-lt"/>
                <a:ea typeface="+mn-ea"/>
                <a:cs typeface="+mn-cs"/>
              </a:rPr>
              <a:t> that reflect the diverse and fluid landscape of scholarly communication, starting with “offsetting” through to the recent “Publish &amp; Read, or PAR” model, and more.</a:t>
            </a:r>
          </a:p>
          <a:p>
            <a:pPr fontAlgn="base"/>
            <a:r>
              <a:rPr lang="en-US" sz="1200" b="0" i="0" kern="1200" dirty="0" smtClean="0">
                <a:solidFill>
                  <a:schemeClr val="tx1"/>
                </a:solidFill>
                <a:effectLst/>
                <a:latin typeface="+mn-lt"/>
                <a:ea typeface="+mn-ea"/>
                <a:cs typeface="+mn-cs"/>
              </a:rPr>
              <a:t>Agreements continue to evolve as they are increasingly adopted around the world and the body of evidence on their impact grows.</a:t>
            </a:r>
          </a:p>
          <a:p>
            <a:pPr fontAlgn="base"/>
            <a:r>
              <a:rPr lang="en-US" sz="1200" b="0" i="0" kern="1200" dirty="0" smtClean="0">
                <a:solidFill>
                  <a:schemeClr val="tx1"/>
                </a:solidFill>
                <a:effectLst/>
                <a:latin typeface="+mn-lt"/>
                <a:ea typeface="+mn-ea"/>
                <a:cs typeface="+mn-cs"/>
              </a:rPr>
              <a:t>Put into practice, </a:t>
            </a:r>
            <a:r>
              <a:rPr lang="en-US" sz="1200" b="1" i="0" kern="1200" dirty="0" smtClean="0">
                <a:solidFill>
                  <a:schemeClr val="tx1"/>
                </a:solidFill>
                <a:effectLst/>
                <a:latin typeface="+mn-lt"/>
                <a:ea typeface="+mn-ea"/>
                <a:cs typeface="+mn-cs"/>
              </a:rPr>
              <a:t>instead of paying fees for access to journals behind subscription paywalls, funds are repurposed to remunerate publishers for their editorial services associated with the open access publication of accepted articles</a:t>
            </a:r>
            <a:r>
              <a:rPr lang="en-US" sz="1200" b="0" i="0" kern="1200" dirty="0" smtClean="0">
                <a:solidFill>
                  <a:schemeClr val="tx1"/>
                </a:solidFill>
                <a:effectLst/>
                <a:latin typeface="+mn-lt"/>
                <a:ea typeface="+mn-ea"/>
                <a:cs typeface="+mn-cs"/>
              </a:rPr>
              <a:t>.</a:t>
            </a:r>
          </a:p>
          <a:p>
            <a:pPr fontAlgn="base"/>
            <a:r>
              <a:rPr lang="en-US" sz="1200" b="0" i="0" kern="1200" dirty="0" smtClean="0">
                <a:solidFill>
                  <a:schemeClr val="tx1"/>
                </a:solidFill>
                <a:effectLst/>
                <a:latin typeface="+mn-lt"/>
                <a:ea typeface="+mn-ea"/>
                <a:cs typeface="+mn-cs"/>
              </a:rPr>
              <a:t>In most models, fees are articulated at the article level or in proportion to the number of articles published, disbanding the lump-sums fees of subscriptions that are largely based on legacy print expenditures. </a:t>
            </a:r>
            <a:r>
              <a:rPr lang="en-US" sz="1200" b="1" i="0" kern="1200" dirty="0" smtClean="0">
                <a:solidFill>
                  <a:schemeClr val="tx1"/>
                </a:solidFill>
                <a:effectLst/>
                <a:latin typeface="+mn-lt"/>
                <a:ea typeface="+mn-ea"/>
                <a:cs typeface="+mn-cs"/>
              </a:rPr>
              <a:t>The fundamental principles of transformative agreements include that they are temporary and transitional</a:t>
            </a:r>
            <a:r>
              <a:rPr lang="en-US" sz="1200" b="0" i="0" kern="1200" dirty="0" smtClean="0">
                <a:solidFill>
                  <a:schemeClr val="tx1"/>
                </a:solidFill>
                <a:effectLst/>
                <a:latin typeface="+mn-lt"/>
                <a:ea typeface="+mn-ea"/>
                <a:cs typeface="+mn-cs"/>
              </a:rPr>
              <a:t> meaning that they are no end in itself but rather provide a framework in which a swift and irreversible shift away from the subscription model can be organized, affecting the financial and operational changes required for a fully open access publishing paradigm.</a:t>
            </a:r>
          </a:p>
          <a:p>
            <a:pPr fontAlgn="base"/>
            <a:r>
              <a:rPr lang="en-US" sz="1200" b="0" i="0" kern="1200" dirty="0" smtClean="0">
                <a:solidFill>
                  <a:schemeClr val="tx1"/>
                </a:solidFill>
                <a:effectLst/>
                <a:latin typeface="+mn-lt"/>
                <a:ea typeface="+mn-ea"/>
                <a:cs typeface="+mn-cs"/>
              </a:rPr>
              <a:t>Requirements and guiding principles for the negotiations of transformative agreements </a:t>
            </a:r>
            <a:r>
              <a:rPr lang="en-US" sz="1200" b="0" i="0" u="none" strike="noStrike" kern="1200" dirty="0" smtClean="0">
                <a:solidFill>
                  <a:schemeClr val="tx1"/>
                </a:solidFill>
                <a:effectLst/>
                <a:latin typeface="+mn-lt"/>
                <a:ea typeface="+mn-ea"/>
                <a:cs typeface="+mn-cs"/>
                <a:hlinkClick r:id="rId3"/>
              </a:rPr>
              <a:t>have been published</a:t>
            </a:r>
            <a:r>
              <a:rPr lang="en-US" sz="1200" b="0" i="0" kern="1200" dirty="0" smtClean="0">
                <a:solidFill>
                  <a:schemeClr val="tx1"/>
                </a:solidFill>
                <a:effectLst/>
                <a:latin typeface="+mn-lt"/>
                <a:ea typeface="+mn-ea"/>
                <a:cs typeface="+mn-cs"/>
              </a:rPr>
              <a:t> by libraries and library consortia around the world which demonstrates the ongoing effort of the </a:t>
            </a:r>
            <a:r>
              <a:rPr lang="en-US" sz="1200" b="0" i="0" kern="1200" dirty="0" err="1" smtClean="0">
                <a:solidFill>
                  <a:schemeClr val="tx1"/>
                </a:solidFill>
                <a:effectLst/>
                <a:latin typeface="+mn-lt"/>
                <a:ea typeface="+mn-ea"/>
                <a:cs typeface="+mn-cs"/>
              </a:rPr>
              <a:t>comunity</a:t>
            </a:r>
            <a:r>
              <a:rPr lang="en-US" sz="1200" b="0" i="0" kern="1200" dirty="0" smtClean="0">
                <a:solidFill>
                  <a:schemeClr val="tx1"/>
                </a:solidFill>
                <a:effectLst/>
                <a:latin typeface="+mn-lt"/>
                <a:ea typeface="+mn-ea"/>
                <a:cs typeface="+mn-cs"/>
              </a:rPr>
              <a:t> to shape the new </a:t>
            </a:r>
            <a:r>
              <a:rPr lang="en-US" sz="1200" b="0" i="0" kern="1200" dirty="0" err="1" smtClean="0">
                <a:solidFill>
                  <a:schemeClr val="tx1"/>
                </a:solidFill>
                <a:effectLst/>
                <a:latin typeface="+mn-lt"/>
                <a:ea typeface="+mn-ea"/>
                <a:cs typeface="+mn-cs"/>
              </a:rPr>
              <a:t>busisness</a:t>
            </a:r>
            <a:r>
              <a:rPr lang="en-US" sz="1200" b="0" i="0" kern="1200" dirty="0" smtClean="0">
                <a:solidFill>
                  <a:schemeClr val="tx1"/>
                </a:solidFill>
                <a:effectLst/>
                <a:latin typeface="+mn-lt"/>
                <a:ea typeface="+mn-ea"/>
                <a:cs typeface="+mn-cs"/>
              </a:rPr>
              <a:t> model and to improve transparency and efficiency. With our ESAC registry, we want to contribute to that process.</a:t>
            </a:r>
          </a:p>
          <a:p>
            <a:pPr>
              <a:spcAft>
                <a:spcPts val="0"/>
              </a:spcAft>
            </a:pPr>
            <a:endParaRPr lang="en-GB" dirty="0" smtClean="0"/>
          </a:p>
        </p:txBody>
      </p:sp>
      <p:sp>
        <p:nvSpPr>
          <p:cNvPr id="4" name="Slide Number Placeholder 3"/>
          <p:cNvSpPr>
            <a:spLocks noGrp="1"/>
          </p:cNvSpPr>
          <p:nvPr>
            <p:ph type="sldNum" sz="quarter" idx="10"/>
          </p:nvPr>
        </p:nvSpPr>
        <p:spPr/>
        <p:txBody>
          <a:bodyPr/>
          <a:lstStyle/>
          <a:p>
            <a:fld id="{273DC81D-38FA-4EFB-A816-49076D4E1450}" type="slidenum">
              <a:rPr lang="de-DE" smtClean="0"/>
              <a:t>20</a:t>
            </a:fld>
            <a:endParaRPr lang="de-DE"/>
          </a:p>
        </p:txBody>
      </p:sp>
    </p:spTree>
    <p:extLst>
      <p:ext uri="{BB962C8B-B14F-4D97-AF65-F5344CB8AC3E}">
        <p14:creationId xmlns:p14="http://schemas.microsoft.com/office/powerpoint/2010/main" val="25947043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As Patron Demand</a:t>
            </a:r>
            <a:r>
              <a:rPr lang="en-US" sz="1200" b="0" i="0" kern="1200" baseline="0" dirty="0" smtClean="0">
                <a:solidFill>
                  <a:schemeClr val="tx1"/>
                </a:solidFill>
                <a:effectLst/>
                <a:latin typeface="+mn-lt"/>
                <a:ea typeface="+mn-ea"/>
                <a:cs typeface="+mn-cs"/>
              </a:rPr>
              <a:t> for </a:t>
            </a:r>
            <a:r>
              <a:rPr lang="en-US" sz="1200" b="0" i="0" kern="1200" dirty="0" smtClean="0">
                <a:solidFill>
                  <a:schemeClr val="tx1"/>
                </a:solidFill>
                <a:effectLst/>
                <a:latin typeface="+mn-lt"/>
                <a:ea typeface="+mn-ea"/>
                <a:cs typeface="+mn-cs"/>
              </a:rPr>
              <a:t>Digital Services upward trajectory (as Louise showed us yesterday in the graph). In</a:t>
            </a:r>
            <a:r>
              <a:rPr lang="en-US" sz="1200" b="0" i="0" kern="1200" baseline="0" dirty="0" smtClean="0">
                <a:solidFill>
                  <a:schemeClr val="tx1"/>
                </a:solidFill>
                <a:effectLst/>
                <a:latin typeface="+mn-lt"/>
                <a:ea typeface="+mn-ea"/>
                <a:cs typeface="+mn-cs"/>
              </a:rPr>
              <a:t> past focused on access to content, but now think about “access” in a wider perspective.</a:t>
            </a:r>
          </a:p>
          <a:p>
            <a:r>
              <a:rPr lang="en-US" sz="1200" b="0" i="0" kern="1200" baseline="0" dirty="0" smtClean="0">
                <a:solidFill>
                  <a:schemeClr val="tx1"/>
                </a:solidFill>
                <a:effectLst/>
                <a:latin typeface="+mn-lt"/>
                <a:ea typeface="+mn-ea"/>
                <a:cs typeface="+mn-cs"/>
              </a:rPr>
              <a:t>Think of text mining (we can offer the technology, but if we cannot interrogate the body of content behind paywalls, missing a huge piece of knowledge), digital humanities, digital use and reuse of scholarship</a:t>
            </a:r>
          </a:p>
          <a:p>
            <a:r>
              <a:rPr lang="en-US" sz="1200" b="0" i="0" kern="1200" baseline="0" dirty="0" smtClean="0">
                <a:solidFill>
                  <a:schemeClr val="tx1"/>
                </a:solidFill>
                <a:effectLst/>
                <a:latin typeface="+mn-lt"/>
                <a:ea typeface="+mn-ea"/>
                <a:cs typeface="+mn-cs"/>
              </a:rPr>
              <a:t>Want to advance open scholarship BUT researchers want to publish in the journals they know and trust</a:t>
            </a:r>
          </a:p>
          <a:p>
            <a:endParaRPr lang="en-US" sz="1200" b="0" i="0" kern="1200" baseline="0" dirty="0" smtClean="0">
              <a:solidFill>
                <a:schemeClr val="tx1"/>
              </a:solidFill>
              <a:effectLst/>
              <a:latin typeface="+mn-lt"/>
              <a:ea typeface="+mn-ea"/>
              <a:cs typeface="+mn-cs"/>
            </a:endParaRPr>
          </a:p>
          <a:p>
            <a:r>
              <a:rPr lang="en-US" sz="1200" b="0" i="0" kern="1200" baseline="0" dirty="0" smtClean="0">
                <a:solidFill>
                  <a:schemeClr val="tx1"/>
                </a:solidFill>
                <a:effectLst/>
                <a:latin typeface="+mn-lt"/>
                <a:ea typeface="+mn-ea"/>
                <a:cs typeface="+mn-cs"/>
              </a:rPr>
              <a:t>Help academic staff make sense of what is happening and navigate scholarly communications.</a:t>
            </a:r>
          </a:p>
          <a:p>
            <a:r>
              <a:rPr lang="en-US" sz="1200" b="0" i="0" kern="1200" baseline="0" dirty="0" smtClean="0">
                <a:solidFill>
                  <a:schemeClr val="tx1"/>
                </a:solidFill>
                <a:effectLst/>
                <a:latin typeface="+mn-lt"/>
                <a:ea typeface="+mn-ea"/>
                <a:cs typeface="+mn-cs"/>
              </a:rPr>
              <a:t>Need to be PROACTIVE</a:t>
            </a:r>
          </a:p>
          <a:p>
            <a:r>
              <a:rPr lang="en-US" sz="1200" b="0" i="0" kern="1200" baseline="0" dirty="0" smtClean="0">
                <a:solidFill>
                  <a:schemeClr val="tx1"/>
                </a:solidFill>
                <a:effectLst/>
                <a:latin typeface="+mn-lt"/>
                <a:ea typeface="+mn-ea"/>
                <a:cs typeface="+mn-cs"/>
              </a:rPr>
              <a:t>We cannot stand still, we need to be anticipating</a:t>
            </a:r>
            <a:endParaRPr lang="en-US" sz="1200" b="0" i="0" kern="1200" dirty="0" smtClean="0">
              <a:solidFill>
                <a:schemeClr val="tx1"/>
              </a:solidFill>
              <a:effectLst/>
              <a:latin typeface="+mn-lt"/>
              <a:ea typeface="+mn-ea"/>
              <a:cs typeface="+mn-cs"/>
            </a:endParaRPr>
          </a:p>
          <a:p>
            <a:endParaRPr lang="en-US" sz="1200" b="0" i="0" kern="1200" dirty="0" smtClean="0">
              <a:solidFill>
                <a:schemeClr val="tx1"/>
              </a:solidFill>
              <a:effectLst/>
              <a:latin typeface="+mn-lt"/>
              <a:ea typeface="+mn-ea"/>
              <a:cs typeface="+mn-cs"/>
            </a:endParaRPr>
          </a:p>
          <a:p>
            <a:endParaRPr lang="en-US" sz="1200" b="0" i="0" kern="1200" dirty="0" smtClean="0">
              <a:solidFill>
                <a:schemeClr val="tx1"/>
              </a:solidFill>
              <a:effectLst/>
              <a:latin typeface="+mn-lt"/>
              <a:ea typeface="+mn-ea"/>
              <a:cs typeface="+mn-cs"/>
            </a:endParaRP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Subscriptions</a:t>
            </a:r>
            <a:r>
              <a:rPr lang="en-US" sz="1200" b="0" i="0" kern="1200" baseline="0" dirty="0" smtClean="0">
                <a:solidFill>
                  <a:schemeClr val="tx1"/>
                </a:solidFill>
                <a:effectLst/>
                <a:latin typeface="+mn-lt"/>
                <a:ea typeface="+mn-ea"/>
                <a:cs typeface="+mn-cs"/>
              </a:rPr>
              <a:t> have no place in the digital world</a:t>
            </a:r>
          </a:p>
          <a:p>
            <a:r>
              <a:rPr lang="en-US" sz="1200" b="0" i="0" kern="1200" baseline="0" dirty="0" smtClean="0">
                <a:solidFill>
                  <a:schemeClr val="tx1"/>
                </a:solidFill>
                <a:effectLst/>
                <a:latin typeface="+mn-lt"/>
                <a:ea typeface="+mn-ea"/>
                <a:cs typeface="+mn-cs"/>
              </a:rPr>
              <a:t>Today we demand everything immediately, fast-paced, everything at our fingertips. But science</a:t>
            </a:r>
            <a:r>
              <a:rPr lang="en-DE" sz="1200" b="0" i="0" kern="1200" baseline="0" dirty="0" smtClean="0">
                <a:solidFill>
                  <a:schemeClr val="tx1"/>
                </a:solidFill>
                <a:effectLst/>
                <a:latin typeface="+mn-lt"/>
                <a:ea typeface="+mn-ea"/>
                <a:cs typeface="+mn-cs"/>
              </a:rPr>
              <a:t>—</a:t>
            </a:r>
            <a:r>
              <a:rPr lang="en-US" sz="1200" b="0" i="0" kern="1200" baseline="0" dirty="0" smtClean="0">
                <a:solidFill>
                  <a:schemeClr val="tx1"/>
                </a:solidFill>
                <a:effectLst/>
                <a:latin typeface="+mn-lt"/>
                <a:ea typeface="+mn-ea"/>
                <a:cs typeface="+mn-cs"/>
              </a:rPr>
              <a:t>most important</a:t>
            </a:r>
            <a:r>
              <a:rPr lang="en-DE" sz="1200" b="0" i="0" kern="1200" baseline="0" dirty="0" smtClean="0">
                <a:solidFill>
                  <a:schemeClr val="tx1"/>
                </a:solidFill>
                <a:effectLst/>
                <a:latin typeface="+mn-lt"/>
                <a:ea typeface="+mn-ea"/>
                <a:cs typeface="+mn-cs"/>
              </a:rPr>
              <a:t>—</a:t>
            </a:r>
            <a:r>
              <a:rPr lang="en-US" sz="1200" b="0" i="0" kern="1200" baseline="0" dirty="0" smtClean="0">
                <a:solidFill>
                  <a:schemeClr val="tx1"/>
                </a:solidFill>
                <a:effectLst/>
                <a:latin typeface="+mn-lt"/>
                <a:ea typeface="+mn-ea"/>
                <a:cs typeface="+mn-cs"/>
              </a:rPr>
              <a:t>is hidden from us.</a:t>
            </a:r>
          </a:p>
          <a:p>
            <a:r>
              <a:rPr lang="en-US" sz="1200" b="0" i="0" kern="1200" baseline="0" dirty="0" smtClean="0">
                <a:solidFill>
                  <a:schemeClr val="tx1"/>
                </a:solidFill>
                <a:effectLst/>
                <a:latin typeface="+mn-lt"/>
                <a:ea typeface="+mn-ea"/>
                <a:cs typeface="+mn-cs"/>
              </a:rPr>
              <a:t>Capabilities of using research in new ways with technology, but in order to articles to be published they sign away the rights</a:t>
            </a:r>
            <a:r>
              <a:rPr lang="en-DE" sz="1200" b="0" i="0" kern="1200" baseline="0" dirty="0" smtClean="0">
                <a:solidFill>
                  <a:schemeClr val="tx1"/>
                </a:solidFill>
                <a:effectLst/>
                <a:latin typeface="+mn-lt"/>
                <a:ea typeface="+mn-ea"/>
                <a:cs typeface="+mn-cs"/>
              </a:rPr>
              <a:t>…</a:t>
            </a:r>
            <a:r>
              <a:rPr lang="en-GB" sz="1200" b="0" i="0" kern="1200" baseline="0" dirty="0" smtClean="0">
                <a:solidFill>
                  <a:schemeClr val="tx1"/>
                </a:solidFill>
                <a:effectLst/>
                <a:latin typeface="+mn-lt"/>
                <a:ea typeface="+mn-ea"/>
                <a:cs typeface="+mn-cs"/>
              </a:rPr>
              <a:t>have to pay again to use the fruits of their own research. </a:t>
            </a:r>
            <a:endParaRPr lang="en-US" sz="1200" b="0" i="0" kern="1200" dirty="0" smtClean="0">
              <a:solidFill>
                <a:schemeClr val="tx1"/>
              </a:solidFill>
              <a:effectLst/>
              <a:latin typeface="+mn-lt"/>
              <a:ea typeface="+mn-ea"/>
              <a:cs typeface="+mn-cs"/>
            </a:endParaRP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Server log data for the website </a:t>
            </a:r>
            <a:r>
              <a:rPr lang="en-US" sz="1200" b="0" i="0" kern="1200" dirty="0" err="1" smtClean="0">
                <a:solidFill>
                  <a:schemeClr val="tx1"/>
                </a:solidFill>
                <a:effectLst/>
                <a:latin typeface="+mn-lt"/>
                <a:ea typeface="+mn-ea"/>
                <a:cs typeface="+mn-cs"/>
              </a:rPr>
              <a:t>Sci</a:t>
            </a:r>
            <a:r>
              <a:rPr lang="en-US" sz="1200" b="0" i="0" kern="1200" dirty="0" smtClean="0">
                <a:solidFill>
                  <a:schemeClr val="tx1"/>
                </a:solidFill>
                <a:effectLst/>
                <a:latin typeface="+mn-lt"/>
                <a:ea typeface="+mn-ea"/>
                <a:cs typeface="+mn-cs"/>
              </a:rPr>
              <a:t>-Hub from September 2015 through February paint a revealing portrait of its users and their diverse interests. </a:t>
            </a:r>
            <a:r>
              <a:rPr lang="en-US" sz="1200" b="0" i="0" kern="1200" dirty="0" err="1" smtClean="0">
                <a:solidFill>
                  <a:schemeClr val="tx1"/>
                </a:solidFill>
                <a:effectLst/>
                <a:latin typeface="+mn-lt"/>
                <a:ea typeface="+mn-ea"/>
                <a:cs typeface="+mn-cs"/>
              </a:rPr>
              <a:t>Sci</a:t>
            </a:r>
            <a:r>
              <a:rPr lang="en-US" sz="1200" b="0" i="0" kern="1200" dirty="0" smtClean="0">
                <a:solidFill>
                  <a:schemeClr val="tx1"/>
                </a:solidFill>
                <a:effectLst/>
                <a:latin typeface="+mn-lt"/>
                <a:ea typeface="+mn-ea"/>
                <a:cs typeface="+mn-cs"/>
              </a:rPr>
              <a:t>-Hub had 28 million download requests, from all regions of the world and covering most scientific disciplines.</a:t>
            </a:r>
            <a:endParaRPr lang="en-GB" dirty="0"/>
          </a:p>
        </p:txBody>
      </p:sp>
      <p:sp>
        <p:nvSpPr>
          <p:cNvPr id="4" name="Slide Number Placeholder 3"/>
          <p:cNvSpPr>
            <a:spLocks noGrp="1"/>
          </p:cNvSpPr>
          <p:nvPr>
            <p:ph type="sldNum" sz="quarter" idx="10"/>
          </p:nvPr>
        </p:nvSpPr>
        <p:spPr/>
        <p:txBody>
          <a:bodyPr/>
          <a:lstStyle/>
          <a:p>
            <a:fld id="{273DC81D-38FA-4EFB-A816-49076D4E1450}" type="slidenum">
              <a:rPr lang="de-DE" smtClean="0"/>
              <a:t>1</a:t>
            </a:fld>
            <a:endParaRPr lang="de-DE"/>
          </a:p>
        </p:txBody>
      </p:sp>
    </p:spTree>
    <p:extLst>
      <p:ext uri="{BB962C8B-B14F-4D97-AF65-F5344CB8AC3E}">
        <p14:creationId xmlns:p14="http://schemas.microsoft.com/office/powerpoint/2010/main" val="210872701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r>
              <a:rPr lang="en-US" sz="1200" b="0" i="0" kern="1200" dirty="0" smtClean="0">
                <a:solidFill>
                  <a:schemeClr val="tx1"/>
                </a:solidFill>
                <a:effectLst/>
                <a:latin typeface="+mn-lt"/>
                <a:ea typeface="+mn-ea"/>
                <a:cs typeface="+mn-cs"/>
              </a:rPr>
              <a:t>Transformative agreements are those contracts negotiated between institutions (libraries, national and regional consortia) and publishers that </a:t>
            </a:r>
            <a:r>
              <a:rPr lang="en-US" sz="1200" b="1" i="0" kern="1200" dirty="0" smtClean="0">
                <a:solidFill>
                  <a:schemeClr val="tx1"/>
                </a:solidFill>
                <a:effectLst/>
                <a:latin typeface="+mn-lt"/>
                <a:ea typeface="+mn-ea"/>
                <a:cs typeface="+mn-cs"/>
              </a:rPr>
              <a:t>transform the business model underlying scholarly journals from subscription to open access</a:t>
            </a:r>
            <a:r>
              <a:rPr lang="en-US" sz="1200" b="0" i="0" kern="1200" dirty="0" smtClean="0">
                <a:solidFill>
                  <a:schemeClr val="tx1"/>
                </a:solidFill>
                <a:effectLst/>
                <a:latin typeface="+mn-lt"/>
                <a:ea typeface="+mn-ea"/>
                <a:cs typeface="+mn-cs"/>
              </a:rPr>
              <a:t>. As the vast majority of scholarly publishing and expenditure of any given institution tends to be concentrated in journals produced by a relatively small number of publishers, implementing transformative agreements with these publishers constitutes a high-impact strategy: many institutions and consortia find that by negotiating such agreements with fewer than 10 publishers, they can achieve immediate open access for the vast majority of their outputs.</a:t>
            </a:r>
          </a:p>
          <a:p>
            <a:pPr fontAlgn="base"/>
            <a:r>
              <a:rPr lang="en-US" sz="1200" b="0" i="0" kern="1200" dirty="0" smtClean="0">
                <a:solidFill>
                  <a:schemeClr val="tx1"/>
                </a:solidFill>
                <a:effectLst/>
                <a:latin typeface="+mn-lt"/>
                <a:ea typeface="+mn-ea"/>
                <a:cs typeface="+mn-cs"/>
              </a:rPr>
              <a:t>They have </a:t>
            </a:r>
            <a:r>
              <a:rPr lang="en-US" sz="1200" b="1" i="0" kern="1200" dirty="0" smtClean="0">
                <a:solidFill>
                  <a:schemeClr val="tx1"/>
                </a:solidFill>
                <a:effectLst/>
                <a:latin typeface="+mn-lt"/>
                <a:ea typeface="+mn-ea"/>
                <a:cs typeface="+mn-cs"/>
              </a:rPr>
              <a:t>a variety of configurations</a:t>
            </a:r>
            <a:r>
              <a:rPr lang="en-US" sz="1200" b="0" i="0" kern="1200" dirty="0" smtClean="0">
                <a:solidFill>
                  <a:schemeClr val="tx1"/>
                </a:solidFill>
                <a:effectLst/>
                <a:latin typeface="+mn-lt"/>
                <a:ea typeface="+mn-ea"/>
                <a:cs typeface="+mn-cs"/>
              </a:rPr>
              <a:t> that reflect the diverse and fluid landscape of scholarly communication, starting with “offsetting” through to the recent “Publish &amp; Read, or PAR” model, and more.</a:t>
            </a:r>
          </a:p>
          <a:p>
            <a:pPr fontAlgn="base"/>
            <a:r>
              <a:rPr lang="en-US" sz="1200" b="0" i="0" kern="1200" dirty="0" smtClean="0">
                <a:solidFill>
                  <a:schemeClr val="tx1"/>
                </a:solidFill>
                <a:effectLst/>
                <a:latin typeface="+mn-lt"/>
                <a:ea typeface="+mn-ea"/>
                <a:cs typeface="+mn-cs"/>
              </a:rPr>
              <a:t>Agreements continue to evolve as they are increasingly adopted around the world and the body of evidence on their impact grows.</a:t>
            </a:r>
          </a:p>
          <a:p>
            <a:pPr fontAlgn="base"/>
            <a:r>
              <a:rPr lang="en-US" sz="1200" b="0" i="0" kern="1200" dirty="0" smtClean="0">
                <a:solidFill>
                  <a:schemeClr val="tx1"/>
                </a:solidFill>
                <a:effectLst/>
                <a:latin typeface="+mn-lt"/>
                <a:ea typeface="+mn-ea"/>
                <a:cs typeface="+mn-cs"/>
              </a:rPr>
              <a:t>Put into practice, </a:t>
            </a:r>
            <a:r>
              <a:rPr lang="en-US" sz="1200" b="1" i="0" kern="1200" dirty="0" smtClean="0">
                <a:solidFill>
                  <a:schemeClr val="tx1"/>
                </a:solidFill>
                <a:effectLst/>
                <a:latin typeface="+mn-lt"/>
                <a:ea typeface="+mn-ea"/>
                <a:cs typeface="+mn-cs"/>
              </a:rPr>
              <a:t>instead of paying fees for access to journals behind subscription paywalls, funds are repurposed to remunerate publishers for their editorial services associated with the open access publication of accepted articles</a:t>
            </a:r>
            <a:r>
              <a:rPr lang="en-US" sz="1200" b="0" i="0" kern="1200" dirty="0" smtClean="0">
                <a:solidFill>
                  <a:schemeClr val="tx1"/>
                </a:solidFill>
                <a:effectLst/>
                <a:latin typeface="+mn-lt"/>
                <a:ea typeface="+mn-ea"/>
                <a:cs typeface="+mn-cs"/>
              </a:rPr>
              <a:t>.</a:t>
            </a:r>
          </a:p>
          <a:p>
            <a:pPr fontAlgn="base"/>
            <a:r>
              <a:rPr lang="en-US" sz="1200" b="0" i="0" kern="1200" dirty="0" smtClean="0">
                <a:solidFill>
                  <a:schemeClr val="tx1"/>
                </a:solidFill>
                <a:effectLst/>
                <a:latin typeface="+mn-lt"/>
                <a:ea typeface="+mn-ea"/>
                <a:cs typeface="+mn-cs"/>
              </a:rPr>
              <a:t>In most models, fees are articulated at the article level or in proportion to the number of articles published, disbanding the lump-sums fees of subscriptions that are largely based on legacy print expenditures. </a:t>
            </a:r>
            <a:r>
              <a:rPr lang="en-US" sz="1200" b="1" i="0" kern="1200" dirty="0" smtClean="0">
                <a:solidFill>
                  <a:schemeClr val="tx1"/>
                </a:solidFill>
                <a:effectLst/>
                <a:latin typeface="+mn-lt"/>
                <a:ea typeface="+mn-ea"/>
                <a:cs typeface="+mn-cs"/>
              </a:rPr>
              <a:t>The fundamental principles of transformative agreements include that they are temporary and transitional</a:t>
            </a:r>
            <a:r>
              <a:rPr lang="en-US" sz="1200" b="0" i="0" kern="1200" dirty="0" smtClean="0">
                <a:solidFill>
                  <a:schemeClr val="tx1"/>
                </a:solidFill>
                <a:effectLst/>
                <a:latin typeface="+mn-lt"/>
                <a:ea typeface="+mn-ea"/>
                <a:cs typeface="+mn-cs"/>
              </a:rPr>
              <a:t> meaning that they are no end in itself but rather provide a framework in which a swift and irreversible shift away from the subscription model can be organized, affecting the financial and operational changes required for a fully open access publishing paradigm.</a:t>
            </a:r>
          </a:p>
          <a:p>
            <a:pPr fontAlgn="base"/>
            <a:r>
              <a:rPr lang="en-US" sz="1200" b="0" i="0" kern="1200" dirty="0" smtClean="0">
                <a:solidFill>
                  <a:schemeClr val="tx1"/>
                </a:solidFill>
                <a:effectLst/>
                <a:latin typeface="+mn-lt"/>
                <a:ea typeface="+mn-ea"/>
                <a:cs typeface="+mn-cs"/>
              </a:rPr>
              <a:t>Requirements and guiding principles for the negotiations of transformative agreements </a:t>
            </a:r>
            <a:r>
              <a:rPr lang="en-US" sz="1200" b="0" i="0" u="none" strike="noStrike" kern="1200" dirty="0" smtClean="0">
                <a:solidFill>
                  <a:schemeClr val="tx1"/>
                </a:solidFill>
                <a:effectLst/>
                <a:latin typeface="+mn-lt"/>
                <a:ea typeface="+mn-ea"/>
                <a:cs typeface="+mn-cs"/>
                <a:hlinkClick r:id="rId3"/>
              </a:rPr>
              <a:t>have been published</a:t>
            </a:r>
            <a:r>
              <a:rPr lang="en-US" sz="1200" b="0" i="0" kern="1200" dirty="0" smtClean="0">
                <a:solidFill>
                  <a:schemeClr val="tx1"/>
                </a:solidFill>
                <a:effectLst/>
                <a:latin typeface="+mn-lt"/>
                <a:ea typeface="+mn-ea"/>
                <a:cs typeface="+mn-cs"/>
              </a:rPr>
              <a:t> by libraries and library consortia around the world which demonstrates the ongoing effort of the </a:t>
            </a:r>
            <a:r>
              <a:rPr lang="en-US" sz="1200" b="0" i="0" kern="1200" dirty="0" err="1" smtClean="0">
                <a:solidFill>
                  <a:schemeClr val="tx1"/>
                </a:solidFill>
                <a:effectLst/>
                <a:latin typeface="+mn-lt"/>
                <a:ea typeface="+mn-ea"/>
                <a:cs typeface="+mn-cs"/>
              </a:rPr>
              <a:t>comunity</a:t>
            </a:r>
            <a:r>
              <a:rPr lang="en-US" sz="1200" b="0" i="0" kern="1200" dirty="0" smtClean="0">
                <a:solidFill>
                  <a:schemeClr val="tx1"/>
                </a:solidFill>
                <a:effectLst/>
                <a:latin typeface="+mn-lt"/>
                <a:ea typeface="+mn-ea"/>
                <a:cs typeface="+mn-cs"/>
              </a:rPr>
              <a:t> to shape the new </a:t>
            </a:r>
            <a:r>
              <a:rPr lang="en-US" sz="1200" b="0" i="0" kern="1200" dirty="0" err="1" smtClean="0">
                <a:solidFill>
                  <a:schemeClr val="tx1"/>
                </a:solidFill>
                <a:effectLst/>
                <a:latin typeface="+mn-lt"/>
                <a:ea typeface="+mn-ea"/>
                <a:cs typeface="+mn-cs"/>
              </a:rPr>
              <a:t>busisness</a:t>
            </a:r>
            <a:r>
              <a:rPr lang="en-US" sz="1200" b="0" i="0" kern="1200" dirty="0" smtClean="0">
                <a:solidFill>
                  <a:schemeClr val="tx1"/>
                </a:solidFill>
                <a:effectLst/>
                <a:latin typeface="+mn-lt"/>
                <a:ea typeface="+mn-ea"/>
                <a:cs typeface="+mn-cs"/>
              </a:rPr>
              <a:t> model and to improve transparency and efficiency. With our ESAC registry, we want to contribute to that process.</a:t>
            </a:r>
          </a:p>
          <a:p>
            <a:pPr>
              <a:spcAft>
                <a:spcPts val="0"/>
              </a:spcAft>
            </a:pPr>
            <a:endParaRPr lang="en-GB" dirty="0" smtClean="0"/>
          </a:p>
        </p:txBody>
      </p:sp>
      <p:sp>
        <p:nvSpPr>
          <p:cNvPr id="4" name="Slide Number Placeholder 3"/>
          <p:cNvSpPr>
            <a:spLocks noGrp="1"/>
          </p:cNvSpPr>
          <p:nvPr>
            <p:ph type="sldNum" sz="quarter" idx="10"/>
          </p:nvPr>
        </p:nvSpPr>
        <p:spPr/>
        <p:txBody>
          <a:bodyPr/>
          <a:lstStyle/>
          <a:p>
            <a:fld id="{273DC81D-38FA-4EFB-A816-49076D4E1450}" type="slidenum">
              <a:rPr lang="de-DE" smtClean="0"/>
              <a:t>21</a:t>
            </a:fld>
            <a:endParaRPr lang="de-DE"/>
          </a:p>
        </p:txBody>
      </p:sp>
    </p:spTree>
    <p:extLst>
      <p:ext uri="{BB962C8B-B14F-4D97-AF65-F5344CB8AC3E}">
        <p14:creationId xmlns:p14="http://schemas.microsoft.com/office/powerpoint/2010/main" val="261780277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r>
              <a:rPr lang="en-US" sz="1200" b="0" i="0" kern="1200" dirty="0" smtClean="0">
                <a:solidFill>
                  <a:schemeClr val="tx1"/>
                </a:solidFill>
                <a:effectLst/>
                <a:latin typeface="+mn-lt"/>
                <a:ea typeface="+mn-ea"/>
                <a:cs typeface="+mn-cs"/>
              </a:rPr>
              <a:t>Transformative agreements are those contracts negotiated between institutions (libraries, national and regional consortia) and publishers that </a:t>
            </a:r>
            <a:r>
              <a:rPr lang="en-US" sz="1200" b="1" i="0" kern="1200" dirty="0" smtClean="0">
                <a:solidFill>
                  <a:schemeClr val="tx1"/>
                </a:solidFill>
                <a:effectLst/>
                <a:latin typeface="+mn-lt"/>
                <a:ea typeface="+mn-ea"/>
                <a:cs typeface="+mn-cs"/>
              </a:rPr>
              <a:t>transform the business model underlying scholarly journals from subscription to open access</a:t>
            </a:r>
            <a:r>
              <a:rPr lang="en-US" sz="1200" b="0" i="0" kern="1200" dirty="0" smtClean="0">
                <a:solidFill>
                  <a:schemeClr val="tx1"/>
                </a:solidFill>
                <a:effectLst/>
                <a:latin typeface="+mn-lt"/>
                <a:ea typeface="+mn-ea"/>
                <a:cs typeface="+mn-cs"/>
              </a:rPr>
              <a:t>. As the vast majority of scholarly publishing and expenditure of any given institution tends to be concentrated in journals produced by a relatively small number of publishers, implementing transformative agreements with these publishers constitutes a high-impact strategy: many institutions and consortia find that by negotiating such agreements with fewer than 10 publishers, they can achieve immediate open access for the vast majority of their outputs.</a:t>
            </a:r>
          </a:p>
          <a:p>
            <a:pPr fontAlgn="base"/>
            <a:r>
              <a:rPr lang="en-US" sz="1200" b="0" i="0" kern="1200" dirty="0" smtClean="0">
                <a:solidFill>
                  <a:schemeClr val="tx1"/>
                </a:solidFill>
                <a:effectLst/>
                <a:latin typeface="+mn-lt"/>
                <a:ea typeface="+mn-ea"/>
                <a:cs typeface="+mn-cs"/>
              </a:rPr>
              <a:t>They have </a:t>
            </a:r>
            <a:r>
              <a:rPr lang="en-US" sz="1200" b="1" i="0" kern="1200" dirty="0" smtClean="0">
                <a:solidFill>
                  <a:schemeClr val="tx1"/>
                </a:solidFill>
                <a:effectLst/>
                <a:latin typeface="+mn-lt"/>
                <a:ea typeface="+mn-ea"/>
                <a:cs typeface="+mn-cs"/>
              </a:rPr>
              <a:t>a variety of configurations</a:t>
            </a:r>
            <a:r>
              <a:rPr lang="en-US" sz="1200" b="0" i="0" kern="1200" dirty="0" smtClean="0">
                <a:solidFill>
                  <a:schemeClr val="tx1"/>
                </a:solidFill>
                <a:effectLst/>
                <a:latin typeface="+mn-lt"/>
                <a:ea typeface="+mn-ea"/>
                <a:cs typeface="+mn-cs"/>
              </a:rPr>
              <a:t> that reflect the diverse and fluid landscape of scholarly communication, starting with “offsetting” through to the recent “Publish &amp; Read, or PAR” model, and more.</a:t>
            </a:r>
          </a:p>
          <a:p>
            <a:pPr fontAlgn="base"/>
            <a:r>
              <a:rPr lang="en-US" sz="1200" b="0" i="0" kern="1200" dirty="0" smtClean="0">
                <a:solidFill>
                  <a:schemeClr val="tx1"/>
                </a:solidFill>
                <a:effectLst/>
                <a:latin typeface="+mn-lt"/>
                <a:ea typeface="+mn-ea"/>
                <a:cs typeface="+mn-cs"/>
              </a:rPr>
              <a:t>Agreements continue to evolve as they are increasingly adopted around the world and the body of evidence on their impact grows.</a:t>
            </a:r>
          </a:p>
          <a:p>
            <a:pPr fontAlgn="base"/>
            <a:r>
              <a:rPr lang="en-US" sz="1200" b="0" i="0" kern="1200" dirty="0" smtClean="0">
                <a:solidFill>
                  <a:schemeClr val="tx1"/>
                </a:solidFill>
                <a:effectLst/>
                <a:latin typeface="+mn-lt"/>
                <a:ea typeface="+mn-ea"/>
                <a:cs typeface="+mn-cs"/>
              </a:rPr>
              <a:t>Put into practice, </a:t>
            </a:r>
            <a:r>
              <a:rPr lang="en-US" sz="1200" b="1" i="0" kern="1200" dirty="0" smtClean="0">
                <a:solidFill>
                  <a:schemeClr val="tx1"/>
                </a:solidFill>
                <a:effectLst/>
                <a:latin typeface="+mn-lt"/>
                <a:ea typeface="+mn-ea"/>
                <a:cs typeface="+mn-cs"/>
              </a:rPr>
              <a:t>instead of paying fees for access to journals behind subscription paywalls, funds are repurposed to remunerate publishers for their editorial services associated with the open access publication of accepted articles</a:t>
            </a:r>
            <a:r>
              <a:rPr lang="en-US" sz="1200" b="0" i="0" kern="1200" dirty="0" smtClean="0">
                <a:solidFill>
                  <a:schemeClr val="tx1"/>
                </a:solidFill>
                <a:effectLst/>
                <a:latin typeface="+mn-lt"/>
                <a:ea typeface="+mn-ea"/>
                <a:cs typeface="+mn-cs"/>
              </a:rPr>
              <a:t>.</a:t>
            </a:r>
          </a:p>
          <a:p>
            <a:pPr fontAlgn="base"/>
            <a:r>
              <a:rPr lang="en-US" sz="1200" b="0" i="0" kern="1200" dirty="0" smtClean="0">
                <a:solidFill>
                  <a:schemeClr val="tx1"/>
                </a:solidFill>
                <a:effectLst/>
                <a:latin typeface="+mn-lt"/>
                <a:ea typeface="+mn-ea"/>
                <a:cs typeface="+mn-cs"/>
              </a:rPr>
              <a:t>In most models, fees are articulated at the article level or in proportion to the number of articles published, disbanding the lump-sums fees of subscriptions that are largely based on legacy print expenditures. </a:t>
            </a:r>
            <a:r>
              <a:rPr lang="en-US" sz="1200" b="1" i="0" kern="1200" dirty="0" smtClean="0">
                <a:solidFill>
                  <a:schemeClr val="tx1"/>
                </a:solidFill>
                <a:effectLst/>
                <a:latin typeface="+mn-lt"/>
                <a:ea typeface="+mn-ea"/>
                <a:cs typeface="+mn-cs"/>
              </a:rPr>
              <a:t>The fundamental principles of transformative agreements include that they are temporary and transitional</a:t>
            </a:r>
            <a:r>
              <a:rPr lang="en-US" sz="1200" b="0" i="0" kern="1200" dirty="0" smtClean="0">
                <a:solidFill>
                  <a:schemeClr val="tx1"/>
                </a:solidFill>
                <a:effectLst/>
                <a:latin typeface="+mn-lt"/>
                <a:ea typeface="+mn-ea"/>
                <a:cs typeface="+mn-cs"/>
              </a:rPr>
              <a:t> meaning that they are no end in itself but rather provide a framework in which a swift and irreversible shift away from the subscription model can be organized, affecting the financial and operational changes required for a fully open access publishing paradigm.</a:t>
            </a:r>
          </a:p>
          <a:p>
            <a:pPr fontAlgn="base"/>
            <a:r>
              <a:rPr lang="en-US" sz="1200" b="0" i="0" kern="1200" dirty="0" smtClean="0">
                <a:solidFill>
                  <a:schemeClr val="tx1"/>
                </a:solidFill>
                <a:effectLst/>
                <a:latin typeface="+mn-lt"/>
                <a:ea typeface="+mn-ea"/>
                <a:cs typeface="+mn-cs"/>
              </a:rPr>
              <a:t>Requirements and guiding principles for the negotiations of transformative agreements </a:t>
            </a:r>
            <a:r>
              <a:rPr lang="en-US" sz="1200" b="0" i="0" u="none" strike="noStrike" kern="1200" dirty="0" smtClean="0">
                <a:solidFill>
                  <a:schemeClr val="tx1"/>
                </a:solidFill>
                <a:effectLst/>
                <a:latin typeface="+mn-lt"/>
                <a:ea typeface="+mn-ea"/>
                <a:cs typeface="+mn-cs"/>
                <a:hlinkClick r:id="rId3"/>
              </a:rPr>
              <a:t>have been published</a:t>
            </a:r>
            <a:r>
              <a:rPr lang="en-US" sz="1200" b="0" i="0" kern="1200" dirty="0" smtClean="0">
                <a:solidFill>
                  <a:schemeClr val="tx1"/>
                </a:solidFill>
                <a:effectLst/>
                <a:latin typeface="+mn-lt"/>
                <a:ea typeface="+mn-ea"/>
                <a:cs typeface="+mn-cs"/>
              </a:rPr>
              <a:t> by libraries and library consortia around the world which demonstrates the ongoing effort of the </a:t>
            </a:r>
            <a:r>
              <a:rPr lang="en-US" sz="1200" b="0" i="0" kern="1200" dirty="0" err="1" smtClean="0">
                <a:solidFill>
                  <a:schemeClr val="tx1"/>
                </a:solidFill>
                <a:effectLst/>
                <a:latin typeface="+mn-lt"/>
                <a:ea typeface="+mn-ea"/>
                <a:cs typeface="+mn-cs"/>
              </a:rPr>
              <a:t>comunity</a:t>
            </a:r>
            <a:r>
              <a:rPr lang="en-US" sz="1200" b="0" i="0" kern="1200" dirty="0" smtClean="0">
                <a:solidFill>
                  <a:schemeClr val="tx1"/>
                </a:solidFill>
                <a:effectLst/>
                <a:latin typeface="+mn-lt"/>
                <a:ea typeface="+mn-ea"/>
                <a:cs typeface="+mn-cs"/>
              </a:rPr>
              <a:t> to shape the new </a:t>
            </a:r>
            <a:r>
              <a:rPr lang="en-US" sz="1200" b="0" i="0" kern="1200" dirty="0" err="1" smtClean="0">
                <a:solidFill>
                  <a:schemeClr val="tx1"/>
                </a:solidFill>
                <a:effectLst/>
                <a:latin typeface="+mn-lt"/>
                <a:ea typeface="+mn-ea"/>
                <a:cs typeface="+mn-cs"/>
              </a:rPr>
              <a:t>busisness</a:t>
            </a:r>
            <a:r>
              <a:rPr lang="en-US" sz="1200" b="0" i="0" kern="1200" dirty="0" smtClean="0">
                <a:solidFill>
                  <a:schemeClr val="tx1"/>
                </a:solidFill>
                <a:effectLst/>
                <a:latin typeface="+mn-lt"/>
                <a:ea typeface="+mn-ea"/>
                <a:cs typeface="+mn-cs"/>
              </a:rPr>
              <a:t> model and to improve transparency and efficiency. With our ESAC registry, we want to contribute to that process.</a:t>
            </a:r>
          </a:p>
          <a:p>
            <a:pPr>
              <a:spcAft>
                <a:spcPts val="0"/>
              </a:spcAft>
            </a:pPr>
            <a:endParaRPr lang="en-GB" dirty="0" smtClean="0"/>
          </a:p>
        </p:txBody>
      </p:sp>
      <p:sp>
        <p:nvSpPr>
          <p:cNvPr id="4" name="Slide Number Placeholder 3"/>
          <p:cNvSpPr>
            <a:spLocks noGrp="1"/>
          </p:cNvSpPr>
          <p:nvPr>
            <p:ph type="sldNum" sz="quarter" idx="10"/>
          </p:nvPr>
        </p:nvSpPr>
        <p:spPr/>
        <p:txBody>
          <a:bodyPr/>
          <a:lstStyle/>
          <a:p>
            <a:fld id="{273DC81D-38FA-4EFB-A816-49076D4E1450}" type="slidenum">
              <a:rPr lang="de-DE" smtClean="0"/>
              <a:t>22</a:t>
            </a:fld>
            <a:endParaRPr lang="de-DE"/>
          </a:p>
        </p:txBody>
      </p:sp>
    </p:spTree>
    <p:extLst>
      <p:ext uri="{BB962C8B-B14F-4D97-AF65-F5344CB8AC3E}">
        <p14:creationId xmlns:p14="http://schemas.microsoft.com/office/powerpoint/2010/main" val="10405369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r>
              <a:rPr lang="en-US" sz="1200" b="0" i="0" kern="1200" dirty="0" smtClean="0">
                <a:solidFill>
                  <a:schemeClr val="tx1"/>
                </a:solidFill>
                <a:effectLst/>
                <a:latin typeface="+mn-lt"/>
                <a:ea typeface="+mn-ea"/>
                <a:cs typeface="+mn-cs"/>
              </a:rPr>
              <a:t>Transformative agreements are those contracts negotiated between institutions (libraries, national and regional consortia) and publishers that </a:t>
            </a:r>
            <a:r>
              <a:rPr lang="en-US" sz="1200" b="1" i="0" kern="1200" dirty="0" smtClean="0">
                <a:solidFill>
                  <a:schemeClr val="tx1"/>
                </a:solidFill>
                <a:effectLst/>
                <a:latin typeface="+mn-lt"/>
                <a:ea typeface="+mn-ea"/>
                <a:cs typeface="+mn-cs"/>
              </a:rPr>
              <a:t>transform the business model underlying scholarly journals from subscription to open access</a:t>
            </a:r>
            <a:r>
              <a:rPr lang="en-US" sz="1200" b="0" i="0" kern="1200" dirty="0" smtClean="0">
                <a:solidFill>
                  <a:schemeClr val="tx1"/>
                </a:solidFill>
                <a:effectLst/>
                <a:latin typeface="+mn-lt"/>
                <a:ea typeface="+mn-ea"/>
                <a:cs typeface="+mn-cs"/>
              </a:rPr>
              <a:t>. As the vast majority of scholarly publishing and expenditure of any given institution tends to be concentrated in journals produced by a relatively small number of publishers, implementing transformative agreements with these publishers constitutes a high-impact strategy: many institutions and consortia find that by negotiating such agreements with fewer than 10 publishers, they can achieve immediate open access for the vast majority of their outputs.</a:t>
            </a:r>
          </a:p>
          <a:p>
            <a:pPr fontAlgn="base"/>
            <a:r>
              <a:rPr lang="en-US" sz="1200" b="0" i="0" kern="1200" dirty="0" smtClean="0">
                <a:solidFill>
                  <a:schemeClr val="tx1"/>
                </a:solidFill>
                <a:effectLst/>
                <a:latin typeface="+mn-lt"/>
                <a:ea typeface="+mn-ea"/>
                <a:cs typeface="+mn-cs"/>
              </a:rPr>
              <a:t>They have </a:t>
            </a:r>
            <a:r>
              <a:rPr lang="en-US" sz="1200" b="1" i="0" kern="1200" dirty="0" smtClean="0">
                <a:solidFill>
                  <a:schemeClr val="tx1"/>
                </a:solidFill>
                <a:effectLst/>
                <a:latin typeface="+mn-lt"/>
                <a:ea typeface="+mn-ea"/>
                <a:cs typeface="+mn-cs"/>
              </a:rPr>
              <a:t>a variety of configurations</a:t>
            </a:r>
            <a:r>
              <a:rPr lang="en-US" sz="1200" b="0" i="0" kern="1200" dirty="0" smtClean="0">
                <a:solidFill>
                  <a:schemeClr val="tx1"/>
                </a:solidFill>
                <a:effectLst/>
                <a:latin typeface="+mn-lt"/>
                <a:ea typeface="+mn-ea"/>
                <a:cs typeface="+mn-cs"/>
              </a:rPr>
              <a:t> that reflect the diverse and fluid landscape of scholarly communication, starting with “offsetting” through to the recent “Publish &amp; Read, or PAR” model, and more.</a:t>
            </a:r>
          </a:p>
          <a:p>
            <a:pPr fontAlgn="base"/>
            <a:r>
              <a:rPr lang="en-US" sz="1200" b="0" i="0" kern="1200" dirty="0" smtClean="0">
                <a:solidFill>
                  <a:schemeClr val="tx1"/>
                </a:solidFill>
                <a:effectLst/>
                <a:latin typeface="+mn-lt"/>
                <a:ea typeface="+mn-ea"/>
                <a:cs typeface="+mn-cs"/>
              </a:rPr>
              <a:t>Agreements continue to evolve as they are increasingly adopted around the world and the body of evidence on their impact grows.</a:t>
            </a:r>
          </a:p>
          <a:p>
            <a:pPr fontAlgn="base"/>
            <a:r>
              <a:rPr lang="en-US" sz="1200" b="0" i="0" kern="1200" dirty="0" smtClean="0">
                <a:solidFill>
                  <a:schemeClr val="tx1"/>
                </a:solidFill>
                <a:effectLst/>
                <a:latin typeface="+mn-lt"/>
                <a:ea typeface="+mn-ea"/>
                <a:cs typeface="+mn-cs"/>
              </a:rPr>
              <a:t>Put into practice, </a:t>
            </a:r>
            <a:r>
              <a:rPr lang="en-US" sz="1200" b="1" i="0" kern="1200" dirty="0" smtClean="0">
                <a:solidFill>
                  <a:schemeClr val="tx1"/>
                </a:solidFill>
                <a:effectLst/>
                <a:latin typeface="+mn-lt"/>
                <a:ea typeface="+mn-ea"/>
                <a:cs typeface="+mn-cs"/>
              </a:rPr>
              <a:t>instead of paying fees for access to journals behind subscription paywalls, funds are repurposed to remunerate publishers for their editorial services associated with the open access publication of accepted articles</a:t>
            </a:r>
            <a:r>
              <a:rPr lang="en-US" sz="1200" b="0" i="0" kern="1200" dirty="0" smtClean="0">
                <a:solidFill>
                  <a:schemeClr val="tx1"/>
                </a:solidFill>
                <a:effectLst/>
                <a:latin typeface="+mn-lt"/>
                <a:ea typeface="+mn-ea"/>
                <a:cs typeface="+mn-cs"/>
              </a:rPr>
              <a:t>.</a:t>
            </a:r>
          </a:p>
          <a:p>
            <a:pPr fontAlgn="base"/>
            <a:r>
              <a:rPr lang="en-US" sz="1200" b="0" i="0" kern="1200" dirty="0" smtClean="0">
                <a:solidFill>
                  <a:schemeClr val="tx1"/>
                </a:solidFill>
                <a:effectLst/>
                <a:latin typeface="+mn-lt"/>
                <a:ea typeface="+mn-ea"/>
                <a:cs typeface="+mn-cs"/>
              </a:rPr>
              <a:t>In most models, fees are articulated at the article level or in proportion to the number of articles published, disbanding the lump-sums fees of subscriptions that are largely based on legacy print expenditures. </a:t>
            </a:r>
            <a:r>
              <a:rPr lang="en-US" sz="1200" b="1" i="0" kern="1200" dirty="0" smtClean="0">
                <a:solidFill>
                  <a:schemeClr val="tx1"/>
                </a:solidFill>
                <a:effectLst/>
                <a:latin typeface="+mn-lt"/>
                <a:ea typeface="+mn-ea"/>
                <a:cs typeface="+mn-cs"/>
              </a:rPr>
              <a:t>The fundamental principles of transformative agreements include that they are temporary and transitional</a:t>
            </a:r>
            <a:r>
              <a:rPr lang="en-US" sz="1200" b="0" i="0" kern="1200" dirty="0" smtClean="0">
                <a:solidFill>
                  <a:schemeClr val="tx1"/>
                </a:solidFill>
                <a:effectLst/>
                <a:latin typeface="+mn-lt"/>
                <a:ea typeface="+mn-ea"/>
                <a:cs typeface="+mn-cs"/>
              </a:rPr>
              <a:t> meaning that they are no end in itself but rather provide a framework in which a swift and irreversible shift away from the subscription model can be organized, affecting the financial and operational changes required for a fully open access publishing paradigm.</a:t>
            </a:r>
          </a:p>
          <a:p>
            <a:pPr fontAlgn="base"/>
            <a:r>
              <a:rPr lang="en-US" sz="1200" b="0" i="0" kern="1200" dirty="0" smtClean="0">
                <a:solidFill>
                  <a:schemeClr val="tx1"/>
                </a:solidFill>
                <a:effectLst/>
                <a:latin typeface="+mn-lt"/>
                <a:ea typeface="+mn-ea"/>
                <a:cs typeface="+mn-cs"/>
              </a:rPr>
              <a:t>Requirements and guiding principles for the negotiations of transformative agreements </a:t>
            </a:r>
            <a:r>
              <a:rPr lang="en-US" sz="1200" b="0" i="0" u="none" strike="noStrike" kern="1200" dirty="0" smtClean="0">
                <a:solidFill>
                  <a:schemeClr val="tx1"/>
                </a:solidFill>
                <a:effectLst/>
                <a:latin typeface="+mn-lt"/>
                <a:ea typeface="+mn-ea"/>
                <a:cs typeface="+mn-cs"/>
                <a:hlinkClick r:id="rId3"/>
              </a:rPr>
              <a:t>have been published</a:t>
            </a:r>
            <a:r>
              <a:rPr lang="en-US" sz="1200" b="0" i="0" kern="1200" dirty="0" smtClean="0">
                <a:solidFill>
                  <a:schemeClr val="tx1"/>
                </a:solidFill>
                <a:effectLst/>
                <a:latin typeface="+mn-lt"/>
                <a:ea typeface="+mn-ea"/>
                <a:cs typeface="+mn-cs"/>
              </a:rPr>
              <a:t> by libraries and library consortia around the world which demonstrates the ongoing effort of the </a:t>
            </a:r>
            <a:r>
              <a:rPr lang="en-US" sz="1200" b="0" i="0" kern="1200" dirty="0" err="1" smtClean="0">
                <a:solidFill>
                  <a:schemeClr val="tx1"/>
                </a:solidFill>
                <a:effectLst/>
                <a:latin typeface="+mn-lt"/>
                <a:ea typeface="+mn-ea"/>
                <a:cs typeface="+mn-cs"/>
              </a:rPr>
              <a:t>comunity</a:t>
            </a:r>
            <a:r>
              <a:rPr lang="en-US" sz="1200" b="0" i="0" kern="1200" dirty="0" smtClean="0">
                <a:solidFill>
                  <a:schemeClr val="tx1"/>
                </a:solidFill>
                <a:effectLst/>
                <a:latin typeface="+mn-lt"/>
                <a:ea typeface="+mn-ea"/>
                <a:cs typeface="+mn-cs"/>
              </a:rPr>
              <a:t> to shape the new </a:t>
            </a:r>
            <a:r>
              <a:rPr lang="en-US" sz="1200" b="0" i="0" kern="1200" dirty="0" err="1" smtClean="0">
                <a:solidFill>
                  <a:schemeClr val="tx1"/>
                </a:solidFill>
                <a:effectLst/>
                <a:latin typeface="+mn-lt"/>
                <a:ea typeface="+mn-ea"/>
                <a:cs typeface="+mn-cs"/>
              </a:rPr>
              <a:t>busisness</a:t>
            </a:r>
            <a:r>
              <a:rPr lang="en-US" sz="1200" b="0" i="0" kern="1200" dirty="0" smtClean="0">
                <a:solidFill>
                  <a:schemeClr val="tx1"/>
                </a:solidFill>
                <a:effectLst/>
                <a:latin typeface="+mn-lt"/>
                <a:ea typeface="+mn-ea"/>
                <a:cs typeface="+mn-cs"/>
              </a:rPr>
              <a:t> model and to improve transparency and efficiency. With our ESAC registry, we want to contribute to that process.</a:t>
            </a:r>
          </a:p>
          <a:p>
            <a:pPr>
              <a:spcAft>
                <a:spcPts val="0"/>
              </a:spcAft>
            </a:pPr>
            <a:endParaRPr lang="en-GB" dirty="0" smtClean="0"/>
          </a:p>
        </p:txBody>
      </p:sp>
      <p:sp>
        <p:nvSpPr>
          <p:cNvPr id="4" name="Slide Number Placeholder 3"/>
          <p:cNvSpPr>
            <a:spLocks noGrp="1"/>
          </p:cNvSpPr>
          <p:nvPr>
            <p:ph type="sldNum" sz="quarter" idx="10"/>
          </p:nvPr>
        </p:nvSpPr>
        <p:spPr/>
        <p:txBody>
          <a:bodyPr/>
          <a:lstStyle/>
          <a:p>
            <a:fld id="{273DC81D-38FA-4EFB-A816-49076D4E1450}" type="slidenum">
              <a:rPr lang="de-DE" smtClean="0"/>
              <a:t>23</a:t>
            </a:fld>
            <a:endParaRPr lang="de-DE"/>
          </a:p>
        </p:txBody>
      </p:sp>
    </p:spTree>
    <p:extLst>
      <p:ext uri="{BB962C8B-B14F-4D97-AF65-F5344CB8AC3E}">
        <p14:creationId xmlns:p14="http://schemas.microsoft.com/office/powerpoint/2010/main" val="148095861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r>
              <a:rPr lang="en-US" sz="1200" b="0" i="0" kern="1200" dirty="0" smtClean="0">
                <a:solidFill>
                  <a:schemeClr val="tx1"/>
                </a:solidFill>
                <a:effectLst/>
                <a:latin typeface="+mn-lt"/>
                <a:ea typeface="+mn-ea"/>
                <a:cs typeface="+mn-cs"/>
              </a:rPr>
              <a:t>Transformative agreements are those contracts negotiated between institutions (libraries, national and regional consortia) and publishers that </a:t>
            </a:r>
            <a:r>
              <a:rPr lang="en-US" sz="1200" b="1" i="0" kern="1200" dirty="0" smtClean="0">
                <a:solidFill>
                  <a:schemeClr val="tx1"/>
                </a:solidFill>
                <a:effectLst/>
                <a:latin typeface="+mn-lt"/>
                <a:ea typeface="+mn-ea"/>
                <a:cs typeface="+mn-cs"/>
              </a:rPr>
              <a:t>transform the business model underlying scholarly journals from subscription to open access</a:t>
            </a:r>
            <a:r>
              <a:rPr lang="en-US" sz="1200" b="0" i="0" kern="1200" dirty="0" smtClean="0">
                <a:solidFill>
                  <a:schemeClr val="tx1"/>
                </a:solidFill>
                <a:effectLst/>
                <a:latin typeface="+mn-lt"/>
                <a:ea typeface="+mn-ea"/>
                <a:cs typeface="+mn-cs"/>
              </a:rPr>
              <a:t>. As the vast majority of scholarly publishing and expenditure of any given institution tends to be concentrated in journals produced by a relatively small number of publishers, implementing transformative agreements with these publishers constitutes a high-impact strategy: many institutions and consortia find that by negotiating such agreements with fewer than 10 publishers, they can achieve immediate open access for the vast majority of their outputs.</a:t>
            </a:r>
          </a:p>
          <a:p>
            <a:pPr fontAlgn="base"/>
            <a:r>
              <a:rPr lang="en-US" sz="1200" b="0" i="0" kern="1200" dirty="0" smtClean="0">
                <a:solidFill>
                  <a:schemeClr val="tx1"/>
                </a:solidFill>
                <a:effectLst/>
                <a:latin typeface="+mn-lt"/>
                <a:ea typeface="+mn-ea"/>
                <a:cs typeface="+mn-cs"/>
              </a:rPr>
              <a:t>They have </a:t>
            </a:r>
            <a:r>
              <a:rPr lang="en-US" sz="1200" b="1" i="0" kern="1200" dirty="0" smtClean="0">
                <a:solidFill>
                  <a:schemeClr val="tx1"/>
                </a:solidFill>
                <a:effectLst/>
                <a:latin typeface="+mn-lt"/>
                <a:ea typeface="+mn-ea"/>
                <a:cs typeface="+mn-cs"/>
              </a:rPr>
              <a:t>a variety of configurations</a:t>
            </a:r>
            <a:r>
              <a:rPr lang="en-US" sz="1200" b="0" i="0" kern="1200" dirty="0" smtClean="0">
                <a:solidFill>
                  <a:schemeClr val="tx1"/>
                </a:solidFill>
                <a:effectLst/>
                <a:latin typeface="+mn-lt"/>
                <a:ea typeface="+mn-ea"/>
                <a:cs typeface="+mn-cs"/>
              </a:rPr>
              <a:t> that reflect the diverse and fluid landscape of scholarly communication, starting with “offsetting” through to the recent “Publish &amp; Read, or PAR” model, and more.</a:t>
            </a:r>
          </a:p>
          <a:p>
            <a:pPr fontAlgn="base"/>
            <a:r>
              <a:rPr lang="en-US" sz="1200" b="0" i="0" kern="1200" dirty="0" smtClean="0">
                <a:solidFill>
                  <a:schemeClr val="tx1"/>
                </a:solidFill>
                <a:effectLst/>
                <a:latin typeface="+mn-lt"/>
                <a:ea typeface="+mn-ea"/>
                <a:cs typeface="+mn-cs"/>
              </a:rPr>
              <a:t>Agreements continue to evolve as they are increasingly adopted around the world and the body of evidence on their impact grows.</a:t>
            </a:r>
          </a:p>
          <a:p>
            <a:pPr fontAlgn="base"/>
            <a:r>
              <a:rPr lang="en-US" sz="1200" b="0" i="0" kern="1200" dirty="0" smtClean="0">
                <a:solidFill>
                  <a:schemeClr val="tx1"/>
                </a:solidFill>
                <a:effectLst/>
                <a:latin typeface="+mn-lt"/>
                <a:ea typeface="+mn-ea"/>
                <a:cs typeface="+mn-cs"/>
              </a:rPr>
              <a:t>Put into practice, </a:t>
            </a:r>
            <a:r>
              <a:rPr lang="en-US" sz="1200" b="1" i="0" kern="1200" dirty="0" smtClean="0">
                <a:solidFill>
                  <a:schemeClr val="tx1"/>
                </a:solidFill>
                <a:effectLst/>
                <a:latin typeface="+mn-lt"/>
                <a:ea typeface="+mn-ea"/>
                <a:cs typeface="+mn-cs"/>
              </a:rPr>
              <a:t>instead of paying fees for access to journals behind subscription paywalls, funds are repurposed to remunerate publishers for their editorial services associated with the open access publication of accepted articles</a:t>
            </a:r>
            <a:r>
              <a:rPr lang="en-US" sz="1200" b="0" i="0" kern="1200" dirty="0" smtClean="0">
                <a:solidFill>
                  <a:schemeClr val="tx1"/>
                </a:solidFill>
                <a:effectLst/>
                <a:latin typeface="+mn-lt"/>
                <a:ea typeface="+mn-ea"/>
                <a:cs typeface="+mn-cs"/>
              </a:rPr>
              <a:t>.</a:t>
            </a:r>
          </a:p>
          <a:p>
            <a:pPr fontAlgn="base"/>
            <a:r>
              <a:rPr lang="en-US" sz="1200" b="0" i="0" kern="1200" dirty="0" smtClean="0">
                <a:solidFill>
                  <a:schemeClr val="tx1"/>
                </a:solidFill>
                <a:effectLst/>
                <a:latin typeface="+mn-lt"/>
                <a:ea typeface="+mn-ea"/>
                <a:cs typeface="+mn-cs"/>
              </a:rPr>
              <a:t>In most models, fees are articulated at the article level or in proportion to the number of articles published, disbanding the lump-sums fees of subscriptions that are largely based on legacy print expenditures. </a:t>
            </a:r>
            <a:r>
              <a:rPr lang="en-US" sz="1200" b="1" i="0" kern="1200" dirty="0" smtClean="0">
                <a:solidFill>
                  <a:schemeClr val="tx1"/>
                </a:solidFill>
                <a:effectLst/>
                <a:latin typeface="+mn-lt"/>
                <a:ea typeface="+mn-ea"/>
                <a:cs typeface="+mn-cs"/>
              </a:rPr>
              <a:t>The fundamental principles of transformative agreements include that they are temporary and transitional</a:t>
            </a:r>
            <a:r>
              <a:rPr lang="en-US" sz="1200" b="0" i="0" kern="1200" dirty="0" smtClean="0">
                <a:solidFill>
                  <a:schemeClr val="tx1"/>
                </a:solidFill>
                <a:effectLst/>
                <a:latin typeface="+mn-lt"/>
                <a:ea typeface="+mn-ea"/>
                <a:cs typeface="+mn-cs"/>
              </a:rPr>
              <a:t> meaning that they are no end in itself but rather provide a framework in which a swift and irreversible shift away from the subscription model can be organized, affecting the financial and operational changes required for a fully open access publishing paradigm.</a:t>
            </a:r>
          </a:p>
          <a:p>
            <a:pPr fontAlgn="base"/>
            <a:r>
              <a:rPr lang="en-US" sz="1200" b="0" i="0" kern="1200" dirty="0" smtClean="0">
                <a:solidFill>
                  <a:schemeClr val="tx1"/>
                </a:solidFill>
                <a:effectLst/>
                <a:latin typeface="+mn-lt"/>
                <a:ea typeface="+mn-ea"/>
                <a:cs typeface="+mn-cs"/>
              </a:rPr>
              <a:t>Requirements and guiding principles for the negotiations of transformative agreements </a:t>
            </a:r>
            <a:r>
              <a:rPr lang="en-US" sz="1200" b="0" i="0" u="none" strike="noStrike" kern="1200" dirty="0" smtClean="0">
                <a:solidFill>
                  <a:schemeClr val="tx1"/>
                </a:solidFill>
                <a:effectLst/>
                <a:latin typeface="+mn-lt"/>
                <a:ea typeface="+mn-ea"/>
                <a:cs typeface="+mn-cs"/>
                <a:hlinkClick r:id="rId3"/>
              </a:rPr>
              <a:t>have been published</a:t>
            </a:r>
            <a:r>
              <a:rPr lang="en-US" sz="1200" b="0" i="0" kern="1200" dirty="0" smtClean="0">
                <a:solidFill>
                  <a:schemeClr val="tx1"/>
                </a:solidFill>
                <a:effectLst/>
                <a:latin typeface="+mn-lt"/>
                <a:ea typeface="+mn-ea"/>
                <a:cs typeface="+mn-cs"/>
              </a:rPr>
              <a:t> by libraries and library consortia around the world which demonstrates the ongoing effort of the </a:t>
            </a:r>
            <a:r>
              <a:rPr lang="en-US" sz="1200" b="0" i="0" kern="1200" dirty="0" err="1" smtClean="0">
                <a:solidFill>
                  <a:schemeClr val="tx1"/>
                </a:solidFill>
                <a:effectLst/>
                <a:latin typeface="+mn-lt"/>
                <a:ea typeface="+mn-ea"/>
                <a:cs typeface="+mn-cs"/>
              </a:rPr>
              <a:t>comunity</a:t>
            </a:r>
            <a:r>
              <a:rPr lang="en-US" sz="1200" b="0" i="0" kern="1200" dirty="0" smtClean="0">
                <a:solidFill>
                  <a:schemeClr val="tx1"/>
                </a:solidFill>
                <a:effectLst/>
                <a:latin typeface="+mn-lt"/>
                <a:ea typeface="+mn-ea"/>
                <a:cs typeface="+mn-cs"/>
              </a:rPr>
              <a:t> to shape the new </a:t>
            </a:r>
            <a:r>
              <a:rPr lang="en-US" sz="1200" b="0" i="0" kern="1200" dirty="0" err="1" smtClean="0">
                <a:solidFill>
                  <a:schemeClr val="tx1"/>
                </a:solidFill>
                <a:effectLst/>
                <a:latin typeface="+mn-lt"/>
                <a:ea typeface="+mn-ea"/>
                <a:cs typeface="+mn-cs"/>
              </a:rPr>
              <a:t>busisness</a:t>
            </a:r>
            <a:r>
              <a:rPr lang="en-US" sz="1200" b="0" i="0" kern="1200" dirty="0" smtClean="0">
                <a:solidFill>
                  <a:schemeClr val="tx1"/>
                </a:solidFill>
                <a:effectLst/>
                <a:latin typeface="+mn-lt"/>
                <a:ea typeface="+mn-ea"/>
                <a:cs typeface="+mn-cs"/>
              </a:rPr>
              <a:t> model and to improve transparency and efficiency. With our ESAC registry, we want to contribute to that process.</a:t>
            </a:r>
          </a:p>
          <a:p>
            <a:pPr>
              <a:spcAft>
                <a:spcPts val="0"/>
              </a:spcAft>
            </a:pPr>
            <a:endParaRPr lang="en-GB" dirty="0" smtClean="0"/>
          </a:p>
        </p:txBody>
      </p:sp>
      <p:sp>
        <p:nvSpPr>
          <p:cNvPr id="4" name="Slide Number Placeholder 3"/>
          <p:cNvSpPr>
            <a:spLocks noGrp="1"/>
          </p:cNvSpPr>
          <p:nvPr>
            <p:ph type="sldNum" sz="quarter" idx="10"/>
          </p:nvPr>
        </p:nvSpPr>
        <p:spPr/>
        <p:txBody>
          <a:bodyPr/>
          <a:lstStyle/>
          <a:p>
            <a:fld id="{273DC81D-38FA-4EFB-A816-49076D4E1450}" type="slidenum">
              <a:rPr lang="de-DE" smtClean="0"/>
              <a:t>24</a:t>
            </a:fld>
            <a:endParaRPr lang="de-DE"/>
          </a:p>
        </p:txBody>
      </p:sp>
    </p:spTree>
    <p:extLst>
      <p:ext uri="{BB962C8B-B14F-4D97-AF65-F5344CB8AC3E}">
        <p14:creationId xmlns:p14="http://schemas.microsoft.com/office/powerpoint/2010/main" val="192176484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r>
              <a:rPr lang="en-US" sz="1200" b="0" i="0" kern="1200" dirty="0" smtClean="0">
                <a:solidFill>
                  <a:schemeClr val="tx1"/>
                </a:solidFill>
                <a:effectLst/>
                <a:latin typeface="+mn-lt"/>
                <a:ea typeface="+mn-ea"/>
                <a:cs typeface="+mn-cs"/>
              </a:rPr>
              <a:t>Transformative agreements are those contracts negotiated between institutions (libraries, national and regional consortia) and publishers that </a:t>
            </a:r>
            <a:r>
              <a:rPr lang="en-US" sz="1200" b="1" i="0" kern="1200" dirty="0" smtClean="0">
                <a:solidFill>
                  <a:schemeClr val="tx1"/>
                </a:solidFill>
                <a:effectLst/>
                <a:latin typeface="+mn-lt"/>
                <a:ea typeface="+mn-ea"/>
                <a:cs typeface="+mn-cs"/>
              </a:rPr>
              <a:t>transform the business model underlying scholarly journals from subscription to open access</a:t>
            </a:r>
            <a:r>
              <a:rPr lang="en-US" sz="1200" b="0" i="0" kern="1200" dirty="0" smtClean="0">
                <a:solidFill>
                  <a:schemeClr val="tx1"/>
                </a:solidFill>
                <a:effectLst/>
                <a:latin typeface="+mn-lt"/>
                <a:ea typeface="+mn-ea"/>
                <a:cs typeface="+mn-cs"/>
              </a:rPr>
              <a:t>. As the vast majority of scholarly publishing and expenditure of any given institution tends to be concentrated in journals produced by a relatively small number of publishers, implementing transformative agreements with these publishers constitutes a high-impact strategy: many institutions and consortia find that by negotiating such agreements with fewer than 10 publishers, they can achieve immediate open access for the vast majority of their outputs.</a:t>
            </a:r>
          </a:p>
          <a:p>
            <a:pPr fontAlgn="base"/>
            <a:r>
              <a:rPr lang="en-US" sz="1200" b="0" i="0" kern="1200" dirty="0" smtClean="0">
                <a:solidFill>
                  <a:schemeClr val="tx1"/>
                </a:solidFill>
                <a:effectLst/>
                <a:latin typeface="+mn-lt"/>
                <a:ea typeface="+mn-ea"/>
                <a:cs typeface="+mn-cs"/>
              </a:rPr>
              <a:t>They have </a:t>
            </a:r>
            <a:r>
              <a:rPr lang="en-US" sz="1200" b="1" i="0" kern="1200" dirty="0" smtClean="0">
                <a:solidFill>
                  <a:schemeClr val="tx1"/>
                </a:solidFill>
                <a:effectLst/>
                <a:latin typeface="+mn-lt"/>
                <a:ea typeface="+mn-ea"/>
                <a:cs typeface="+mn-cs"/>
              </a:rPr>
              <a:t>a variety of configurations</a:t>
            </a:r>
            <a:r>
              <a:rPr lang="en-US" sz="1200" b="0" i="0" kern="1200" dirty="0" smtClean="0">
                <a:solidFill>
                  <a:schemeClr val="tx1"/>
                </a:solidFill>
                <a:effectLst/>
                <a:latin typeface="+mn-lt"/>
                <a:ea typeface="+mn-ea"/>
                <a:cs typeface="+mn-cs"/>
              </a:rPr>
              <a:t> that reflect the diverse and fluid landscape of scholarly communication, starting with “offsetting” through to the recent “Publish &amp; Read, or PAR” model, and more.</a:t>
            </a:r>
          </a:p>
          <a:p>
            <a:pPr fontAlgn="base"/>
            <a:r>
              <a:rPr lang="en-US" sz="1200" b="0" i="0" kern="1200" dirty="0" smtClean="0">
                <a:solidFill>
                  <a:schemeClr val="tx1"/>
                </a:solidFill>
                <a:effectLst/>
                <a:latin typeface="+mn-lt"/>
                <a:ea typeface="+mn-ea"/>
                <a:cs typeface="+mn-cs"/>
              </a:rPr>
              <a:t>Agreements continue to evolve as they are increasingly adopted around the world and the body of evidence on their impact grows.</a:t>
            </a:r>
          </a:p>
          <a:p>
            <a:pPr fontAlgn="base"/>
            <a:r>
              <a:rPr lang="en-US" sz="1200" b="0" i="0" kern="1200" dirty="0" smtClean="0">
                <a:solidFill>
                  <a:schemeClr val="tx1"/>
                </a:solidFill>
                <a:effectLst/>
                <a:latin typeface="+mn-lt"/>
                <a:ea typeface="+mn-ea"/>
                <a:cs typeface="+mn-cs"/>
              </a:rPr>
              <a:t>Put into practice, </a:t>
            </a:r>
            <a:r>
              <a:rPr lang="en-US" sz="1200" b="1" i="0" kern="1200" dirty="0" smtClean="0">
                <a:solidFill>
                  <a:schemeClr val="tx1"/>
                </a:solidFill>
                <a:effectLst/>
                <a:latin typeface="+mn-lt"/>
                <a:ea typeface="+mn-ea"/>
                <a:cs typeface="+mn-cs"/>
              </a:rPr>
              <a:t>instead of paying fees for access to journals behind subscription paywalls, funds are repurposed to remunerate publishers for their editorial services associated with the open access publication of accepted articles</a:t>
            </a:r>
            <a:r>
              <a:rPr lang="en-US" sz="1200" b="0" i="0" kern="1200" dirty="0" smtClean="0">
                <a:solidFill>
                  <a:schemeClr val="tx1"/>
                </a:solidFill>
                <a:effectLst/>
                <a:latin typeface="+mn-lt"/>
                <a:ea typeface="+mn-ea"/>
                <a:cs typeface="+mn-cs"/>
              </a:rPr>
              <a:t>.</a:t>
            </a:r>
          </a:p>
          <a:p>
            <a:pPr fontAlgn="base"/>
            <a:r>
              <a:rPr lang="en-US" sz="1200" b="0" i="0" kern="1200" dirty="0" smtClean="0">
                <a:solidFill>
                  <a:schemeClr val="tx1"/>
                </a:solidFill>
                <a:effectLst/>
                <a:latin typeface="+mn-lt"/>
                <a:ea typeface="+mn-ea"/>
                <a:cs typeface="+mn-cs"/>
              </a:rPr>
              <a:t>In most models, fees are articulated at the article level or in proportion to the number of articles published, disbanding the lump-sums fees of subscriptions that are largely based on legacy print expenditures. </a:t>
            </a:r>
            <a:r>
              <a:rPr lang="en-US" sz="1200" b="1" i="0" kern="1200" dirty="0" smtClean="0">
                <a:solidFill>
                  <a:schemeClr val="tx1"/>
                </a:solidFill>
                <a:effectLst/>
                <a:latin typeface="+mn-lt"/>
                <a:ea typeface="+mn-ea"/>
                <a:cs typeface="+mn-cs"/>
              </a:rPr>
              <a:t>The fundamental principles of transformative agreements include that they are temporary and transitional</a:t>
            </a:r>
            <a:r>
              <a:rPr lang="en-US" sz="1200" b="0" i="0" kern="1200" dirty="0" smtClean="0">
                <a:solidFill>
                  <a:schemeClr val="tx1"/>
                </a:solidFill>
                <a:effectLst/>
                <a:latin typeface="+mn-lt"/>
                <a:ea typeface="+mn-ea"/>
                <a:cs typeface="+mn-cs"/>
              </a:rPr>
              <a:t> meaning that they are no end in itself but rather provide a framework in which a swift and irreversible shift away from the subscription model can be organized, affecting the financial and operational changes required for a fully open access publishing paradigm.</a:t>
            </a:r>
          </a:p>
          <a:p>
            <a:pPr fontAlgn="base"/>
            <a:r>
              <a:rPr lang="en-US" sz="1200" b="0" i="0" kern="1200" dirty="0" smtClean="0">
                <a:solidFill>
                  <a:schemeClr val="tx1"/>
                </a:solidFill>
                <a:effectLst/>
                <a:latin typeface="+mn-lt"/>
                <a:ea typeface="+mn-ea"/>
                <a:cs typeface="+mn-cs"/>
              </a:rPr>
              <a:t>Requirements and guiding principles for the negotiations of transformative agreements </a:t>
            </a:r>
            <a:r>
              <a:rPr lang="en-US" sz="1200" b="0" i="0" u="none" strike="noStrike" kern="1200" dirty="0" smtClean="0">
                <a:solidFill>
                  <a:schemeClr val="tx1"/>
                </a:solidFill>
                <a:effectLst/>
                <a:latin typeface="+mn-lt"/>
                <a:ea typeface="+mn-ea"/>
                <a:cs typeface="+mn-cs"/>
                <a:hlinkClick r:id="rId3"/>
              </a:rPr>
              <a:t>have been published</a:t>
            </a:r>
            <a:r>
              <a:rPr lang="en-US" sz="1200" b="0" i="0" kern="1200" dirty="0" smtClean="0">
                <a:solidFill>
                  <a:schemeClr val="tx1"/>
                </a:solidFill>
                <a:effectLst/>
                <a:latin typeface="+mn-lt"/>
                <a:ea typeface="+mn-ea"/>
                <a:cs typeface="+mn-cs"/>
              </a:rPr>
              <a:t> by libraries and library consortia around the world which demonstrates the ongoing effort of the </a:t>
            </a:r>
            <a:r>
              <a:rPr lang="en-US" sz="1200" b="0" i="0" kern="1200" dirty="0" err="1" smtClean="0">
                <a:solidFill>
                  <a:schemeClr val="tx1"/>
                </a:solidFill>
                <a:effectLst/>
                <a:latin typeface="+mn-lt"/>
                <a:ea typeface="+mn-ea"/>
                <a:cs typeface="+mn-cs"/>
              </a:rPr>
              <a:t>comunity</a:t>
            </a:r>
            <a:r>
              <a:rPr lang="en-US" sz="1200" b="0" i="0" kern="1200" dirty="0" smtClean="0">
                <a:solidFill>
                  <a:schemeClr val="tx1"/>
                </a:solidFill>
                <a:effectLst/>
                <a:latin typeface="+mn-lt"/>
                <a:ea typeface="+mn-ea"/>
                <a:cs typeface="+mn-cs"/>
              </a:rPr>
              <a:t> to shape the new </a:t>
            </a:r>
            <a:r>
              <a:rPr lang="en-US" sz="1200" b="0" i="0" kern="1200" dirty="0" err="1" smtClean="0">
                <a:solidFill>
                  <a:schemeClr val="tx1"/>
                </a:solidFill>
                <a:effectLst/>
                <a:latin typeface="+mn-lt"/>
                <a:ea typeface="+mn-ea"/>
                <a:cs typeface="+mn-cs"/>
              </a:rPr>
              <a:t>busisness</a:t>
            </a:r>
            <a:r>
              <a:rPr lang="en-US" sz="1200" b="0" i="0" kern="1200" dirty="0" smtClean="0">
                <a:solidFill>
                  <a:schemeClr val="tx1"/>
                </a:solidFill>
                <a:effectLst/>
                <a:latin typeface="+mn-lt"/>
                <a:ea typeface="+mn-ea"/>
                <a:cs typeface="+mn-cs"/>
              </a:rPr>
              <a:t> model and to improve transparency and efficiency. With our ESAC registry, we want to contribute to that process.</a:t>
            </a:r>
          </a:p>
          <a:p>
            <a:pPr>
              <a:spcAft>
                <a:spcPts val="0"/>
              </a:spcAft>
            </a:pPr>
            <a:endParaRPr lang="en-GB" dirty="0" smtClean="0"/>
          </a:p>
        </p:txBody>
      </p:sp>
      <p:sp>
        <p:nvSpPr>
          <p:cNvPr id="4" name="Slide Number Placeholder 3"/>
          <p:cNvSpPr>
            <a:spLocks noGrp="1"/>
          </p:cNvSpPr>
          <p:nvPr>
            <p:ph type="sldNum" sz="quarter" idx="10"/>
          </p:nvPr>
        </p:nvSpPr>
        <p:spPr/>
        <p:txBody>
          <a:bodyPr/>
          <a:lstStyle/>
          <a:p>
            <a:fld id="{273DC81D-38FA-4EFB-A816-49076D4E1450}" type="slidenum">
              <a:rPr lang="de-DE" smtClean="0"/>
              <a:t>25</a:t>
            </a:fld>
            <a:endParaRPr lang="de-DE"/>
          </a:p>
        </p:txBody>
      </p:sp>
    </p:spTree>
    <p:extLst>
      <p:ext uri="{BB962C8B-B14F-4D97-AF65-F5344CB8AC3E}">
        <p14:creationId xmlns:p14="http://schemas.microsoft.com/office/powerpoint/2010/main" val="162947735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aseline="0" dirty="0" smtClean="0"/>
              <a:t>What UC faculty are saying:</a:t>
            </a:r>
          </a:p>
          <a:p>
            <a:r>
              <a:rPr lang="en-US" sz="1200" b="1" i="0" kern="1200" dirty="0" smtClean="0">
                <a:solidFill>
                  <a:schemeClr val="tx1"/>
                </a:solidFill>
                <a:effectLst/>
                <a:latin typeface="+mn-lt"/>
                <a:ea typeface="+mn-ea"/>
                <a:cs typeface="+mn-cs"/>
              </a:rPr>
              <a:t>“We all agree that open access is a good thing. It increases the visibility of our research, and it’s something the taxpayers deserve.”</a:t>
            </a:r>
            <a:r>
              <a:rPr lang="en-US" sz="1200" b="0" i="0" kern="1200" dirty="0" smtClean="0">
                <a:solidFill>
                  <a:schemeClr val="tx1"/>
                </a:solidFill>
                <a:effectLst/>
                <a:latin typeface="+mn-lt"/>
                <a:ea typeface="+mn-ea"/>
                <a:cs typeface="+mn-cs"/>
              </a:rPr>
              <a:t/>
            </a:r>
            <a:br>
              <a:rPr lang="en-US" sz="1200" b="0" i="0" kern="1200" dirty="0" smtClean="0">
                <a:solidFill>
                  <a:schemeClr val="tx1"/>
                </a:solidFill>
                <a:effectLst/>
                <a:latin typeface="+mn-lt"/>
                <a:ea typeface="+mn-ea"/>
                <a:cs typeface="+mn-cs"/>
              </a:rPr>
            </a:br>
            <a:r>
              <a:rPr lang="en-US" sz="1200" b="0" i="0" kern="1200" dirty="0" smtClean="0">
                <a:solidFill>
                  <a:schemeClr val="tx1"/>
                </a:solidFill>
                <a:effectLst/>
                <a:latin typeface="+mn-lt"/>
                <a:ea typeface="+mn-ea"/>
                <a:cs typeface="+mn-cs"/>
              </a:rPr>
              <a:t>— Karen Bales, psychology professor at UC Davis and chair of the campus Academic Senate research committee, as quoted in the </a:t>
            </a:r>
            <a:r>
              <a:rPr lang="en-US" sz="1200" b="0" i="0" u="sng" kern="1200" dirty="0" smtClean="0">
                <a:solidFill>
                  <a:schemeClr val="tx1"/>
                </a:solidFill>
                <a:effectLst/>
                <a:latin typeface="+mn-lt"/>
                <a:ea typeface="+mn-ea"/>
                <a:cs typeface="+mn-cs"/>
                <a:hlinkClick r:id="rId3"/>
              </a:rPr>
              <a:t>Los Angeles Times</a:t>
            </a:r>
            <a:endParaRPr lang="en-US" sz="1200" b="0" i="0" kern="1200" dirty="0" smtClean="0">
              <a:solidFill>
                <a:schemeClr val="tx1"/>
              </a:solidFill>
              <a:effectLst/>
              <a:latin typeface="+mn-lt"/>
              <a:ea typeface="+mn-ea"/>
              <a:cs typeface="+mn-cs"/>
            </a:endParaRPr>
          </a:p>
          <a:p>
            <a:r>
              <a:rPr lang="en-US" sz="1200" b="1" i="0" kern="1200" dirty="0" smtClean="0">
                <a:solidFill>
                  <a:schemeClr val="tx1"/>
                </a:solidFill>
                <a:effectLst/>
                <a:latin typeface="+mn-lt"/>
                <a:ea typeface="+mn-ea"/>
                <a:cs typeface="+mn-cs"/>
              </a:rPr>
              <a:t>“We are interested in using text-mining to learn from the scientific literature. OA articles can be more readily obtained, analyzed, and curated. Those which are part of traditional subscriptions cannot be readily studied in this way.”</a:t>
            </a:r>
            <a:r>
              <a:rPr lang="en-US" sz="1200" b="0" i="0" kern="1200" dirty="0" smtClean="0">
                <a:solidFill>
                  <a:schemeClr val="tx1"/>
                </a:solidFill>
                <a:effectLst/>
                <a:latin typeface="+mn-lt"/>
                <a:ea typeface="+mn-ea"/>
                <a:cs typeface="+mn-cs"/>
              </a:rPr>
              <a:t/>
            </a:r>
            <a:br>
              <a:rPr lang="en-US" sz="1200" b="0" i="0" kern="1200" dirty="0" smtClean="0">
                <a:solidFill>
                  <a:schemeClr val="tx1"/>
                </a:solidFill>
                <a:effectLst/>
                <a:latin typeface="+mn-lt"/>
                <a:ea typeface="+mn-ea"/>
                <a:cs typeface="+mn-cs"/>
              </a:rPr>
            </a:br>
            <a:r>
              <a:rPr lang="en-US" sz="1200" b="0" i="0" kern="1200" dirty="0" smtClean="0">
                <a:solidFill>
                  <a:schemeClr val="tx1"/>
                </a:solidFill>
                <a:effectLst/>
                <a:latin typeface="+mn-lt"/>
                <a:ea typeface="+mn-ea"/>
                <a:cs typeface="+mn-cs"/>
              </a:rPr>
              <a:t>— Steven Brenner, a professor of plant &amp; microbial biology at UC Berkeley, as quoted in </a:t>
            </a:r>
            <a:r>
              <a:rPr lang="en-US" sz="1200" b="0" i="0" u="sng" kern="1200" dirty="0" smtClean="0">
                <a:solidFill>
                  <a:schemeClr val="tx1"/>
                </a:solidFill>
                <a:effectLst/>
                <a:latin typeface="+mn-lt"/>
                <a:ea typeface="+mn-ea"/>
                <a:cs typeface="+mn-cs"/>
                <a:hlinkClick r:id="rId4"/>
              </a:rPr>
              <a:t>The Daily Californian</a:t>
            </a:r>
            <a:endParaRPr lang="en-US" sz="1200" b="0" i="0" kern="1200" dirty="0" smtClean="0">
              <a:solidFill>
                <a:schemeClr val="tx1"/>
              </a:solidFill>
              <a:effectLst/>
              <a:latin typeface="+mn-lt"/>
              <a:ea typeface="+mn-ea"/>
              <a:cs typeface="+mn-cs"/>
            </a:endParaRPr>
          </a:p>
          <a:p>
            <a:r>
              <a:rPr lang="en-US" sz="1200" b="1" i="0" kern="1200" dirty="0" smtClean="0">
                <a:solidFill>
                  <a:schemeClr val="tx1"/>
                </a:solidFill>
                <a:effectLst/>
                <a:latin typeface="+mn-lt"/>
                <a:ea typeface="+mn-ea"/>
                <a:cs typeface="+mn-cs"/>
              </a:rPr>
              <a:t>“Every time a sensible person gets a simple explanation of the current system, the reaction is disbelief — that smart people have been doing this stupid thing for so long, and it’s been so, so expensive.”</a:t>
            </a:r>
            <a:r>
              <a:rPr lang="en-US" sz="1200" b="0" i="0" kern="1200" dirty="0" smtClean="0">
                <a:solidFill>
                  <a:schemeClr val="tx1"/>
                </a:solidFill>
                <a:effectLst/>
                <a:latin typeface="+mn-lt"/>
                <a:ea typeface="+mn-ea"/>
                <a:cs typeface="+mn-cs"/>
              </a:rPr>
              <a:t> </a:t>
            </a:r>
            <a:br>
              <a:rPr lang="en-US" sz="1200" b="0" i="0" kern="1200" dirty="0" smtClean="0">
                <a:solidFill>
                  <a:schemeClr val="tx1"/>
                </a:solidFill>
                <a:effectLst/>
                <a:latin typeface="+mn-lt"/>
                <a:ea typeface="+mn-ea"/>
                <a:cs typeface="+mn-cs"/>
              </a:rPr>
            </a:br>
            <a:r>
              <a:rPr lang="en-US" sz="1200" b="0" i="0" kern="1200" dirty="0" smtClean="0">
                <a:solidFill>
                  <a:schemeClr val="tx1"/>
                </a:solidFill>
                <a:effectLst/>
                <a:latin typeface="+mn-lt"/>
                <a:ea typeface="+mn-ea"/>
                <a:cs typeface="+mn-cs"/>
              </a:rPr>
              <a:t>— Don Moore, professor at the Haas School of Business at UC Berkeley, as quoted by the </a:t>
            </a:r>
            <a:r>
              <a:rPr lang="en-US" sz="1200" b="0" i="0" u="sng" kern="1200" dirty="0" smtClean="0">
                <a:solidFill>
                  <a:schemeClr val="tx1"/>
                </a:solidFill>
                <a:effectLst/>
                <a:latin typeface="+mn-lt"/>
                <a:ea typeface="+mn-ea"/>
                <a:cs typeface="+mn-cs"/>
                <a:hlinkClick r:id="rId5"/>
              </a:rPr>
              <a:t>UC Berkeley Library</a:t>
            </a:r>
            <a:endParaRPr lang="en-US" sz="1200" b="0" i="0" kern="1200" dirty="0" smtClean="0">
              <a:solidFill>
                <a:schemeClr val="tx1"/>
              </a:solidFill>
              <a:effectLst/>
              <a:latin typeface="+mn-lt"/>
              <a:ea typeface="+mn-ea"/>
              <a:cs typeface="+mn-cs"/>
            </a:endParaRPr>
          </a:p>
          <a:p>
            <a:r>
              <a:rPr lang="en-US" sz="1200" b="1" i="0" kern="1200" dirty="0" smtClean="0">
                <a:solidFill>
                  <a:schemeClr val="tx1"/>
                </a:solidFill>
                <a:effectLst/>
                <a:latin typeface="+mn-lt"/>
                <a:ea typeface="+mn-ea"/>
                <a:cs typeface="+mn-cs"/>
              </a:rPr>
              <a:t>“At first they weren’t exploitatively priced. But the publishers noticed the demand was inelastic and they could get away with selling these things for much higher prices.” </a:t>
            </a:r>
            <a:r>
              <a:rPr lang="en-US" sz="1200" b="0" i="0" kern="1200" dirty="0" smtClean="0">
                <a:solidFill>
                  <a:schemeClr val="tx1"/>
                </a:solidFill>
                <a:effectLst/>
                <a:latin typeface="+mn-lt"/>
                <a:ea typeface="+mn-ea"/>
                <a:cs typeface="+mn-cs"/>
              </a:rPr>
              <a:t/>
            </a:r>
            <a:br>
              <a:rPr lang="en-US" sz="1200" b="0" i="0" kern="1200" dirty="0" smtClean="0">
                <a:solidFill>
                  <a:schemeClr val="tx1"/>
                </a:solidFill>
                <a:effectLst/>
                <a:latin typeface="+mn-lt"/>
                <a:ea typeface="+mn-ea"/>
                <a:cs typeface="+mn-cs"/>
              </a:rPr>
            </a:br>
            <a:r>
              <a:rPr lang="en-US" sz="1200" b="0" i="0" kern="1200" dirty="0" smtClean="0">
                <a:solidFill>
                  <a:schemeClr val="tx1"/>
                </a:solidFill>
                <a:effectLst/>
                <a:latin typeface="+mn-lt"/>
                <a:ea typeface="+mn-ea"/>
                <a:cs typeface="+mn-cs"/>
              </a:rPr>
              <a:t>— Ted Bergstrom, a professor of economics at UC Santa Barbara, as quoted in the </a:t>
            </a:r>
            <a:r>
              <a:rPr lang="en-US" sz="1200" b="0" i="0" u="sng" kern="1200" dirty="0" smtClean="0">
                <a:solidFill>
                  <a:schemeClr val="tx1"/>
                </a:solidFill>
                <a:effectLst/>
                <a:latin typeface="+mn-lt"/>
                <a:ea typeface="+mn-ea"/>
                <a:cs typeface="+mn-cs"/>
                <a:hlinkClick r:id="rId3"/>
              </a:rPr>
              <a:t>Los Angeles Times</a:t>
            </a:r>
            <a:endParaRPr lang="en-US" sz="1200" b="0" i="0" kern="1200" dirty="0" smtClean="0">
              <a:solidFill>
                <a:schemeClr val="tx1"/>
              </a:solidFill>
              <a:effectLst/>
              <a:latin typeface="+mn-lt"/>
              <a:ea typeface="+mn-ea"/>
              <a:cs typeface="+mn-cs"/>
            </a:endParaRPr>
          </a:p>
          <a:p>
            <a:r>
              <a:rPr lang="en-US" sz="1200" b="1" i="0" kern="1200" dirty="0" smtClean="0">
                <a:solidFill>
                  <a:schemeClr val="tx1"/>
                </a:solidFill>
                <a:effectLst/>
                <a:latin typeface="+mn-lt"/>
                <a:ea typeface="+mn-ea"/>
                <a:cs typeface="+mn-cs"/>
              </a:rPr>
              <a:t>“Obviously we would prefer no disruption, but we have a network of colleagues and systems in place from which we can request articles. It’ll be an inconvenience, sure. But I think we understand the importance of what they’re trying to achieve.”</a:t>
            </a:r>
            <a:r>
              <a:rPr lang="en-US" sz="1200" b="0" i="0" kern="1200" dirty="0" smtClean="0">
                <a:solidFill>
                  <a:schemeClr val="tx1"/>
                </a:solidFill>
                <a:effectLst/>
                <a:latin typeface="+mn-lt"/>
                <a:ea typeface="+mn-ea"/>
                <a:cs typeface="+mn-cs"/>
              </a:rPr>
              <a:t/>
            </a:r>
            <a:br>
              <a:rPr lang="en-US" sz="1200" b="0" i="0" kern="1200" dirty="0" smtClean="0">
                <a:solidFill>
                  <a:schemeClr val="tx1"/>
                </a:solidFill>
                <a:effectLst/>
                <a:latin typeface="+mn-lt"/>
                <a:ea typeface="+mn-ea"/>
                <a:cs typeface="+mn-cs"/>
              </a:rPr>
            </a:br>
            <a:r>
              <a:rPr lang="en-US" sz="1200" b="0" i="0" kern="1200" dirty="0" smtClean="0">
                <a:solidFill>
                  <a:schemeClr val="tx1"/>
                </a:solidFill>
                <a:effectLst/>
                <a:latin typeface="+mn-lt"/>
                <a:ea typeface="+mn-ea"/>
                <a:cs typeface="+mn-cs"/>
              </a:rPr>
              <a:t>— Stephen Floor, assistant professor, department of cell and tissue biology, UC San Francisco, as quoted in </a:t>
            </a:r>
            <a:r>
              <a:rPr lang="en-US" sz="1200" b="0" i="0" u="sng" kern="1200" dirty="0" smtClean="0">
                <a:solidFill>
                  <a:schemeClr val="tx1"/>
                </a:solidFill>
                <a:effectLst/>
                <a:latin typeface="+mn-lt"/>
                <a:ea typeface="+mn-ea"/>
                <a:cs typeface="+mn-cs"/>
                <a:hlinkClick r:id="rId6"/>
              </a:rPr>
              <a:t>Inside Higher Ed</a:t>
            </a:r>
            <a:endParaRPr lang="en-US" sz="1200" b="0" i="0" kern="1200" dirty="0" smtClean="0">
              <a:solidFill>
                <a:schemeClr val="tx1"/>
              </a:solidFill>
              <a:effectLst/>
              <a:latin typeface="+mn-lt"/>
              <a:ea typeface="+mn-ea"/>
              <a:cs typeface="+mn-cs"/>
            </a:endParaRPr>
          </a:p>
          <a:p>
            <a:endParaRPr lang="en-GB" dirty="0"/>
          </a:p>
        </p:txBody>
      </p:sp>
      <p:sp>
        <p:nvSpPr>
          <p:cNvPr id="4" name="Slide Number Placeholder 3"/>
          <p:cNvSpPr>
            <a:spLocks noGrp="1"/>
          </p:cNvSpPr>
          <p:nvPr>
            <p:ph type="sldNum" sz="quarter" idx="10"/>
          </p:nvPr>
        </p:nvSpPr>
        <p:spPr/>
        <p:txBody>
          <a:bodyPr/>
          <a:lstStyle/>
          <a:p>
            <a:fld id="{273DC81D-38FA-4EFB-A816-49076D4E1450}" type="slidenum">
              <a:rPr lang="de-DE" smtClean="0"/>
              <a:t>26</a:t>
            </a:fld>
            <a:endParaRPr lang="de-DE"/>
          </a:p>
        </p:txBody>
      </p:sp>
    </p:spTree>
    <p:extLst>
      <p:ext uri="{BB962C8B-B14F-4D97-AF65-F5344CB8AC3E}">
        <p14:creationId xmlns:p14="http://schemas.microsoft.com/office/powerpoint/2010/main" val="183518460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0"/>
              </a:spcAft>
            </a:pPr>
            <a:r>
              <a:rPr lang="en-US" sz="1200" b="0" i="0" kern="1200" dirty="0" smtClean="0">
                <a:solidFill>
                  <a:schemeClr val="tx1"/>
                </a:solidFill>
                <a:effectLst/>
                <a:latin typeface="+mn-lt"/>
                <a:ea typeface="+mn-ea"/>
                <a:cs typeface="+mn-cs"/>
              </a:rPr>
              <a:t>Despite months of contract negotiations, Elsevier was unwilling to meet UC’s key goal: securing universal open access to UC research while containing the rapidly escalating costs associated with for-profit journals.</a:t>
            </a:r>
          </a:p>
          <a:p>
            <a:pPr>
              <a:spcAft>
                <a:spcPts val="0"/>
              </a:spcAft>
            </a:pPr>
            <a:endParaRPr lang="en-US" sz="1200" b="0" i="0" kern="1200" dirty="0" smtClean="0">
              <a:solidFill>
                <a:schemeClr val="tx1"/>
              </a:solidFill>
              <a:effectLst/>
              <a:latin typeface="+mn-lt"/>
              <a:ea typeface="+mn-ea"/>
              <a:cs typeface="+mn-cs"/>
            </a:endParaRPr>
          </a:p>
          <a:p>
            <a:pPr>
              <a:spcAft>
                <a:spcPts val="0"/>
              </a:spcAft>
            </a:pPr>
            <a:r>
              <a:rPr lang="en-US" sz="1200" b="0" i="0" kern="1200" dirty="0" smtClean="0">
                <a:solidFill>
                  <a:schemeClr val="tx1"/>
                </a:solidFill>
                <a:effectLst/>
                <a:latin typeface="+mn-lt"/>
                <a:ea typeface="+mn-ea"/>
                <a:cs typeface="+mn-cs"/>
              </a:rPr>
              <a:t>In negotiating with Elsevier, UC aimed to accelerate the pace of scientific discovery by ensuring that research produced by UC’s 10 campuses — which accounts for nearly 10 percent of all U.S. publishing output — would be immediately available to the world, without cost to the reader. Under Elsevier’s proposed terms, the publisher would have charged UC authors large publishing fees on top of the university’s multi-million dollar subscription, resulting in much greater cost to the university and much higher profits for Elsevier.</a:t>
            </a:r>
          </a:p>
          <a:p>
            <a:pPr>
              <a:spcAft>
                <a:spcPts val="0"/>
              </a:spcAft>
            </a:pPr>
            <a:endParaRPr lang="en-US" sz="1200" b="0" i="0" kern="1200" dirty="0" smtClean="0">
              <a:solidFill>
                <a:schemeClr val="tx1"/>
              </a:solidFill>
              <a:effectLst/>
              <a:latin typeface="+mn-lt"/>
              <a:ea typeface="+mn-ea"/>
              <a:cs typeface="+mn-cs"/>
            </a:endParaRPr>
          </a:p>
          <a:p>
            <a:pPr>
              <a:spcAft>
                <a:spcPts val="0"/>
              </a:spcAft>
            </a:pPr>
            <a:r>
              <a:rPr lang="en-US" sz="1200" b="0" i="0" kern="1200" dirty="0" smtClean="0">
                <a:solidFill>
                  <a:schemeClr val="tx1"/>
                </a:solidFill>
                <a:effectLst/>
                <a:latin typeface="+mn-lt"/>
                <a:ea typeface="+mn-ea"/>
                <a:cs typeface="+mn-cs"/>
              </a:rPr>
              <a:t>“Knowledge should not be accessible only to those who can pay,” said Robert May, chair of UC’s faculty Academic Senate. “The quest for full open access is essential if we are to truly uphold the mission of this university.” The Academic Senate issued a </a:t>
            </a:r>
            <a:r>
              <a:rPr lang="en-US" sz="1200" b="0" i="0" u="sng" kern="1200" dirty="0" smtClean="0">
                <a:solidFill>
                  <a:schemeClr val="tx1"/>
                </a:solidFill>
                <a:effectLst/>
                <a:latin typeface="+mn-lt"/>
                <a:ea typeface="+mn-ea"/>
                <a:cs typeface="+mn-cs"/>
                <a:hlinkClick r:id="rId3"/>
              </a:rPr>
              <a:t>statement</a:t>
            </a:r>
            <a:r>
              <a:rPr lang="en-US" sz="1200" b="0" i="0" kern="1200" dirty="0" smtClean="0">
                <a:solidFill>
                  <a:schemeClr val="tx1"/>
                </a:solidFill>
                <a:effectLst/>
                <a:latin typeface="+mn-lt"/>
                <a:ea typeface="+mn-ea"/>
                <a:cs typeface="+mn-cs"/>
              </a:rPr>
              <a:t> today endorsing UC’s position.</a:t>
            </a:r>
          </a:p>
          <a:p>
            <a:pPr>
              <a:spcAft>
                <a:spcPts val="0"/>
              </a:spcAft>
            </a:pPr>
            <a:endParaRPr lang="en-US" sz="1200" b="0" i="0" kern="1200" dirty="0" smtClean="0">
              <a:solidFill>
                <a:schemeClr val="tx1"/>
              </a:solidFill>
              <a:effectLst/>
              <a:latin typeface="+mn-lt"/>
              <a:ea typeface="+mn-ea"/>
              <a:cs typeface="+mn-cs"/>
            </a:endParaRPr>
          </a:p>
          <a:p>
            <a:pPr>
              <a:spcAft>
                <a:spcPts val="0"/>
              </a:spcAft>
            </a:pPr>
            <a:r>
              <a:rPr lang="en-US" sz="1200" b="0" i="0" kern="1200" dirty="0" smtClean="0">
                <a:solidFill>
                  <a:schemeClr val="tx1"/>
                </a:solidFill>
                <a:effectLst/>
                <a:latin typeface="+mn-lt"/>
                <a:ea typeface="+mn-ea"/>
                <a:cs typeface="+mn-cs"/>
              </a:rPr>
              <a:t>Elsevier is the largest scholarly publisher in the world, disseminating about 18 percent of journal articles produced by UC faculty. The transformative model that UC faculty and libraries are championing would make it easier and more affordable for UC authors to publish in an open access environment.</a:t>
            </a:r>
          </a:p>
          <a:p>
            <a:pPr>
              <a:spcAft>
                <a:spcPts val="0"/>
              </a:spcAft>
            </a:pPr>
            <a:endParaRPr lang="en-US" sz="1200" b="0" i="0" kern="1200" dirty="0" smtClean="0">
              <a:solidFill>
                <a:schemeClr val="tx1"/>
              </a:solidFill>
              <a:effectLst/>
              <a:latin typeface="+mn-lt"/>
              <a:ea typeface="+mn-ea"/>
              <a:cs typeface="+mn-cs"/>
            </a:endParaRPr>
          </a:p>
          <a:p>
            <a:pPr>
              <a:spcAft>
                <a:spcPts val="0"/>
              </a:spcAft>
            </a:pPr>
            <a:r>
              <a:rPr lang="en-US" sz="1200" b="0" i="0" kern="1200" dirty="0" smtClean="0">
                <a:solidFill>
                  <a:schemeClr val="tx1"/>
                </a:solidFill>
                <a:effectLst/>
                <a:latin typeface="+mn-lt"/>
                <a:ea typeface="+mn-ea"/>
                <a:cs typeface="+mn-cs"/>
              </a:rPr>
              <a:t>“Make no mistake: The prices of scientific journals now are so high that not a single university in the U.S. — not the University of California, not Harvard, no institution — can afford to subscribe to them all,” said Jeffrey </a:t>
            </a:r>
            <a:r>
              <a:rPr lang="en-US" sz="1200" b="0" i="0" kern="1200" dirty="0" err="1" smtClean="0">
                <a:solidFill>
                  <a:schemeClr val="tx1"/>
                </a:solidFill>
                <a:effectLst/>
                <a:latin typeface="+mn-lt"/>
                <a:ea typeface="+mn-ea"/>
                <a:cs typeface="+mn-cs"/>
              </a:rPr>
              <a:t>MacKie</a:t>
            </a:r>
            <a:r>
              <a:rPr lang="en-US" sz="1200" b="0" i="0" kern="1200" dirty="0" smtClean="0">
                <a:solidFill>
                  <a:schemeClr val="tx1"/>
                </a:solidFill>
                <a:effectLst/>
                <a:latin typeface="+mn-lt"/>
                <a:ea typeface="+mn-ea"/>
                <a:cs typeface="+mn-cs"/>
              </a:rPr>
              <a:t>-Mason, university librarian and economics professor at UC Berkeley, and co-chair of UC’s negotiation team. “Publishing our scholarship behind a paywall deprives people of the access to and benefits of publicly funded research. That is terrible for society.”</a:t>
            </a:r>
            <a:endParaRPr lang="en-GB" dirty="0" smtClean="0"/>
          </a:p>
        </p:txBody>
      </p:sp>
      <p:sp>
        <p:nvSpPr>
          <p:cNvPr id="4" name="Slide Number Placeholder 3"/>
          <p:cNvSpPr>
            <a:spLocks noGrp="1"/>
          </p:cNvSpPr>
          <p:nvPr>
            <p:ph type="sldNum" sz="quarter" idx="10"/>
          </p:nvPr>
        </p:nvSpPr>
        <p:spPr/>
        <p:txBody>
          <a:bodyPr/>
          <a:lstStyle/>
          <a:p>
            <a:fld id="{273DC81D-38FA-4EFB-A816-49076D4E1450}" type="slidenum">
              <a:rPr lang="de-DE" smtClean="0"/>
              <a:t>28</a:t>
            </a:fld>
            <a:endParaRPr lang="de-DE"/>
          </a:p>
        </p:txBody>
      </p:sp>
    </p:spTree>
    <p:extLst>
      <p:ext uri="{BB962C8B-B14F-4D97-AF65-F5344CB8AC3E}">
        <p14:creationId xmlns:p14="http://schemas.microsoft.com/office/powerpoint/2010/main" val="113283326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
                <a:schemeClr val="accent5">
                  <a:lumMod val="75000"/>
                </a:schemeClr>
              </a:buClr>
            </a:pPr>
            <a:r>
              <a:rPr lang="en-US" sz="1200" dirty="0" smtClean="0"/>
              <a:t>~10.000 articles a year complete and immediate open access</a:t>
            </a:r>
          </a:p>
          <a:p>
            <a:pPr>
              <a:buClr>
                <a:schemeClr val="accent5">
                  <a:lumMod val="75000"/>
                </a:schemeClr>
              </a:buClr>
            </a:pPr>
            <a:r>
              <a:rPr lang="en-US" sz="1200" dirty="0" smtClean="0"/>
              <a:t>Authors are guaranteed academic freedom</a:t>
            </a:r>
          </a:p>
          <a:p>
            <a:pPr>
              <a:buClr>
                <a:schemeClr val="accent5">
                  <a:lumMod val="75000"/>
                </a:schemeClr>
              </a:buClr>
            </a:pPr>
            <a:r>
              <a:rPr lang="en-US" sz="1200" dirty="0" smtClean="0"/>
              <a:t>Authors retain copyright, can use and re-use their work</a:t>
            </a:r>
          </a:p>
          <a:p>
            <a:pPr>
              <a:buClr>
                <a:schemeClr val="accent5">
                  <a:lumMod val="75000"/>
                </a:schemeClr>
              </a:buClr>
            </a:pPr>
            <a:r>
              <a:rPr lang="en-US" sz="1200" dirty="0" smtClean="0"/>
              <a:t>Scholars and society learn from and build on the latest research</a:t>
            </a:r>
          </a:p>
          <a:p>
            <a:pPr>
              <a:buClr>
                <a:schemeClr val="accent5">
                  <a:lumMod val="75000"/>
                </a:schemeClr>
              </a:buClr>
            </a:pPr>
            <a:endParaRPr lang="en-US" sz="1200" dirty="0" smtClean="0"/>
          </a:p>
          <a:p>
            <a:pPr>
              <a:buClr>
                <a:schemeClr val="accent5">
                  <a:lumMod val="75000"/>
                </a:schemeClr>
              </a:buClr>
            </a:pPr>
            <a:r>
              <a:rPr lang="en-US" sz="1200" dirty="0" smtClean="0"/>
              <a:t>Departure from the subscription logic</a:t>
            </a:r>
          </a:p>
          <a:p>
            <a:pPr>
              <a:buClr>
                <a:schemeClr val="accent5">
                  <a:lumMod val="75000"/>
                </a:schemeClr>
              </a:buClr>
            </a:pPr>
            <a:r>
              <a:rPr lang="en-US" sz="1200" dirty="0" smtClean="0"/>
              <a:t>Costs are transparent and transactions at the article level</a:t>
            </a:r>
          </a:p>
          <a:p>
            <a:pPr marL="0" marR="0" lvl="0" indent="0" algn="l" defTabSz="914400" rtl="0" eaLnBrk="1" fontAlgn="auto" latinLnBrk="0" hangingPunct="1">
              <a:lnSpc>
                <a:spcPct val="100000"/>
              </a:lnSpc>
              <a:spcBef>
                <a:spcPts val="0"/>
              </a:spcBef>
              <a:spcAft>
                <a:spcPts val="0"/>
              </a:spcAft>
              <a:buClr>
                <a:schemeClr val="accent5">
                  <a:lumMod val="75000"/>
                </a:schemeClr>
              </a:buClr>
              <a:buSzTx/>
              <a:buFontTx/>
              <a:buNone/>
              <a:tabLst/>
              <a:defRPr/>
            </a:pPr>
            <a:r>
              <a:rPr lang="en-US" sz="1200" kern="1200" dirty="0" smtClean="0">
                <a:solidFill>
                  <a:schemeClr val="tx1"/>
                </a:solidFill>
                <a:effectLst/>
                <a:latin typeface="+mn-lt"/>
                <a:ea typeface="+mn-ea"/>
                <a:cs typeface="+mn-cs"/>
              </a:rPr>
              <a:t>The PAR fee itself is a  key transitional element in that it builds a bridge for the previous total subscription expenditure of German institutions to be shifted to support the country’s research output under a realistic publication scenario while at the same time minimizing the risk of massive financial disruption for both parties. The PAR fee of this contract is unique to the German setting and constitutes a context-specific balance between a given historic situation and an anticipated future objective. Others may find inspiration in this principle but should not be preoccupied with the figure as such, as the starting point will be different in other contexts. </a:t>
            </a:r>
            <a:endParaRPr lang="en-GB" sz="1200" kern="1200" dirty="0" smtClean="0">
              <a:solidFill>
                <a:schemeClr val="tx1"/>
              </a:solidFill>
              <a:effectLst/>
              <a:latin typeface="+mn-lt"/>
              <a:ea typeface="+mn-ea"/>
              <a:cs typeface="+mn-cs"/>
            </a:endParaRPr>
          </a:p>
          <a:p>
            <a:pPr>
              <a:buClr>
                <a:schemeClr val="accent5">
                  <a:lumMod val="75000"/>
                </a:schemeClr>
              </a:buClr>
            </a:pPr>
            <a:endParaRPr lang="en-US" sz="1200" dirty="0" smtClean="0"/>
          </a:p>
          <a:p>
            <a:pPr>
              <a:buClr>
                <a:schemeClr val="accent5">
                  <a:lumMod val="75000"/>
                </a:schemeClr>
              </a:buClr>
            </a:pPr>
            <a:r>
              <a:rPr lang="en-US" sz="1200" dirty="0" smtClean="0"/>
              <a:t>Operational compliance with open access workflows</a:t>
            </a:r>
          </a:p>
          <a:p>
            <a:pPr>
              <a:buClr>
                <a:schemeClr val="accent5">
                  <a:lumMod val="75000"/>
                </a:schemeClr>
              </a:buClr>
            </a:pPr>
            <a:r>
              <a:rPr lang="en-US" sz="1200" dirty="0" smtClean="0"/>
              <a:t>Forward-looking processes and systems</a:t>
            </a:r>
          </a:p>
          <a:p>
            <a:pPr>
              <a:buClr>
                <a:schemeClr val="accent5">
                  <a:lumMod val="75000"/>
                </a:schemeClr>
              </a:buClr>
            </a:pPr>
            <a:r>
              <a:rPr lang="en-US" sz="1200" dirty="0" smtClean="0"/>
              <a:t>Prepare for transition at scale</a:t>
            </a:r>
          </a:p>
          <a:p>
            <a:pPr fontAlgn="base"/>
            <a:endParaRPr lang="en-US" sz="1200" b="0" i="0" kern="1200" dirty="0" smtClean="0">
              <a:solidFill>
                <a:schemeClr val="tx1"/>
              </a:solidFill>
              <a:effectLst/>
              <a:latin typeface="+mn-lt"/>
              <a:ea typeface="+mn-ea"/>
              <a:cs typeface="+mn-cs"/>
            </a:endParaRPr>
          </a:p>
          <a:p>
            <a:pPr fontAlgn="base"/>
            <a:endParaRPr lang="en-US" sz="1200" b="0" i="0" kern="1200" dirty="0" smtClean="0">
              <a:solidFill>
                <a:schemeClr val="tx1"/>
              </a:solidFill>
              <a:effectLst/>
              <a:latin typeface="+mn-lt"/>
              <a:ea typeface="+mn-ea"/>
              <a:cs typeface="+mn-cs"/>
            </a:endParaRPr>
          </a:p>
          <a:p>
            <a:pPr fontAlgn="base"/>
            <a:endParaRPr lang="en-US" sz="1200" b="0" i="0" kern="1200" dirty="0" smtClean="0">
              <a:solidFill>
                <a:schemeClr val="tx1"/>
              </a:solidFill>
              <a:effectLst/>
              <a:latin typeface="+mn-lt"/>
              <a:ea typeface="+mn-ea"/>
              <a:cs typeface="+mn-cs"/>
            </a:endParaRPr>
          </a:p>
          <a:p>
            <a:pPr fontAlgn="base"/>
            <a:endParaRPr lang="en-US" sz="1200" b="0" i="0" kern="1200" dirty="0" smtClean="0">
              <a:solidFill>
                <a:schemeClr val="tx1"/>
              </a:solidFill>
              <a:effectLst/>
              <a:latin typeface="+mn-lt"/>
              <a:ea typeface="+mn-ea"/>
              <a:cs typeface="+mn-cs"/>
            </a:endParaRPr>
          </a:p>
          <a:p>
            <a:pPr fontAlgn="base"/>
            <a:r>
              <a:rPr lang="en-US" sz="1200" b="0" i="0" kern="1200" dirty="0" smtClean="0">
                <a:solidFill>
                  <a:schemeClr val="tx1"/>
                </a:solidFill>
                <a:effectLst/>
                <a:latin typeface="+mn-lt"/>
                <a:ea typeface="+mn-ea"/>
                <a:cs typeface="+mn-cs"/>
              </a:rPr>
              <a:t>To clarify and avoid misunderstandings, we have summarized below the key points to the agreement between Wiley and Project DEAL, which we can publish before February 15, 2019:</a:t>
            </a:r>
          </a:p>
          <a:p>
            <a:pPr fontAlgn="base"/>
            <a:endParaRPr lang="en-US" sz="1200" b="0" i="0" kern="1200" dirty="0" smtClean="0">
              <a:solidFill>
                <a:schemeClr val="tx1"/>
              </a:solidFill>
              <a:effectLst/>
              <a:latin typeface="+mn-lt"/>
              <a:ea typeface="+mn-ea"/>
              <a:cs typeface="+mn-cs"/>
            </a:endParaRPr>
          </a:p>
          <a:p>
            <a:pPr fontAlgn="base"/>
            <a:r>
              <a:rPr lang="en-US" sz="1200" b="0" i="0" kern="1200" dirty="0" smtClean="0">
                <a:solidFill>
                  <a:schemeClr val="tx1"/>
                </a:solidFill>
                <a:effectLst/>
                <a:latin typeface="+mn-lt"/>
                <a:ea typeface="+mn-ea"/>
                <a:cs typeface="+mn-cs"/>
              </a:rPr>
              <a:t>1. Continuous access to Wiley's entire portfolio of electronic journals ("perpetual access") for all participating institutions. These are currently about 1,700 titles (subscription journals, as well as original open access journals).</a:t>
            </a:r>
          </a:p>
          <a:p>
            <a:pPr fontAlgn="base"/>
            <a:endParaRPr lang="en-US" sz="1200" b="0" i="0" kern="1200" dirty="0" smtClean="0">
              <a:solidFill>
                <a:schemeClr val="tx1"/>
              </a:solidFill>
              <a:effectLst/>
              <a:latin typeface="+mn-lt"/>
              <a:ea typeface="+mn-ea"/>
              <a:cs typeface="+mn-cs"/>
            </a:endParaRPr>
          </a:p>
          <a:p>
            <a:pPr fontAlgn="base"/>
            <a:r>
              <a:rPr lang="en-US" sz="1200" b="0" i="0" kern="1200" dirty="0" smtClean="0">
                <a:solidFill>
                  <a:schemeClr val="tx1"/>
                </a:solidFill>
                <a:effectLst/>
                <a:latin typeface="+mn-lt"/>
                <a:ea typeface="+mn-ea"/>
                <a:cs typeface="+mn-cs"/>
              </a:rPr>
              <a:t>2. Permanent archive rights for all participating institutions to the entire journal portfolio back to the year of publication 1997.</a:t>
            </a:r>
          </a:p>
          <a:p>
            <a:pPr fontAlgn="base"/>
            <a:endParaRPr lang="en-US" sz="1200" b="0" i="0" kern="1200" dirty="0" smtClean="0">
              <a:solidFill>
                <a:schemeClr val="tx1"/>
              </a:solidFill>
              <a:effectLst/>
              <a:latin typeface="+mn-lt"/>
              <a:ea typeface="+mn-ea"/>
              <a:cs typeface="+mn-cs"/>
            </a:endParaRPr>
          </a:p>
          <a:p>
            <a:pPr fontAlgn="base"/>
            <a:r>
              <a:rPr lang="en-US" sz="1200" b="0" i="0" kern="1200" dirty="0" smtClean="0">
                <a:solidFill>
                  <a:schemeClr val="tx1"/>
                </a:solidFill>
                <a:effectLst/>
                <a:latin typeface="+mn-lt"/>
                <a:ea typeface="+mn-ea"/>
                <a:cs typeface="+mn-cs"/>
              </a:rPr>
              <a:t>3. Publishing articles in Open Access to all Submitting Corresponding Authors from eligible institutions in Wiley's journals (both in the original open access journals and in the subscription titles), usually under a CC-BY license. We assume a volume of nearly 10,000 articles per year.</a:t>
            </a:r>
          </a:p>
          <a:p>
            <a:pPr fontAlgn="base"/>
            <a:endParaRPr lang="en-US" sz="1200" b="0" i="0" kern="1200" dirty="0" smtClean="0">
              <a:solidFill>
                <a:schemeClr val="tx1"/>
              </a:solidFill>
              <a:effectLst/>
              <a:latin typeface="+mn-lt"/>
              <a:ea typeface="+mn-ea"/>
              <a:cs typeface="+mn-cs"/>
            </a:endParaRPr>
          </a:p>
          <a:p>
            <a:pPr fontAlgn="base"/>
            <a:r>
              <a:rPr lang="en-US" sz="1200" b="0" i="0" kern="1200" dirty="0" smtClean="0">
                <a:solidFill>
                  <a:schemeClr val="tx1"/>
                </a:solidFill>
                <a:effectLst/>
                <a:latin typeface="+mn-lt"/>
                <a:ea typeface="+mn-ea"/>
                <a:cs typeface="+mn-cs"/>
              </a:rPr>
              <a:t>4. Agreement on a fair and sustainable Publish &amp; Read cost model. The total price is calculated annually from the agreed Publish &amp; Read fee (in short: PAR fee) and the number of articles published annually in accordance with No. 3 (based on subscription titles). This covers both the publication of the above-mentioned articles ("publish") in Open Access and the reading access to the entire electronic portfolio of subscription periodicals ("read") for the period from 2019 to 2021. There are no additional costs for the reading access. The PAR fee is not equivalent to a hybrid APC (article processing charge).</a:t>
            </a:r>
          </a:p>
          <a:p>
            <a:pPr fontAlgn="base"/>
            <a:endParaRPr lang="en-US" sz="1200" b="0" i="0" kern="1200" dirty="0" smtClean="0">
              <a:solidFill>
                <a:schemeClr val="tx1"/>
              </a:solidFill>
              <a:effectLst/>
              <a:latin typeface="+mn-lt"/>
              <a:ea typeface="+mn-ea"/>
              <a:cs typeface="+mn-cs"/>
            </a:endParaRPr>
          </a:p>
          <a:p>
            <a:pPr fontAlgn="base"/>
            <a:r>
              <a:rPr lang="en-US" sz="1200" b="0" i="0" kern="1200" dirty="0" smtClean="0">
                <a:solidFill>
                  <a:schemeClr val="tx1"/>
                </a:solidFill>
                <a:effectLst/>
                <a:latin typeface="+mn-lt"/>
                <a:ea typeface="+mn-ea"/>
                <a:cs typeface="+mn-cs"/>
              </a:rPr>
              <a:t>A key figure-based individual participation fee is calculated for the participant facilities, which is based on the previous license payments and the publication volume. The individual scientists do not incur any separate costs.</a:t>
            </a:r>
          </a:p>
          <a:p>
            <a:pPr fontAlgn="base"/>
            <a:endParaRPr lang="en-US" sz="1200" b="0" i="0" kern="1200" dirty="0" smtClean="0">
              <a:solidFill>
                <a:schemeClr val="tx1"/>
              </a:solidFill>
              <a:effectLst/>
              <a:latin typeface="+mn-lt"/>
              <a:ea typeface="+mn-ea"/>
              <a:cs typeface="+mn-cs"/>
            </a:endParaRPr>
          </a:p>
          <a:p>
            <a:pPr fontAlgn="base"/>
            <a:r>
              <a:rPr lang="en-US" sz="1200" b="0" i="0" kern="1200" dirty="0" smtClean="0">
                <a:solidFill>
                  <a:schemeClr val="tx1"/>
                </a:solidFill>
                <a:effectLst/>
                <a:latin typeface="+mn-lt"/>
                <a:ea typeface="+mn-ea"/>
                <a:cs typeface="+mn-cs"/>
              </a:rPr>
              <a:t>Wiley's Gold Open Access Journals will be granted a 20% discount on APC list prices. The billing of the APCs is also done centrally by the participating institution.</a:t>
            </a:r>
          </a:p>
          <a:p>
            <a:pPr>
              <a:spcAft>
                <a:spcPts val="0"/>
              </a:spcAft>
            </a:pPr>
            <a:endParaRPr lang="en-GB" dirty="0" smtClean="0"/>
          </a:p>
        </p:txBody>
      </p:sp>
      <p:sp>
        <p:nvSpPr>
          <p:cNvPr id="4" name="Slide Number Placeholder 3"/>
          <p:cNvSpPr>
            <a:spLocks noGrp="1"/>
          </p:cNvSpPr>
          <p:nvPr>
            <p:ph type="sldNum" sz="quarter" idx="10"/>
          </p:nvPr>
        </p:nvSpPr>
        <p:spPr/>
        <p:txBody>
          <a:bodyPr/>
          <a:lstStyle/>
          <a:p>
            <a:fld id="{273DC81D-38FA-4EFB-A816-49076D4E1450}" type="slidenum">
              <a:rPr lang="de-DE" smtClean="0"/>
              <a:t>29</a:t>
            </a:fld>
            <a:endParaRPr lang="de-DE"/>
          </a:p>
        </p:txBody>
      </p:sp>
    </p:spTree>
    <p:extLst>
      <p:ext uri="{BB962C8B-B14F-4D97-AF65-F5344CB8AC3E}">
        <p14:creationId xmlns:p14="http://schemas.microsoft.com/office/powerpoint/2010/main" val="248081060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Clr>
                <a:schemeClr val="accent5">
                  <a:lumMod val="75000"/>
                </a:schemeClr>
              </a:buClr>
            </a:pPr>
            <a:r>
              <a:rPr lang="en-US" sz="1200" dirty="0" smtClean="0"/>
              <a:t>~10.000 articles a year complete and immediate open access</a:t>
            </a:r>
          </a:p>
          <a:p>
            <a:pPr>
              <a:buClr>
                <a:schemeClr val="accent5">
                  <a:lumMod val="75000"/>
                </a:schemeClr>
              </a:buClr>
            </a:pPr>
            <a:r>
              <a:rPr lang="en-US" sz="1200" dirty="0" smtClean="0"/>
              <a:t>Authors are guaranteed academic freedom</a:t>
            </a:r>
          </a:p>
          <a:p>
            <a:pPr>
              <a:buClr>
                <a:schemeClr val="accent5">
                  <a:lumMod val="75000"/>
                </a:schemeClr>
              </a:buClr>
            </a:pPr>
            <a:r>
              <a:rPr lang="en-US" sz="1200" dirty="0" smtClean="0"/>
              <a:t>Authors retain copyright, can use and re-use their work</a:t>
            </a:r>
          </a:p>
          <a:p>
            <a:pPr>
              <a:buClr>
                <a:schemeClr val="accent5">
                  <a:lumMod val="75000"/>
                </a:schemeClr>
              </a:buClr>
            </a:pPr>
            <a:r>
              <a:rPr lang="en-US" sz="1200" dirty="0" smtClean="0"/>
              <a:t>Scholars and society learn from and build on the latest research</a:t>
            </a:r>
          </a:p>
          <a:p>
            <a:pPr>
              <a:buClr>
                <a:schemeClr val="accent5">
                  <a:lumMod val="75000"/>
                </a:schemeClr>
              </a:buClr>
            </a:pPr>
            <a:endParaRPr lang="en-US" sz="1200" dirty="0" smtClean="0"/>
          </a:p>
          <a:p>
            <a:pPr>
              <a:buClr>
                <a:schemeClr val="accent5">
                  <a:lumMod val="75000"/>
                </a:schemeClr>
              </a:buClr>
            </a:pPr>
            <a:r>
              <a:rPr lang="en-US" sz="1200" dirty="0" smtClean="0"/>
              <a:t>Departure from the subscription logic</a:t>
            </a:r>
          </a:p>
          <a:p>
            <a:pPr>
              <a:buClr>
                <a:schemeClr val="accent5">
                  <a:lumMod val="75000"/>
                </a:schemeClr>
              </a:buClr>
            </a:pPr>
            <a:r>
              <a:rPr lang="en-US" sz="1200" dirty="0" smtClean="0"/>
              <a:t>Costs are transparent and transactions at the article level</a:t>
            </a:r>
          </a:p>
          <a:p>
            <a:pPr marL="0" marR="0" lvl="0" indent="0" algn="l" defTabSz="914400" rtl="0" eaLnBrk="1" fontAlgn="auto" latinLnBrk="0" hangingPunct="1">
              <a:lnSpc>
                <a:spcPct val="100000"/>
              </a:lnSpc>
              <a:spcBef>
                <a:spcPts val="0"/>
              </a:spcBef>
              <a:spcAft>
                <a:spcPts val="0"/>
              </a:spcAft>
              <a:buClr>
                <a:schemeClr val="accent5">
                  <a:lumMod val="75000"/>
                </a:schemeClr>
              </a:buClr>
              <a:buSzTx/>
              <a:buFontTx/>
              <a:buNone/>
              <a:tabLst/>
              <a:defRPr/>
            </a:pPr>
            <a:r>
              <a:rPr lang="en-US" sz="1200" kern="1200" dirty="0" smtClean="0">
                <a:solidFill>
                  <a:schemeClr val="tx1"/>
                </a:solidFill>
                <a:effectLst/>
                <a:latin typeface="+mn-lt"/>
                <a:ea typeface="+mn-ea"/>
                <a:cs typeface="+mn-cs"/>
              </a:rPr>
              <a:t>The PAR fee itself is a  key transitional element in that it builds a bridge for the previous total subscription expenditure of German institutions to be shifted to support the country’s research output under a realistic publication scenario while at the same time minimizing the risk of massive financial disruption for both parties. The PAR fee of this contract is unique to the German setting and constitutes a context-specific balance between a given historic situation and an anticipated future objective. Others may find inspiration in this principle but should not be preoccupied with the figure as such, as the starting point will be different in other contexts. </a:t>
            </a:r>
            <a:endParaRPr lang="en-GB" sz="1200" kern="1200" dirty="0" smtClean="0">
              <a:solidFill>
                <a:schemeClr val="tx1"/>
              </a:solidFill>
              <a:effectLst/>
              <a:latin typeface="+mn-lt"/>
              <a:ea typeface="+mn-ea"/>
              <a:cs typeface="+mn-cs"/>
            </a:endParaRPr>
          </a:p>
          <a:p>
            <a:pPr>
              <a:buClr>
                <a:schemeClr val="accent5">
                  <a:lumMod val="75000"/>
                </a:schemeClr>
              </a:buClr>
            </a:pPr>
            <a:endParaRPr lang="en-US" sz="1200" dirty="0" smtClean="0"/>
          </a:p>
          <a:p>
            <a:pPr>
              <a:buClr>
                <a:schemeClr val="accent5">
                  <a:lumMod val="75000"/>
                </a:schemeClr>
              </a:buClr>
            </a:pPr>
            <a:r>
              <a:rPr lang="en-US" sz="1200" dirty="0" smtClean="0"/>
              <a:t>Operational compliance with open access workflows</a:t>
            </a:r>
          </a:p>
          <a:p>
            <a:pPr>
              <a:buClr>
                <a:schemeClr val="accent5">
                  <a:lumMod val="75000"/>
                </a:schemeClr>
              </a:buClr>
            </a:pPr>
            <a:r>
              <a:rPr lang="en-US" sz="1200" dirty="0" smtClean="0"/>
              <a:t>Forward-looking processes and systems</a:t>
            </a:r>
          </a:p>
          <a:p>
            <a:pPr>
              <a:buClr>
                <a:schemeClr val="accent5">
                  <a:lumMod val="75000"/>
                </a:schemeClr>
              </a:buClr>
            </a:pPr>
            <a:r>
              <a:rPr lang="en-US" sz="1200" dirty="0" smtClean="0"/>
              <a:t>Prepare for transition at scale</a:t>
            </a:r>
          </a:p>
          <a:p>
            <a:pPr fontAlgn="base"/>
            <a:endParaRPr lang="en-US" sz="1200" b="0" i="0" kern="1200" dirty="0" smtClean="0">
              <a:solidFill>
                <a:schemeClr val="tx1"/>
              </a:solidFill>
              <a:effectLst/>
              <a:latin typeface="+mn-lt"/>
              <a:ea typeface="+mn-ea"/>
              <a:cs typeface="+mn-cs"/>
            </a:endParaRPr>
          </a:p>
          <a:p>
            <a:pPr fontAlgn="base"/>
            <a:endParaRPr lang="en-US" sz="1200" b="0" i="0" kern="1200" dirty="0" smtClean="0">
              <a:solidFill>
                <a:schemeClr val="tx1"/>
              </a:solidFill>
              <a:effectLst/>
              <a:latin typeface="+mn-lt"/>
              <a:ea typeface="+mn-ea"/>
              <a:cs typeface="+mn-cs"/>
            </a:endParaRPr>
          </a:p>
          <a:p>
            <a:pPr fontAlgn="base"/>
            <a:endParaRPr lang="en-US" sz="1200" b="0" i="0" kern="1200" dirty="0" smtClean="0">
              <a:solidFill>
                <a:schemeClr val="tx1"/>
              </a:solidFill>
              <a:effectLst/>
              <a:latin typeface="+mn-lt"/>
              <a:ea typeface="+mn-ea"/>
              <a:cs typeface="+mn-cs"/>
            </a:endParaRPr>
          </a:p>
          <a:p>
            <a:pPr fontAlgn="base"/>
            <a:endParaRPr lang="en-US" sz="1200" b="0" i="0" kern="1200" dirty="0" smtClean="0">
              <a:solidFill>
                <a:schemeClr val="tx1"/>
              </a:solidFill>
              <a:effectLst/>
              <a:latin typeface="+mn-lt"/>
              <a:ea typeface="+mn-ea"/>
              <a:cs typeface="+mn-cs"/>
            </a:endParaRPr>
          </a:p>
          <a:p>
            <a:pPr fontAlgn="base"/>
            <a:r>
              <a:rPr lang="en-US" sz="1200" b="0" i="0" kern="1200" dirty="0" smtClean="0">
                <a:solidFill>
                  <a:schemeClr val="tx1"/>
                </a:solidFill>
                <a:effectLst/>
                <a:latin typeface="+mn-lt"/>
                <a:ea typeface="+mn-ea"/>
                <a:cs typeface="+mn-cs"/>
              </a:rPr>
              <a:t>To clarify and avoid misunderstandings, we have summarized below the key points to the agreement between Wiley and Project DEAL, which we can publish before February 15, 2019:</a:t>
            </a:r>
          </a:p>
          <a:p>
            <a:pPr fontAlgn="base"/>
            <a:endParaRPr lang="en-US" sz="1200" b="0" i="0" kern="1200" dirty="0" smtClean="0">
              <a:solidFill>
                <a:schemeClr val="tx1"/>
              </a:solidFill>
              <a:effectLst/>
              <a:latin typeface="+mn-lt"/>
              <a:ea typeface="+mn-ea"/>
              <a:cs typeface="+mn-cs"/>
            </a:endParaRPr>
          </a:p>
          <a:p>
            <a:pPr fontAlgn="base"/>
            <a:r>
              <a:rPr lang="en-US" sz="1200" b="0" i="0" kern="1200" dirty="0" smtClean="0">
                <a:solidFill>
                  <a:schemeClr val="tx1"/>
                </a:solidFill>
                <a:effectLst/>
                <a:latin typeface="+mn-lt"/>
                <a:ea typeface="+mn-ea"/>
                <a:cs typeface="+mn-cs"/>
              </a:rPr>
              <a:t>1. Continuous access to Wiley's entire portfolio of electronic journals ("perpetual access") for all participating institutions. These are currently about 1,700 titles (subscription journals, as well as original open access journals).</a:t>
            </a:r>
          </a:p>
          <a:p>
            <a:pPr fontAlgn="base"/>
            <a:endParaRPr lang="en-US" sz="1200" b="0" i="0" kern="1200" dirty="0" smtClean="0">
              <a:solidFill>
                <a:schemeClr val="tx1"/>
              </a:solidFill>
              <a:effectLst/>
              <a:latin typeface="+mn-lt"/>
              <a:ea typeface="+mn-ea"/>
              <a:cs typeface="+mn-cs"/>
            </a:endParaRPr>
          </a:p>
          <a:p>
            <a:pPr fontAlgn="base"/>
            <a:r>
              <a:rPr lang="en-US" sz="1200" b="0" i="0" kern="1200" dirty="0" smtClean="0">
                <a:solidFill>
                  <a:schemeClr val="tx1"/>
                </a:solidFill>
                <a:effectLst/>
                <a:latin typeface="+mn-lt"/>
                <a:ea typeface="+mn-ea"/>
                <a:cs typeface="+mn-cs"/>
              </a:rPr>
              <a:t>2. Permanent archive rights for all participating institutions to the entire journal portfolio back to the year of publication 1997.</a:t>
            </a:r>
          </a:p>
          <a:p>
            <a:pPr fontAlgn="base"/>
            <a:endParaRPr lang="en-US" sz="1200" b="0" i="0" kern="1200" dirty="0" smtClean="0">
              <a:solidFill>
                <a:schemeClr val="tx1"/>
              </a:solidFill>
              <a:effectLst/>
              <a:latin typeface="+mn-lt"/>
              <a:ea typeface="+mn-ea"/>
              <a:cs typeface="+mn-cs"/>
            </a:endParaRPr>
          </a:p>
          <a:p>
            <a:pPr fontAlgn="base"/>
            <a:r>
              <a:rPr lang="en-US" sz="1200" b="0" i="0" kern="1200" dirty="0" smtClean="0">
                <a:solidFill>
                  <a:schemeClr val="tx1"/>
                </a:solidFill>
                <a:effectLst/>
                <a:latin typeface="+mn-lt"/>
                <a:ea typeface="+mn-ea"/>
                <a:cs typeface="+mn-cs"/>
              </a:rPr>
              <a:t>3. Publishing articles in Open Access to all Submitting Corresponding Authors from eligible institutions in Wiley's journals (both in the original open access journals and in the subscription titles), usually under a CC-BY license. We assume a volume of nearly 10,000 articles per year.</a:t>
            </a:r>
          </a:p>
          <a:p>
            <a:pPr fontAlgn="base"/>
            <a:endParaRPr lang="en-US" sz="1200" b="0" i="0" kern="1200" dirty="0" smtClean="0">
              <a:solidFill>
                <a:schemeClr val="tx1"/>
              </a:solidFill>
              <a:effectLst/>
              <a:latin typeface="+mn-lt"/>
              <a:ea typeface="+mn-ea"/>
              <a:cs typeface="+mn-cs"/>
            </a:endParaRPr>
          </a:p>
          <a:p>
            <a:pPr fontAlgn="base"/>
            <a:r>
              <a:rPr lang="en-US" sz="1200" b="0" i="0" kern="1200" dirty="0" smtClean="0">
                <a:solidFill>
                  <a:schemeClr val="tx1"/>
                </a:solidFill>
                <a:effectLst/>
                <a:latin typeface="+mn-lt"/>
                <a:ea typeface="+mn-ea"/>
                <a:cs typeface="+mn-cs"/>
              </a:rPr>
              <a:t>4. Agreement on a fair and sustainable Publish &amp; Read cost model. The total price is calculated annually from the agreed Publish &amp; Read fee (in short: PAR fee) and the number of articles published annually in accordance with No. 3 (based on subscription titles). This covers both the publication of the above-mentioned articles ("publish") in Open Access and the reading access to the entire electronic portfolio of subscription periodicals ("read") for the period from 2019 to 2021. There are no additional costs for the reading access. The PAR fee is not equivalent to a hybrid APC (article processing charge).</a:t>
            </a:r>
          </a:p>
          <a:p>
            <a:pPr fontAlgn="base"/>
            <a:endParaRPr lang="en-US" sz="1200" b="0" i="0" kern="1200" dirty="0" smtClean="0">
              <a:solidFill>
                <a:schemeClr val="tx1"/>
              </a:solidFill>
              <a:effectLst/>
              <a:latin typeface="+mn-lt"/>
              <a:ea typeface="+mn-ea"/>
              <a:cs typeface="+mn-cs"/>
            </a:endParaRPr>
          </a:p>
          <a:p>
            <a:pPr fontAlgn="base"/>
            <a:r>
              <a:rPr lang="en-US" sz="1200" b="0" i="0" kern="1200" dirty="0" smtClean="0">
                <a:solidFill>
                  <a:schemeClr val="tx1"/>
                </a:solidFill>
                <a:effectLst/>
                <a:latin typeface="+mn-lt"/>
                <a:ea typeface="+mn-ea"/>
                <a:cs typeface="+mn-cs"/>
              </a:rPr>
              <a:t>A key figure-based individual participation fee is calculated for the participant facilities, which is based on the previous license payments and the publication volume. The individual scientists do not incur any separate costs.</a:t>
            </a:r>
          </a:p>
          <a:p>
            <a:pPr fontAlgn="base"/>
            <a:endParaRPr lang="en-US" sz="1200" b="0" i="0" kern="1200" dirty="0" smtClean="0">
              <a:solidFill>
                <a:schemeClr val="tx1"/>
              </a:solidFill>
              <a:effectLst/>
              <a:latin typeface="+mn-lt"/>
              <a:ea typeface="+mn-ea"/>
              <a:cs typeface="+mn-cs"/>
            </a:endParaRPr>
          </a:p>
          <a:p>
            <a:pPr fontAlgn="base"/>
            <a:r>
              <a:rPr lang="en-US" sz="1200" b="0" i="0" kern="1200" dirty="0" smtClean="0">
                <a:solidFill>
                  <a:schemeClr val="tx1"/>
                </a:solidFill>
                <a:effectLst/>
                <a:latin typeface="+mn-lt"/>
                <a:ea typeface="+mn-ea"/>
                <a:cs typeface="+mn-cs"/>
              </a:rPr>
              <a:t>Wiley's Gold Open Access Journals will be granted a 20% discount on APC list prices. The billing of the APCs is also done centrally by the participating institution.</a:t>
            </a:r>
          </a:p>
          <a:p>
            <a:pPr>
              <a:spcAft>
                <a:spcPts val="0"/>
              </a:spcAft>
            </a:pPr>
            <a:endParaRPr lang="en-GB" dirty="0" smtClean="0"/>
          </a:p>
        </p:txBody>
      </p:sp>
      <p:sp>
        <p:nvSpPr>
          <p:cNvPr id="4" name="Slide Number Placeholder 3"/>
          <p:cNvSpPr>
            <a:spLocks noGrp="1"/>
          </p:cNvSpPr>
          <p:nvPr>
            <p:ph type="sldNum" sz="quarter" idx="10"/>
          </p:nvPr>
        </p:nvSpPr>
        <p:spPr/>
        <p:txBody>
          <a:bodyPr/>
          <a:lstStyle/>
          <a:p>
            <a:fld id="{273DC81D-38FA-4EFB-A816-49076D4E1450}" type="slidenum">
              <a:rPr lang="de-DE" smtClean="0"/>
              <a:t>30</a:t>
            </a:fld>
            <a:endParaRPr lang="de-DE"/>
          </a:p>
        </p:txBody>
      </p:sp>
    </p:spTree>
    <p:extLst>
      <p:ext uri="{BB962C8B-B14F-4D97-AF65-F5344CB8AC3E}">
        <p14:creationId xmlns:p14="http://schemas.microsoft.com/office/powerpoint/2010/main" val="246734999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mn-lt"/>
                <a:ea typeface="+mn-ea"/>
                <a:cs typeface="+mn-cs"/>
              </a:rPr>
              <a:t>A publication can be Plan S compliant </a:t>
            </a:r>
            <a:r>
              <a:rPr lang="en-US" sz="1200" b="0" i="1" kern="1200" dirty="0" smtClean="0">
                <a:solidFill>
                  <a:schemeClr val="tx1"/>
                </a:solidFill>
                <a:effectLst/>
                <a:latin typeface="+mn-lt"/>
                <a:ea typeface="+mn-ea"/>
                <a:cs typeface="+mn-cs"/>
              </a:rPr>
              <a:t>either</a:t>
            </a:r>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in a pure OA journal/platform, </a:t>
            </a:r>
            <a:r>
              <a:rPr lang="en-US" sz="1200" b="0" i="1" kern="1200" dirty="0" smtClean="0">
                <a:solidFill>
                  <a:schemeClr val="tx1"/>
                </a:solidFill>
                <a:effectLst/>
                <a:latin typeface="+mn-lt"/>
                <a:ea typeface="+mn-ea"/>
                <a:cs typeface="+mn-cs"/>
              </a:rPr>
              <a:t>or</a:t>
            </a:r>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on a OA repository, </a:t>
            </a:r>
            <a:r>
              <a:rPr lang="en-US" sz="1200" b="0" i="1" kern="1200" dirty="0" smtClean="0">
                <a:solidFill>
                  <a:schemeClr val="tx1"/>
                </a:solidFill>
                <a:effectLst/>
                <a:latin typeface="+mn-lt"/>
                <a:ea typeface="+mn-ea"/>
                <a:cs typeface="+mn-cs"/>
              </a:rPr>
              <a:t>or</a:t>
            </a:r>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in a hybrid OA journal under a </a:t>
            </a:r>
            <a:r>
              <a:rPr lang="en-US" sz="1200" b="0" i="0" kern="1200" dirty="0" err="1" smtClean="0">
                <a:solidFill>
                  <a:schemeClr val="tx1"/>
                </a:solidFill>
                <a:effectLst/>
                <a:latin typeface="+mn-lt"/>
                <a:ea typeface="+mn-ea"/>
                <a:cs typeface="+mn-cs"/>
              </a:rPr>
              <a:t>tansformative</a:t>
            </a:r>
            <a:r>
              <a:rPr lang="en-US" sz="1200" b="0" i="0" kern="1200" dirty="0" smtClean="0">
                <a:solidFill>
                  <a:schemeClr val="tx1"/>
                </a:solidFill>
                <a:effectLst/>
                <a:latin typeface="+mn-lt"/>
                <a:ea typeface="+mn-ea"/>
                <a:cs typeface="+mn-cs"/>
              </a:rPr>
              <a:t> agreement.</a:t>
            </a:r>
          </a:p>
          <a:p>
            <a:r>
              <a:rPr lang="en-US" sz="1200" b="0" i="0" kern="1200" dirty="0" smtClean="0">
                <a:solidFill>
                  <a:schemeClr val="tx1"/>
                </a:solidFill>
                <a:effectLst/>
                <a:latin typeface="+mn-lt"/>
                <a:ea typeface="+mn-ea"/>
                <a:cs typeface="+mn-cs"/>
              </a:rPr>
              <a:t>For each of these options you can start with the corresponding node and follow all edges to see the needed requirements.</a:t>
            </a:r>
          </a:p>
          <a:p>
            <a:r>
              <a:rPr lang="en-US" sz="1200" b="1" i="0" kern="1200" dirty="0" smtClean="0">
                <a:solidFill>
                  <a:schemeClr val="tx1"/>
                </a:solidFill>
                <a:effectLst/>
                <a:latin typeface="+mn-lt"/>
                <a:ea typeface="+mn-ea"/>
                <a:cs typeface="+mn-cs"/>
              </a:rPr>
              <a:t>For example</a:t>
            </a:r>
            <a:r>
              <a:rPr lang="en-US" sz="1200" b="0" i="0" kern="1200" dirty="0" smtClean="0">
                <a:solidFill>
                  <a:schemeClr val="tx1"/>
                </a:solidFill>
                <a:effectLst/>
                <a:latin typeface="+mn-lt"/>
                <a:ea typeface="+mn-ea"/>
                <a:cs typeface="+mn-cs"/>
              </a:rPr>
              <a:t>: A publication in a OA repository is Plan S compliant if the main requirements are fulfilled, the repository fulfills the connected metadata, organizational, and technical requirements, and moreover the corresponding journal/venue fulfills its connected metadata, technical, and self-archiving policy requirements. Alternatively, one can look at the colors and in this example needs to fulfill all green and blue requirements.</a:t>
            </a:r>
          </a:p>
          <a:p>
            <a:endParaRPr lang="en-US" sz="1200" b="0" i="0" kern="1200" dirty="0" smtClean="0">
              <a:solidFill>
                <a:schemeClr val="tx1"/>
              </a:solidFill>
              <a:effectLst/>
              <a:latin typeface="+mn-lt"/>
              <a:ea typeface="+mn-ea"/>
              <a:cs typeface="+mn-cs"/>
            </a:endParaRPr>
          </a:p>
          <a:p>
            <a:r>
              <a:rPr lang="en-GB" sz="1200" b="0" i="0" kern="1200" dirty="0" smtClean="0">
                <a:solidFill>
                  <a:schemeClr val="tx1"/>
                </a:solidFill>
                <a:effectLst/>
                <a:latin typeface="+mn-lt"/>
                <a:ea typeface="+mn-ea"/>
                <a:cs typeface="+mn-cs"/>
              </a:rPr>
              <a:t>Contributors: </a:t>
            </a:r>
            <a:r>
              <a:rPr lang="en-GB" sz="1200" b="0" i="0" u="none" strike="noStrike" kern="1200" dirty="0" smtClean="0">
                <a:solidFill>
                  <a:schemeClr val="tx1"/>
                </a:solidFill>
                <a:effectLst/>
                <a:latin typeface="+mn-lt"/>
                <a:ea typeface="+mn-ea"/>
                <a:cs typeface="+mn-cs"/>
                <a:hlinkClick r:id="rId3" tooltip="Philipp Zumstein"/>
              </a:rPr>
              <a:t>Philipp </a:t>
            </a:r>
            <a:r>
              <a:rPr lang="en-GB" sz="1200" b="0" i="0" u="none" strike="noStrike" kern="1200" dirty="0" err="1" smtClean="0">
                <a:solidFill>
                  <a:schemeClr val="tx1"/>
                </a:solidFill>
                <a:effectLst/>
                <a:latin typeface="+mn-lt"/>
                <a:ea typeface="+mn-ea"/>
                <a:cs typeface="+mn-cs"/>
                <a:hlinkClick r:id="rId3" tooltip="Philipp Zumstein"/>
              </a:rPr>
              <a:t>Zumstein</a:t>
            </a:r>
            <a:endParaRPr lang="en-GB" sz="1200" b="0" i="0" kern="1200" dirty="0" smtClean="0">
              <a:solidFill>
                <a:schemeClr val="tx1"/>
              </a:solidFill>
              <a:effectLst/>
              <a:latin typeface="+mn-lt"/>
              <a:ea typeface="+mn-ea"/>
              <a:cs typeface="+mn-cs"/>
            </a:endParaRPr>
          </a:p>
          <a:p>
            <a:r>
              <a:rPr lang="en-GB" sz="1200" b="0" i="0" kern="1200" dirty="0" smtClean="0">
                <a:solidFill>
                  <a:schemeClr val="tx1"/>
                </a:solidFill>
                <a:effectLst/>
                <a:latin typeface="+mn-lt"/>
                <a:ea typeface="+mn-ea"/>
                <a:cs typeface="+mn-cs"/>
              </a:rPr>
              <a:t>Date created: 2019-01-03 05:38 PM | Last Updated: 2019-01-12 02:57 PM</a:t>
            </a:r>
          </a:p>
          <a:p>
            <a:r>
              <a:rPr lang="en-GB" sz="1200" b="0" i="0" kern="1200" dirty="0" smtClean="0">
                <a:solidFill>
                  <a:schemeClr val="tx1"/>
                </a:solidFill>
                <a:effectLst/>
                <a:latin typeface="+mn-lt"/>
                <a:ea typeface="+mn-ea"/>
                <a:cs typeface="+mn-cs"/>
              </a:rPr>
              <a:t>Identifier: DOI 10.17605/OSF.IO/DY6V7</a:t>
            </a:r>
          </a:p>
          <a:p>
            <a:r>
              <a:rPr lang="en-GB" sz="1200" b="0" i="0" kern="1200" dirty="0" smtClean="0">
                <a:solidFill>
                  <a:schemeClr val="tx1"/>
                </a:solidFill>
                <a:effectLst/>
                <a:latin typeface="+mn-lt"/>
                <a:ea typeface="+mn-ea"/>
                <a:cs typeface="+mn-cs"/>
              </a:rPr>
              <a:t>Category:  Project</a:t>
            </a:r>
          </a:p>
          <a:p>
            <a:r>
              <a:rPr lang="en-GB" sz="1200" b="0" i="0" kern="1200" dirty="0" smtClean="0">
                <a:solidFill>
                  <a:schemeClr val="tx1"/>
                </a:solidFill>
                <a:effectLst/>
                <a:latin typeface="+mn-lt"/>
                <a:ea typeface="+mn-ea"/>
                <a:cs typeface="+mn-cs"/>
              </a:rPr>
              <a:t>Description: This diagram shows requirements for Plan S compliance in one page.</a:t>
            </a:r>
          </a:p>
          <a:p>
            <a:endParaRPr lang="en-US" sz="1200" b="0" i="0" kern="1200" dirty="0" smtClean="0">
              <a:solidFill>
                <a:schemeClr val="tx1"/>
              </a:solidFill>
              <a:effectLst/>
              <a:latin typeface="+mn-lt"/>
              <a:ea typeface="+mn-ea"/>
              <a:cs typeface="+mn-cs"/>
            </a:endParaRPr>
          </a:p>
          <a:p>
            <a:endParaRPr lang="en-GB" dirty="0"/>
          </a:p>
        </p:txBody>
      </p:sp>
      <p:sp>
        <p:nvSpPr>
          <p:cNvPr id="4" name="Slide Number Placeholder 3"/>
          <p:cNvSpPr>
            <a:spLocks noGrp="1"/>
          </p:cNvSpPr>
          <p:nvPr>
            <p:ph type="sldNum" sz="quarter" idx="10"/>
          </p:nvPr>
        </p:nvSpPr>
        <p:spPr/>
        <p:txBody>
          <a:bodyPr/>
          <a:lstStyle/>
          <a:p>
            <a:fld id="{273DC81D-38FA-4EFB-A816-49076D4E1450}" type="slidenum">
              <a:rPr lang="de-DE" smtClean="0"/>
              <a:t>31</a:t>
            </a:fld>
            <a:endParaRPr lang="de-DE"/>
          </a:p>
        </p:txBody>
      </p:sp>
    </p:spTree>
    <p:extLst>
      <p:ext uri="{BB962C8B-B14F-4D97-AF65-F5344CB8AC3E}">
        <p14:creationId xmlns:p14="http://schemas.microsoft.com/office/powerpoint/2010/main" val="29444723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As Patron Demand</a:t>
            </a:r>
            <a:r>
              <a:rPr lang="en-US" sz="1200" b="0" i="0" kern="1200" baseline="0" dirty="0" smtClean="0">
                <a:solidFill>
                  <a:schemeClr val="tx1"/>
                </a:solidFill>
                <a:effectLst/>
                <a:latin typeface="+mn-lt"/>
                <a:ea typeface="+mn-ea"/>
                <a:cs typeface="+mn-cs"/>
              </a:rPr>
              <a:t> for </a:t>
            </a:r>
            <a:r>
              <a:rPr lang="en-US" sz="1200" b="0" i="0" kern="1200" dirty="0" smtClean="0">
                <a:solidFill>
                  <a:schemeClr val="tx1"/>
                </a:solidFill>
                <a:effectLst/>
                <a:latin typeface="+mn-lt"/>
                <a:ea typeface="+mn-ea"/>
                <a:cs typeface="+mn-cs"/>
              </a:rPr>
              <a:t>Digital Services upward trajectory (as Louise showed us yesterday in the graph). In</a:t>
            </a:r>
            <a:r>
              <a:rPr lang="en-US" sz="1200" b="0" i="0" kern="1200" baseline="0" dirty="0" smtClean="0">
                <a:solidFill>
                  <a:schemeClr val="tx1"/>
                </a:solidFill>
                <a:effectLst/>
                <a:latin typeface="+mn-lt"/>
                <a:ea typeface="+mn-ea"/>
                <a:cs typeface="+mn-cs"/>
              </a:rPr>
              <a:t> past focused on access to content, but now think about “access” in a wider perspective.</a:t>
            </a:r>
          </a:p>
          <a:p>
            <a:r>
              <a:rPr lang="en-US" sz="1200" b="0" i="0" kern="1200" baseline="0" dirty="0" smtClean="0">
                <a:solidFill>
                  <a:schemeClr val="tx1"/>
                </a:solidFill>
                <a:effectLst/>
                <a:latin typeface="+mn-lt"/>
                <a:ea typeface="+mn-ea"/>
                <a:cs typeface="+mn-cs"/>
              </a:rPr>
              <a:t>Think of text mining (we can offer the technology, but if we cannot interrogate the body of content behind paywalls, missing a huge piece of knowledge), digital humanities, digital use and reuse of scholarship</a:t>
            </a:r>
          </a:p>
          <a:p>
            <a:r>
              <a:rPr lang="en-US" sz="1200" b="0" i="0" kern="1200" baseline="0" dirty="0" smtClean="0">
                <a:solidFill>
                  <a:schemeClr val="tx1"/>
                </a:solidFill>
                <a:effectLst/>
                <a:latin typeface="+mn-lt"/>
                <a:ea typeface="+mn-ea"/>
                <a:cs typeface="+mn-cs"/>
              </a:rPr>
              <a:t>Want to advance open scholarship BUT researchers want to publish in the journals they know and trust</a:t>
            </a:r>
          </a:p>
          <a:p>
            <a:endParaRPr lang="en-US" sz="1200" b="0" i="0" kern="1200" baseline="0" dirty="0" smtClean="0">
              <a:solidFill>
                <a:schemeClr val="tx1"/>
              </a:solidFill>
              <a:effectLst/>
              <a:latin typeface="+mn-lt"/>
              <a:ea typeface="+mn-ea"/>
              <a:cs typeface="+mn-cs"/>
            </a:endParaRPr>
          </a:p>
          <a:p>
            <a:r>
              <a:rPr lang="en-US" sz="1200" b="0" i="0" kern="1200" baseline="0" dirty="0" smtClean="0">
                <a:solidFill>
                  <a:schemeClr val="tx1"/>
                </a:solidFill>
                <a:effectLst/>
                <a:latin typeface="+mn-lt"/>
                <a:ea typeface="+mn-ea"/>
                <a:cs typeface="+mn-cs"/>
              </a:rPr>
              <a:t>Help academic staff make sense of what is happening and navigate scholarly communications.</a:t>
            </a:r>
          </a:p>
          <a:p>
            <a:r>
              <a:rPr lang="en-US" sz="1200" b="0" i="0" kern="1200" baseline="0" dirty="0" smtClean="0">
                <a:solidFill>
                  <a:schemeClr val="tx1"/>
                </a:solidFill>
                <a:effectLst/>
                <a:latin typeface="+mn-lt"/>
                <a:ea typeface="+mn-ea"/>
                <a:cs typeface="+mn-cs"/>
              </a:rPr>
              <a:t>Need to be PROACTIVE</a:t>
            </a:r>
          </a:p>
          <a:p>
            <a:r>
              <a:rPr lang="en-US" sz="1200" b="0" i="0" kern="1200" baseline="0" dirty="0" smtClean="0">
                <a:solidFill>
                  <a:schemeClr val="tx1"/>
                </a:solidFill>
                <a:effectLst/>
                <a:latin typeface="+mn-lt"/>
                <a:ea typeface="+mn-ea"/>
                <a:cs typeface="+mn-cs"/>
              </a:rPr>
              <a:t>We cannot stand still, we need to be anticipating</a:t>
            </a:r>
            <a:endParaRPr lang="en-US" sz="1200" b="0" i="0" kern="1200" dirty="0" smtClean="0">
              <a:solidFill>
                <a:schemeClr val="tx1"/>
              </a:solidFill>
              <a:effectLst/>
              <a:latin typeface="+mn-lt"/>
              <a:ea typeface="+mn-ea"/>
              <a:cs typeface="+mn-cs"/>
            </a:endParaRPr>
          </a:p>
          <a:p>
            <a:endParaRPr lang="en-US" sz="1200" b="0" i="0" kern="1200" dirty="0" smtClean="0">
              <a:solidFill>
                <a:schemeClr val="tx1"/>
              </a:solidFill>
              <a:effectLst/>
              <a:latin typeface="+mn-lt"/>
              <a:ea typeface="+mn-ea"/>
              <a:cs typeface="+mn-cs"/>
            </a:endParaRPr>
          </a:p>
          <a:p>
            <a:endParaRPr lang="en-US" sz="1200" b="0" i="0" kern="1200" dirty="0" smtClean="0">
              <a:solidFill>
                <a:schemeClr val="tx1"/>
              </a:solidFill>
              <a:effectLst/>
              <a:latin typeface="+mn-lt"/>
              <a:ea typeface="+mn-ea"/>
              <a:cs typeface="+mn-cs"/>
            </a:endParaRP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Subscriptions</a:t>
            </a:r>
            <a:r>
              <a:rPr lang="en-US" sz="1200" b="0" i="0" kern="1200" baseline="0" dirty="0" smtClean="0">
                <a:solidFill>
                  <a:schemeClr val="tx1"/>
                </a:solidFill>
                <a:effectLst/>
                <a:latin typeface="+mn-lt"/>
                <a:ea typeface="+mn-ea"/>
                <a:cs typeface="+mn-cs"/>
              </a:rPr>
              <a:t> have no place in the digital world</a:t>
            </a:r>
          </a:p>
          <a:p>
            <a:r>
              <a:rPr lang="en-US" sz="1200" b="0" i="0" kern="1200" baseline="0" dirty="0" smtClean="0">
                <a:solidFill>
                  <a:schemeClr val="tx1"/>
                </a:solidFill>
                <a:effectLst/>
                <a:latin typeface="+mn-lt"/>
                <a:ea typeface="+mn-ea"/>
                <a:cs typeface="+mn-cs"/>
              </a:rPr>
              <a:t>Today we demand everything immediately, fast-paced, everything at our fingertips. But science</a:t>
            </a:r>
            <a:r>
              <a:rPr lang="x-none" sz="1200" b="0" i="0" kern="1200" baseline="0" dirty="0" smtClean="0">
                <a:solidFill>
                  <a:schemeClr val="tx1"/>
                </a:solidFill>
                <a:effectLst/>
                <a:latin typeface="+mn-lt"/>
                <a:ea typeface="+mn-ea"/>
                <a:cs typeface="+mn-cs"/>
              </a:rPr>
              <a:t>—</a:t>
            </a:r>
            <a:r>
              <a:rPr lang="en-US" sz="1200" b="0" i="0" kern="1200" baseline="0" dirty="0" smtClean="0">
                <a:solidFill>
                  <a:schemeClr val="tx1"/>
                </a:solidFill>
                <a:effectLst/>
                <a:latin typeface="+mn-lt"/>
                <a:ea typeface="+mn-ea"/>
                <a:cs typeface="+mn-cs"/>
              </a:rPr>
              <a:t>most important</a:t>
            </a:r>
            <a:r>
              <a:rPr lang="x-none" sz="1200" b="0" i="0" kern="1200" baseline="0" dirty="0" smtClean="0">
                <a:solidFill>
                  <a:schemeClr val="tx1"/>
                </a:solidFill>
                <a:effectLst/>
                <a:latin typeface="+mn-lt"/>
                <a:ea typeface="+mn-ea"/>
                <a:cs typeface="+mn-cs"/>
              </a:rPr>
              <a:t>—</a:t>
            </a:r>
            <a:r>
              <a:rPr lang="en-US" sz="1200" b="0" i="0" kern="1200" baseline="0" dirty="0" smtClean="0">
                <a:solidFill>
                  <a:schemeClr val="tx1"/>
                </a:solidFill>
                <a:effectLst/>
                <a:latin typeface="+mn-lt"/>
                <a:ea typeface="+mn-ea"/>
                <a:cs typeface="+mn-cs"/>
              </a:rPr>
              <a:t>is hidden from us.</a:t>
            </a:r>
          </a:p>
          <a:p>
            <a:r>
              <a:rPr lang="en-US" sz="1200" b="0" i="0" kern="1200" baseline="0" dirty="0" smtClean="0">
                <a:solidFill>
                  <a:schemeClr val="tx1"/>
                </a:solidFill>
                <a:effectLst/>
                <a:latin typeface="+mn-lt"/>
                <a:ea typeface="+mn-ea"/>
                <a:cs typeface="+mn-cs"/>
              </a:rPr>
              <a:t>Capabilities of using research in new ways with technology, but in order to articles to be published they sign away the rights</a:t>
            </a:r>
            <a:r>
              <a:rPr lang="x-none" sz="1200" b="0" i="0" kern="1200" baseline="0" dirty="0" smtClean="0">
                <a:solidFill>
                  <a:schemeClr val="tx1"/>
                </a:solidFill>
                <a:effectLst/>
                <a:latin typeface="+mn-lt"/>
                <a:ea typeface="+mn-ea"/>
                <a:cs typeface="+mn-cs"/>
              </a:rPr>
              <a:t>…</a:t>
            </a:r>
            <a:r>
              <a:rPr lang="en-GB" sz="1200" b="0" i="0" kern="1200" baseline="0" dirty="0" smtClean="0">
                <a:solidFill>
                  <a:schemeClr val="tx1"/>
                </a:solidFill>
                <a:effectLst/>
                <a:latin typeface="+mn-lt"/>
                <a:ea typeface="+mn-ea"/>
                <a:cs typeface="+mn-cs"/>
              </a:rPr>
              <a:t>have to pay again to use the fruits of their own research. </a:t>
            </a:r>
            <a:endParaRPr lang="en-US" sz="1200" b="0" i="0" kern="1200" dirty="0" smtClean="0">
              <a:solidFill>
                <a:schemeClr val="tx1"/>
              </a:solidFill>
              <a:effectLst/>
              <a:latin typeface="+mn-lt"/>
              <a:ea typeface="+mn-ea"/>
              <a:cs typeface="+mn-cs"/>
            </a:endParaRP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Server log data for the website </a:t>
            </a:r>
            <a:r>
              <a:rPr lang="en-US" sz="1200" b="0" i="0" kern="1200" dirty="0" err="1" smtClean="0">
                <a:solidFill>
                  <a:schemeClr val="tx1"/>
                </a:solidFill>
                <a:effectLst/>
                <a:latin typeface="+mn-lt"/>
                <a:ea typeface="+mn-ea"/>
                <a:cs typeface="+mn-cs"/>
              </a:rPr>
              <a:t>Sci</a:t>
            </a:r>
            <a:r>
              <a:rPr lang="en-US" sz="1200" b="0" i="0" kern="1200" dirty="0" smtClean="0">
                <a:solidFill>
                  <a:schemeClr val="tx1"/>
                </a:solidFill>
                <a:effectLst/>
                <a:latin typeface="+mn-lt"/>
                <a:ea typeface="+mn-ea"/>
                <a:cs typeface="+mn-cs"/>
              </a:rPr>
              <a:t>-Hub from September 2015 through February paint a revealing portrait of its users and their diverse interests. </a:t>
            </a:r>
            <a:r>
              <a:rPr lang="en-US" sz="1200" b="0" i="0" kern="1200" dirty="0" err="1" smtClean="0">
                <a:solidFill>
                  <a:schemeClr val="tx1"/>
                </a:solidFill>
                <a:effectLst/>
                <a:latin typeface="+mn-lt"/>
                <a:ea typeface="+mn-ea"/>
                <a:cs typeface="+mn-cs"/>
              </a:rPr>
              <a:t>Sci</a:t>
            </a:r>
            <a:r>
              <a:rPr lang="en-US" sz="1200" b="0" i="0" kern="1200" dirty="0" smtClean="0">
                <a:solidFill>
                  <a:schemeClr val="tx1"/>
                </a:solidFill>
                <a:effectLst/>
                <a:latin typeface="+mn-lt"/>
                <a:ea typeface="+mn-ea"/>
                <a:cs typeface="+mn-cs"/>
              </a:rPr>
              <a:t>-Hub had 28 million download requests, from all regions of the world and covering most scientific disciplines.</a:t>
            </a:r>
            <a:endParaRPr lang="en-GB" dirty="0"/>
          </a:p>
        </p:txBody>
      </p:sp>
      <p:sp>
        <p:nvSpPr>
          <p:cNvPr id="4" name="Slide Number Placeholder 3"/>
          <p:cNvSpPr>
            <a:spLocks noGrp="1"/>
          </p:cNvSpPr>
          <p:nvPr>
            <p:ph type="sldNum" sz="quarter" idx="10"/>
          </p:nvPr>
        </p:nvSpPr>
        <p:spPr/>
        <p:txBody>
          <a:bodyPr/>
          <a:lstStyle/>
          <a:p>
            <a:fld id="{273DC81D-38FA-4EFB-A816-49076D4E1450}" type="slidenum">
              <a:rPr lang="de-DE" smtClean="0"/>
              <a:t>2</a:t>
            </a:fld>
            <a:endParaRPr lang="de-DE"/>
          </a:p>
        </p:txBody>
      </p:sp>
    </p:spTree>
    <p:extLst>
      <p:ext uri="{BB962C8B-B14F-4D97-AF65-F5344CB8AC3E}">
        <p14:creationId xmlns:p14="http://schemas.microsoft.com/office/powerpoint/2010/main" val="192259111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mn-lt"/>
                <a:ea typeface="+mn-ea"/>
                <a:cs typeface="+mn-cs"/>
              </a:rPr>
              <a:t>A publication can be Plan S compliant </a:t>
            </a:r>
            <a:r>
              <a:rPr lang="en-US" sz="1200" b="0" i="1" kern="1200" dirty="0" smtClean="0">
                <a:solidFill>
                  <a:schemeClr val="tx1"/>
                </a:solidFill>
                <a:effectLst/>
                <a:latin typeface="+mn-lt"/>
                <a:ea typeface="+mn-ea"/>
                <a:cs typeface="+mn-cs"/>
              </a:rPr>
              <a:t>either</a:t>
            </a:r>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in a pure OA journal/platform, </a:t>
            </a:r>
            <a:r>
              <a:rPr lang="en-US" sz="1200" b="0" i="1" kern="1200" dirty="0" smtClean="0">
                <a:solidFill>
                  <a:schemeClr val="tx1"/>
                </a:solidFill>
                <a:effectLst/>
                <a:latin typeface="+mn-lt"/>
                <a:ea typeface="+mn-ea"/>
                <a:cs typeface="+mn-cs"/>
              </a:rPr>
              <a:t>or</a:t>
            </a:r>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on a OA repository, </a:t>
            </a:r>
            <a:r>
              <a:rPr lang="en-US" sz="1200" b="0" i="1" kern="1200" dirty="0" smtClean="0">
                <a:solidFill>
                  <a:schemeClr val="tx1"/>
                </a:solidFill>
                <a:effectLst/>
                <a:latin typeface="+mn-lt"/>
                <a:ea typeface="+mn-ea"/>
                <a:cs typeface="+mn-cs"/>
              </a:rPr>
              <a:t>or</a:t>
            </a:r>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in a hybrid OA journal under a </a:t>
            </a:r>
            <a:r>
              <a:rPr lang="en-US" sz="1200" b="0" i="0" kern="1200" dirty="0" err="1" smtClean="0">
                <a:solidFill>
                  <a:schemeClr val="tx1"/>
                </a:solidFill>
                <a:effectLst/>
                <a:latin typeface="+mn-lt"/>
                <a:ea typeface="+mn-ea"/>
                <a:cs typeface="+mn-cs"/>
              </a:rPr>
              <a:t>tansformative</a:t>
            </a:r>
            <a:r>
              <a:rPr lang="en-US" sz="1200" b="0" i="0" kern="1200" dirty="0" smtClean="0">
                <a:solidFill>
                  <a:schemeClr val="tx1"/>
                </a:solidFill>
                <a:effectLst/>
                <a:latin typeface="+mn-lt"/>
                <a:ea typeface="+mn-ea"/>
                <a:cs typeface="+mn-cs"/>
              </a:rPr>
              <a:t> agreement.</a:t>
            </a:r>
          </a:p>
          <a:p>
            <a:r>
              <a:rPr lang="en-US" sz="1200" b="0" i="0" kern="1200" dirty="0" smtClean="0">
                <a:solidFill>
                  <a:schemeClr val="tx1"/>
                </a:solidFill>
                <a:effectLst/>
                <a:latin typeface="+mn-lt"/>
                <a:ea typeface="+mn-ea"/>
                <a:cs typeface="+mn-cs"/>
              </a:rPr>
              <a:t>For each of these options you can start with the corresponding node and follow all edges to see the needed requirements.</a:t>
            </a:r>
          </a:p>
          <a:p>
            <a:r>
              <a:rPr lang="en-US" sz="1200" b="1" i="0" kern="1200" dirty="0" smtClean="0">
                <a:solidFill>
                  <a:schemeClr val="tx1"/>
                </a:solidFill>
                <a:effectLst/>
                <a:latin typeface="+mn-lt"/>
                <a:ea typeface="+mn-ea"/>
                <a:cs typeface="+mn-cs"/>
              </a:rPr>
              <a:t>For example</a:t>
            </a:r>
            <a:r>
              <a:rPr lang="en-US" sz="1200" b="0" i="0" kern="1200" dirty="0" smtClean="0">
                <a:solidFill>
                  <a:schemeClr val="tx1"/>
                </a:solidFill>
                <a:effectLst/>
                <a:latin typeface="+mn-lt"/>
                <a:ea typeface="+mn-ea"/>
                <a:cs typeface="+mn-cs"/>
              </a:rPr>
              <a:t>: A publication in a OA repository is Plan S compliant if the main requirements are fulfilled, the repository fulfills the connected metadata, organizational, and technical requirements, and moreover the corresponding journal/venue fulfills its connected metadata, technical, and self-archiving policy requirements. Alternatively, one can look at the colors and in this example needs to fulfill all green and blue requirements.</a:t>
            </a:r>
          </a:p>
          <a:p>
            <a:endParaRPr lang="en-US" sz="1200" b="0" i="0" kern="1200" dirty="0" smtClean="0">
              <a:solidFill>
                <a:schemeClr val="tx1"/>
              </a:solidFill>
              <a:effectLst/>
              <a:latin typeface="+mn-lt"/>
              <a:ea typeface="+mn-ea"/>
              <a:cs typeface="+mn-cs"/>
            </a:endParaRPr>
          </a:p>
          <a:p>
            <a:r>
              <a:rPr lang="en-GB" sz="1200" b="0" i="0" kern="1200" dirty="0" smtClean="0">
                <a:solidFill>
                  <a:schemeClr val="tx1"/>
                </a:solidFill>
                <a:effectLst/>
                <a:latin typeface="+mn-lt"/>
                <a:ea typeface="+mn-ea"/>
                <a:cs typeface="+mn-cs"/>
              </a:rPr>
              <a:t>Contributors: </a:t>
            </a:r>
            <a:r>
              <a:rPr lang="en-GB" sz="1200" b="0" i="0" u="none" strike="noStrike" kern="1200" dirty="0" smtClean="0">
                <a:solidFill>
                  <a:schemeClr val="tx1"/>
                </a:solidFill>
                <a:effectLst/>
                <a:latin typeface="+mn-lt"/>
                <a:ea typeface="+mn-ea"/>
                <a:cs typeface="+mn-cs"/>
                <a:hlinkClick r:id="rId3" tooltip="Philipp Zumstein"/>
              </a:rPr>
              <a:t>Philipp </a:t>
            </a:r>
            <a:r>
              <a:rPr lang="en-GB" sz="1200" b="0" i="0" u="none" strike="noStrike" kern="1200" dirty="0" err="1" smtClean="0">
                <a:solidFill>
                  <a:schemeClr val="tx1"/>
                </a:solidFill>
                <a:effectLst/>
                <a:latin typeface="+mn-lt"/>
                <a:ea typeface="+mn-ea"/>
                <a:cs typeface="+mn-cs"/>
                <a:hlinkClick r:id="rId3" tooltip="Philipp Zumstein"/>
              </a:rPr>
              <a:t>Zumstein</a:t>
            </a:r>
            <a:endParaRPr lang="en-GB" sz="1200" b="0" i="0" kern="1200" dirty="0" smtClean="0">
              <a:solidFill>
                <a:schemeClr val="tx1"/>
              </a:solidFill>
              <a:effectLst/>
              <a:latin typeface="+mn-lt"/>
              <a:ea typeface="+mn-ea"/>
              <a:cs typeface="+mn-cs"/>
            </a:endParaRPr>
          </a:p>
          <a:p>
            <a:r>
              <a:rPr lang="en-GB" sz="1200" b="0" i="0" kern="1200" dirty="0" smtClean="0">
                <a:solidFill>
                  <a:schemeClr val="tx1"/>
                </a:solidFill>
                <a:effectLst/>
                <a:latin typeface="+mn-lt"/>
                <a:ea typeface="+mn-ea"/>
                <a:cs typeface="+mn-cs"/>
              </a:rPr>
              <a:t>Date created: 2019-01-03 05:38 PM | Last Updated: 2019-01-12 02:57 PM</a:t>
            </a:r>
          </a:p>
          <a:p>
            <a:r>
              <a:rPr lang="en-GB" sz="1200" b="0" i="0" kern="1200" dirty="0" smtClean="0">
                <a:solidFill>
                  <a:schemeClr val="tx1"/>
                </a:solidFill>
                <a:effectLst/>
                <a:latin typeface="+mn-lt"/>
                <a:ea typeface="+mn-ea"/>
                <a:cs typeface="+mn-cs"/>
              </a:rPr>
              <a:t>Identifier: DOI 10.17605/OSF.IO/DY6V7</a:t>
            </a:r>
          </a:p>
          <a:p>
            <a:r>
              <a:rPr lang="en-GB" sz="1200" b="0" i="0" kern="1200" dirty="0" smtClean="0">
                <a:solidFill>
                  <a:schemeClr val="tx1"/>
                </a:solidFill>
                <a:effectLst/>
                <a:latin typeface="+mn-lt"/>
                <a:ea typeface="+mn-ea"/>
                <a:cs typeface="+mn-cs"/>
              </a:rPr>
              <a:t>Category:  Project</a:t>
            </a:r>
          </a:p>
          <a:p>
            <a:r>
              <a:rPr lang="en-GB" sz="1200" b="0" i="0" kern="1200" dirty="0" smtClean="0">
                <a:solidFill>
                  <a:schemeClr val="tx1"/>
                </a:solidFill>
                <a:effectLst/>
                <a:latin typeface="+mn-lt"/>
                <a:ea typeface="+mn-ea"/>
                <a:cs typeface="+mn-cs"/>
              </a:rPr>
              <a:t>Description: This diagram shows requirements for Plan S compliance in one page.</a:t>
            </a:r>
          </a:p>
          <a:p>
            <a:endParaRPr lang="en-US" sz="1200" b="0" i="0" kern="1200" dirty="0" smtClean="0">
              <a:solidFill>
                <a:schemeClr val="tx1"/>
              </a:solidFill>
              <a:effectLst/>
              <a:latin typeface="+mn-lt"/>
              <a:ea typeface="+mn-ea"/>
              <a:cs typeface="+mn-cs"/>
            </a:endParaRPr>
          </a:p>
          <a:p>
            <a:endParaRPr lang="en-GB" dirty="0"/>
          </a:p>
        </p:txBody>
      </p:sp>
      <p:sp>
        <p:nvSpPr>
          <p:cNvPr id="4" name="Slide Number Placeholder 3"/>
          <p:cNvSpPr>
            <a:spLocks noGrp="1"/>
          </p:cNvSpPr>
          <p:nvPr>
            <p:ph type="sldNum" sz="quarter" idx="10"/>
          </p:nvPr>
        </p:nvSpPr>
        <p:spPr/>
        <p:txBody>
          <a:bodyPr/>
          <a:lstStyle/>
          <a:p>
            <a:fld id="{273DC81D-38FA-4EFB-A816-49076D4E1450}" type="slidenum">
              <a:rPr lang="de-DE" smtClean="0"/>
              <a:t>32</a:t>
            </a:fld>
            <a:endParaRPr lang="de-DE"/>
          </a:p>
        </p:txBody>
      </p:sp>
    </p:spTree>
    <p:extLst>
      <p:ext uri="{BB962C8B-B14F-4D97-AF65-F5344CB8AC3E}">
        <p14:creationId xmlns:p14="http://schemas.microsoft.com/office/powerpoint/2010/main" val="297547419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mn-lt"/>
                <a:ea typeface="+mn-ea"/>
                <a:cs typeface="+mn-cs"/>
              </a:rPr>
              <a:t>Researchers obtain grant funding, usually from federal agencies</a:t>
            </a:r>
          </a:p>
          <a:p>
            <a:r>
              <a:rPr lang="en-US" sz="1200" b="0" i="0" kern="1200" dirty="0" smtClean="0">
                <a:solidFill>
                  <a:schemeClr val="tx1"/>
                </a:solidFill>
                <a:effectLst/>
                <a:latin typeface="+mn-lt"/>
                <a:ea typeface="+mn-ea"/>
                <a:cs typeface="+mn-cs"/>
              </a:rPr>
              <a:t>Researchers use those monies to pay for labs, equipment, grad students, etc. to carry out their research</a:t>
            </a:r>
          </a:p>
          <a:p>
            <a:r>
              <a:rPr lang="en-US" sz="1200" b="0" i="0" kern="1200" dirty="0" smtClean="0">
                <a:solidFill>
                  <a:schemeClr val="tx1"/>
                </a:solidFill>
                <a:effectLst/>
                <a:latin typeface="+mn-lt"/>
                <a:ea typeface="+mn-ea"/>
                <a:cs typeface="+mn-cs"/>
              </a:rPr>
              <a:t>Researchers write up the results of their research and then seek out a journal to publish it in.</a:t>
            </a:r>
          </a:p>
          <a:p>
            <a:r>
              <a:rPr lang="en-US" sz="1200" b="0" i="0" kern="1200" dirty="0" smtClean="0">
                <a:solidFill>
                  <a:schemeClr val="tx1"/>
                </a:solidFill>
                <a:effectLst/>
                <a:latin typeface="+mn-lt"/>
                <a:ea typeface="+mn-ea"/>
                <a:cs typeface="+mn-cs"/>
              </a:rPr>
              <a:t>Publishers accept articles for publication, but require the authors to sign over their copyright, meaning that the journal now owns the article.</a:t>
            </a:r>
          </a:p>
          <a:p>
            <a:r>
              <a:rPr lang="en-US" sz="1200" b="0" i="0" kern="1200" dirty="0" smtClean="0">
                <a:solidFill>
                  <a:schemeClr val="tx1"/>
                </a:solidFill>
                <a:effectLst/>
                <a:latin typeface="+mn-lt"/>
                <a:ea typeface="+mn-ea"/>
                <a:cs typeface="+mn-cs"/>
              </a:rPr>
              <a:t>Publishers sell back the journals to libraries at exorbitant prices</a:t>
            </a:r>
          </a:p>
          <a:p>
            <a:r>
              <a:rPr lang="en-US" sz="1200" b="0" i="0" kern="1200" dirty="0" smtClean="0">
                <a:solidFill>
                  <a:schemeClr val="tx1"/>
                </a:solidFill>
                <a:effectLst/>
                <a:latin typeface="+mn-lt"/>
                <a:ea typeface="+mn-ea"/>
                <a:cs typeface="+mn-cs"/>
              </a:rPr>
              <a:t>Libraries buy the journals because they are essential for research being conducted by faculty and students.</a:t>
            </a:r>
          </a:p>
          <a:p>
            <a:r>
              <a:rPr lang="en-US" sz="1200" b="0" i="0" kern="1200" dirty="0" smtClean="0">
                <a:solidFill>
                  <a:schemeClr val="tx1"/>
                </a:solidFill>
                <a:effectLst/>
                <a:latin typeface="+mn-lt"/>
                <a:ea typeface="+mn-ea"/>
                <a:cs typeface="+mn-cs"/>
              </a:rPr>
              <a:t>Neither authors nor peer reviewers are paid for their services.</a:t>
            </a:r>
          </a:p>
          <a:p>
            <a:endParaRPr lang="en-GB" dirty="0" smtClean="0"/>
          </a:p>
          <a:p>
            <a:endParaRPr lang="en-GB" dirty="0"/>
          </a:p>
        </p:txBody>
      </p:sp>
      <p:sp>
        <p:nvSpPr>
          <p:cNvPr id="4" name="Slide Number Placeholder 3"/>
          <p:cNvSpPr>
            <a:spLocks noGrp="1"/>
          </p:cNvSpPr>
          <p:nvPr>
            <p:ph type="sldNum" sz="quarter" idx="10"/>
          </p:nvPr>
        </p:nvSpPr>
        <p:spPr/>
        <p:txBody>
          <a:bodyPr/>
          <a:lstStyle/>
          <a:p>
            <a:fld id="{273DC81D-38FA-4EFB-A816-49076D4E1450}" type="slidenum">
              <a:rPr lang="de-DE" smtClean="0"/>
              <a:t>33</a:t>
            </a:fld>
            <a:endParaRPr lang="de-DE"/>
          </a:p>
        </p:txBody>
      </p:sp>
    </p:spTree>
    <p:extLst>
      <p:ext uri="{BB962C8B-B14F-4D97-AF65-F5344CB8AC3E}">
        <p14:creationId xmlns:p14="http://schemas.microsoft.com/office/powerpoint/2010/main" val="87653051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What do researchers</a:t>
            </a:r>
            <a:r>
              <a:rPr lang="en-GB" baseline="0" dirty="0" smtClean="0"/>
              <a:t> want?</a:t>
            </a:r>
          </a:p>
          <a:p>
            <a:r>
              <a:rPr lang="en-GB" baseline="0" dirty="0" smtClean="0"/>
              <a:t>They want to publish in their </a:t>
            </a:r>
            <a:r>
              <a:rPr lang="en-GB" baseline="0" dirty="0" err="1" smtClean="0"/>
              <a:t>favorite</a:t>
            </a:r>
            <a:r>
              <a:rPr lang="en-GB" baseline="0" dirty="0" smtClean="0"/>
              <a:t> journals</a:t>
            </a:r>
          </a:p>
          <a:p>
            <a:r>
              <a:rPr lang="en-GB" baseline="0" dirty="0" smtClean="0"/>
              <a:t>They want their work to be widely read and cited</a:t>
            </a:r>
          </a:p>
          <a:p>
            <a:r>
              <a:rPr lang="en-GB" baseline="0" dirty="0" smtClean="0"/>
              <a:t>They want the rights to re-use and share their work</a:t>
            </a:r>
          </a:p>
          <a:p>
            <a:r>
              <a:rPr lang="en-GB" baseline="0" dirty="0" smtClean="0"/>
              <a:t>They want to maintain their existing workflows</a:t>
            </a:r>
          </a:p>
          <a:p>
            <a:r>
              <a:rPr lang="en-GB" baseline="0" dirty="0" smtClean="0"/>
              <a:t>They want access to all existing journals</a:t>
            </a:r>
          </a:p>
          <a:p>
            <a:r>
              <a:rPr lang="en-GB" baseline="0" dirty="0" smtClean="0"/>
              <a:t>They want to make sure there are no publication barriers for anyone</a:t>
            </a:r>
            <a:endParaRPr lang="en-GB" dirty="0"/>
          </a:p>
        </p:txBody>
      </p:sp>
      <p:sp>
        <p:nvSpPr>
          <p:cNvPr id="4" name="Slide Number Placeholder 3"/>
          <p:cNvSpPr>
            <a:spLocks noGrp="1"/>
          </p:cNvSpPr>
          <p:nvPr>
            <p:ph type="sldNum" sz="quarter" idx="10"/>
          </p:nvPr>
        </p:nvSpPr>
        <p:spPr/>
        <p:txBody>
          <a:bodyPr/>
          <a:lstStyle/>
          <a:p>
            <a:fld id="{273DC81D-38FA-4EFB-A816-49076D4E1450}" type="slidenum">
              <a:rPr lang="de-DE" smtClean="0"/>
              <a:t>34</a:t>
            </a:fld>
            <a:endParaRPr lang="de-DE"/>
          </a:p>
        </p:txBody>
      </p:sp>
    </p:spTree>
    <p:extLst>
      <p:ext uri="{BB962C8B-B14F-4D97-AF65-F5344CB8AC3E}">
        <p14:creationId xmlns:p14="http://schemas.microsoft.com/office/powerpoint/2010/main" val="424216548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0"/>
              </a:spcAft>
            </a:pPr>
            <a:r>
              <a:rPr lang="en-GB" dirty="0" smtClean="0">
                <a:solidFill>
                  <a:srgbClr val="1F497D"/>
                </a:solidFill>
                <a:latin typeface="Verdana" panose="020B0604030504040204" pitchFamily="34" charset="0"/>
                <a:ea typeface="Calibri" panose="020F0502020204030204" pitchFamily="34" charset="0"/>
              </a:rPr>
              <a:t>to </a:t>
            </a:r>
            <a:r>
              <a:rPr lang="en-GB" u="sng" dirty="0" smtClean="0">
                <a:solidFill>
                  <a:srgbClr val="1F497D"/>
                </a:solidFill>
                <a:latin typeface="Verdana" panose="020B0604030504040204" pitchFamily="34" charset="0"/>
                <a:ea typeface="Calibri" panose="020F0502020204030204" pitchFamily="34" charset="0"/>
                <a:hlinkClick r:id="rId3"/>
              </a:rPr>
              <a:t>this google sheets</a:t>
            </a:r>
            <a:r>
              <a:rPr lang="en-GB" dirty="0" smtClean="0">
                <a:solidFill>
                  <a:srgbClr val="1F497D"/>
                </a:solidFill>
                <a:latin typeface="Verdana" panose="020B0604030504040204" pitchFamily="34" charset="0"/>
                <a:ea typeface="Calibri" panose="020F0502020204030204" pitchFamily="34" charset="0"/>
              </a:rPr>
              <a:t> document prepared by Bianca Kramer of Utrecht University.</a:t>
            </a:r>
            <a:endParaRPr lang="en-GB" dirty="0" smtClean="0">
              <a:latin typeface="Calibri" panose="020F0502020204030204" pitchFamily="34" charset="0"/>
              <a:ea typeface="Calibri" panose="020F0502020204030204" pitchFamily="34" charset="0"/>
            </a:endParaRPr>
          </a:p>
          <a:p>
            <a:r>
              <a:rPr lang="en-GB" dirty="0" smtClean="0">
                <a:solidFill>
                  <a:srgbClr val="1F497D"/>
                </a:solidFill>
                <a:latin typeface="Verdana" panose="020B0604030504040204" pitchFamily="34" charset="0"/>
                <a:ea typeface="Calibri" panose="020F0502020204030204" pitchFamily="34" charset="0"/>
                <a:cs typeface="Calibri" panose="020F0502020204030204" pitchFamily="34" charset="0"/>
              </a:rPr>
              <a:t>Using a novel method she has made some estimates on the possible impact of Plan S. Using Dimensions and </a:t>
            </a:r>
            <a:r>
              <a:rPr lang="en-GB" dirty="0" err="1" smtClean="0">
                <a:solidFill>
                  <a:srgbClr val="1F497D"/>
                </a:solidFill>
                <a:latin typeface="Verdana" panose="020B0604030504040204" pitchFamily="34" charset="0"/>
                <a:ea typeface="Calibri" panose="020F0502020204030204" pitchFamily="34" charset="0"/>
                <a:cs typeface="Calibri" panose="020F0502020204030204" pitchFamily="34" charset="0"/>
              </a:rPr>
              <a:t>Unpaywall</a:t>
            </a:r>
            <a:r>
              <a:rPr lang="en-GB" dirty="0" smtClean="0">
                <a:solidFill>
                  <a:srgbClr val="1F497D"/>
                </a:solidFill>
                <a:latin typeface="Verdana" panose="020B0604030504040204" pitchFamily="34" charset="0"/>
                <a:ea typeface="Calibri" panose="020F0502020204030204" pitchFamily="34" charset="0"/>
                <a:cs typeface="Calibri" panose="020F0502020204030204" pitchFamily="34" charset="0"/>
              </a:rPr>
              <a:t> she has calculated the amount of publications stemming from funding of all Plan S subscribers and % of OA (full, hybrid, bronze). </a:t>
            </a:r>
            <a:r>
              <a:rPr lang="en-GB" dirty="0" smtClean="0"/>
              <a:t>of course aware of problems using </a:t>
            </a:r>
            <a:r>
              <a:rPr lang="en-GB" dirty="0" err="1" smtClean="0"/>
              <a:t>WoS</a:t>
            </a:r>
            <a:endParaRPr lang="en-GB" dirty="0" smtClean="0"/>
          </a:p>
        </p:txBody>
      </p:sp>
      <p:sp>
        <p:nvSpPr>
          <p:cNvPr id="4" name="Slide Number Placeholder 3"/>
          <p:cNvSpPr>
            <a:spLocks noGrp="1"/>
          </p:cNvSpPr>
          <p:nvPr>
            <p:ph type="sldNum" sz="quarter" idx="10"/>
          </p:nvPr>
        </p:nvSpPr>
        <p:spPr/>
        <p:txBody>
          <a:bodyPr/>
          <a:lstStyle/>
          <a:p>
            <a:fld id="{273DC81D-38FA-4EFB-A816-49076D4E1450}" type="slidenum">
              <a:rPr lang="de-DE" smtClean="0"/>
              <a:t>35</a:t>
            </a:fld>
            <a:endParaRPr lang="de-DE"/>
          </a:p>
        </p:txBody>
      </p:sp>
    </p:spTree>
    <p:extLst>
      <p:ext uri="{BB962C8B-B14F-4D97-AF65-F5344CB8AC3E}">
        <p14:creationId xmlns:p14="http://schemas.microsoft.com/office/powerpoint/2010/main" val="69732597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273DC81D-38FA-4EFB-A816-49076D4E1450}" type="slidenum">
              <a:rPr lang="de-DE" smtClean="0"/>
              <a:t>36</a:t>
            </a:fld>
            <a:endParaRPr lang="de-DE"/>
          </a:p>
        </p:txBody>
      </p:sp>
    </p:spTree>
    <p:extLst>
      <p:ext uri="{BB962C8B-B14F-4D97-AF65-F5344CB8AC3E}">
        <p14:creationId xmlns:p14="http://schemas.microsoft.com/office/powerpoint/2010/main" val="16090043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mn-lt"/>
                <a:ea typeface="+mn-ea"/>
                <a:cs typeface="+mn-cs"/>
              </a:rPr>
              <a:t>Today, the International Society for </a:t>
            </a:r>
            <a:r>
              <a:rPr lang="en-US" sz="1200" b="0" i="0" kern="1200" dirty="0" err="1" smtClean="0">
                <a:solidFill>
                  <a:schemeClr val="tx1"/>
                </a:solidFill>
                <a:effectLst/>
                <a:latin typeface="+mn-lt"/>
                <a:ea typeface="+mn-ea"/>
                <a:cs typeface="+mn-cs"/>
              </a:rPr>
              <a:t>Scientometrics</a:t>
            </a:r>
            <a:r>
              <a:rPr lang="en-US" sz="1200" b="0" i="0" kern="1200" dirty="0" smtClean="0">
                <a:solidFill>
                  <a:schemeClr val="tx1"/>
                </a:solidFill>
                <a:effectLst/>
                <a:latin typeface="+mn-lt"/>
                <a:ea typeface="+mn-ea"/>
                <a:cs typeface="+mn-cs"/>
              </a:rPr>
              <a:t> and </a:t>
            </a:r>
            <a:r>
              <a:rPr lang="en-US" sz="1200" b="0" i="0" kern="1200" dirty="0" err="1" smtClean="0">
                <a:solidFill>
                  <a:schemeClr val="tx1"/>
                </a:solidFill>
                <a:effectLst/>
                <a:latin typeface="+mn-lt"/>
                <a:ea typeface="+mn-ea"/>
                <a:cs typeface="+mn-cs"/>
              </a:rPr>
              <a:t>Informetrics</a:t>
            </a:r>
            <a:r>
              <a:rPr lang="en-US" sz="1200" b="0" i="0" kern="1200" dirty="0" smtClean="0">
                <a:solidFill>
                  <a:schemeClr val="tx1"/>
                </a:solidFill>
                <a:effectLst/>
                <a:latin typeface="+mn-lt"/>
                <a:ea typeface="+mn-ea"/>
                <a:cs typeface="+mn-cs"/>
              </a:rPr>
              <a:t> (ISSI) announces the launch of the new journal </a:t>
            </a:r>
            <a:r>
              <a:rPr lang="en-US" sz="1200" b="0" i="0" kern="1200" dirty="0" smtClean="0">
                <a:solidFill>
                  <a:schemeClr val="tx1"/>
                </a:solidFill>
                <a:effectLst/>
                <a:latin typeface="+mn-lt"/>
                <a:ea typeface="+mn-ea"/>
                <a:cs typeface="+mn-cs"/>
                <a:hlinkClick r:id="rId3"/>
              </a:rPr>
              <a:t>Quantitative Science Studies</a:t>
            </a:r>
            <a:r>
              <a:rPr lang="en-US" sz="1200" b="0" i="0" kern="1200" dirty="0" smtClean="0">
                <a:solidFill>
                  <a:schemeClr val="tx1"/>
                </a:solidFill>
                <a:effectLst/>
                <a:latin typeface="+mn-lt"/>
                <a:ea typeface="+mn-ea"/>
                <a:cs typeface="+mn-cs"/>
              </a:rPr>
              <a:t> (QSS), published by </a:t>
            </a:r>
            <a:r>
              <a:rPr lang="en-US" sz="1200" b="0" i="0" kern="1200" dirty="0" smtClean="0">
                <a:solidFill>
                  <a:schemeClr val="tx1"/>
                </a:solidFill>
                <a:effectLst/>
                <a:latin typeface="+mn-lt"/>
                <a:ea typeface="+mn-ea"/>
                <a:cs typeface="+mn-cs"/>
                <a:hlinkClick r:id="rId4"/>
              </a:rPr>
              <a:t>MIT Press</a:t>
            </a:r>
            <a:r>
              <a:rPr lang="en-US" sz="1200" b="0" i="0" kern="1200" dirty="0" smtClean="0">
                <a:solidFill>
                  <a:schemeClr val="tx1"/>
                </a:solidFill>
                <a:effectLst/>
                <a:latin typeface="+mn-lt"/>
                <a:ea typeface="+mn-ea"/>
                <a:cs typeface="+mn-cs"/>
              </a:rPr>
              <a:t>. The </a:t>
            </a:r>
            <a:r>
              <a:rPr lang="en-US" sz="1200" b="0" i="0" kern="1200" dirty="0" smtClean="0">
                <a:solidFill>
                  <a:schemeClr val="tx1"/>
                </a:solidFill>
                <a:effectLst/>
                <a:latin typeface="+mn-lt"/>
                <a:ea typeface="+mn-ea"/>
                <a:cs typeface="+mn-cs"/>
                <a:hlinkClick r:id="rId5"/>
              </a:rPr>
              <a:t>editorial board</a:t>
            </a:r>
            <a:r>
              <a:rPr lang="en-US" sz="1200" b="0" i="0" kern="1200" dirty="0" smtClean="0">
                <a:solidFill>
                  <a:schemeClr val="tx1"/>
                </a:solidFill>
                <a:effectLst/>
                <a:latin typeface="+mn-lt"/>
                <a:ea typeface="+mn-ea"/>
                <a:cs typeface="+mn-cs"/>
              </a:rPr>
              <a:t> of QSS consists of the members of the former editorial board of </a:t>
            </a:r>
            <a:r>
              <a:rPr lang="en-US" sz="1200" b="0" i="0" kern="1200" dirty="0" smtClean="0">
                <a:solidFill>
                  <a:schemeClr val="tx1"/>
                </a:solidFill>
                <a:effectLst/>
                <a:latin typeface="+mn-lt"/>
                <a:ea typeface="+mn-ea"/>
                <a:cs typeface="+mn-cs"/>
                <a:hlinkClick r:id="rId6"/>
              </a:rPr>
              <a:t>Journal of </a:t>
            </a:r>
            <a:r>
              <a:rPr lang="en-US" sz="1200" b="0" i="0" kern="1200" dirty="0" err="1" smtClean="0">
                <a:solidFill>
                  <a:schemeClr val="tx1"/>
                </a:solidFill>
                <a:effectLst/>
                <a:latin typeface="+mn-lt"/>
                <a:ea typeface="+mn-ea"/>
                <a:cs typeface="+mn-cs"/>
                <a:hlinkClick r:id="rId6"/>
              </a:rPr>
              <a:t>Informetrics</a:t>
            </a:r>
            <a:r>
              <a:rPr lang="en-US" sz="1200" b="0" i="0" kern="1200" dirty="0" smtClean="0">
                <a:solidFill>
                  <a:schemeClr val="tx1"/>
                </a:solidFill>
                <a:effectLst/>
                <a:latin typeface="+mn-lt"/>
                <a:ea typeface="+mn-ea"/>
                <a:cs typeface="+mn-cs"/>
              </a:rPr>
              <a:t> (JOI), an Elsevier journal. The members of the editorial board of JOI, which include CWTS researchers </a:t>
            </a:r>
            <a:r>
              <a:rPr lang="en-US" sz="1200" b="0" i="0" kern="1200" dirty="0" err="1" smtClean="0">
                <a:solidFill>
                  <a:schemeClr val="tx1"/>
                </a:solidFill>
                <a:effectLst/>
                <a:latin typeface="+mn-lt"/>
                <a:ea typeface="+mn-ea"/>
                <a:cs typeface="+mn-cs"/>
              </a:rPr>
              <a:t>Nees</a:t>
            </a:r>
            <a:r>
              <a:rPr lang="en-US" sz="1200" b="0" i="0" kern="1200" dirty="0" smtClean="0">
                <a:solidFill>
                  <a:schemeClr val="tx1"/>
                </a:solidFill>
                <a:effectLst/>
                <a:latin typeface="+mn-lt"/>
                <a:ea typeface="+mn-ea"/>
                <a:cs typeface="+mn-cs"/>
              </a:rPr>
              <a:t> Jan van Eck, Anthony van </a:t>
            </a:r>
            <a:r>
              <a:rPr lang="en-US" sz="1200" b="0" i="0" kern="1200" dirty="0" err="1" smtClean="0">
                <a:solidFill>
                  <a:schemeClr val="tx1"/>
                </a:solidFill>
                <a:effectLst/>
                <a:latin typeface="+mn-lt"/>
                <a:ea typeface="+mn-ea"/>
                <a:cs typeface="+mn-cs"/>
              </a:rPr>
              <a:t>Raan</a:t>
            </a:r>
            <a:r>
              <a:rPr lang="en-US" sz="1200" b="0" i="0" kern="1200" dirty="0" smtClean="0">
                <a:solidFill>
                  <a:schemeClr val="tx1"/>
                </a:solidFill>
                <a:effectLst/>
                <a:latin typeface="+mn-lt"/>
                <a:ea typeface="+mn-ea"/>
                <a:cs typeface="+mn-cs"/>
              </a:rPr>
              <a:t>, and Paul </a:t>
            </a:r>
            <a:r>
              <a:rPr lang="en-US" sz="1200" b="0" i="0" kern="1200" dirty="0" err="1" smtClean="0">
                <a:solidFill>
                  <a:schemeClr val="tx1"/>
                </a:solidFill>
                <a:effectLst/>
                <a:latin typeface="+mn-lt"/>
                <a:ea typeface="+mn-ea"/>
                <a:cs typeface="+mn-cs"/>
              </a:rPr>
              <a:t>Wouters</a:t>
            </a:r>
            <a:r>
              <a:rPr lang="en-US" sz="1200" b="0" i="0" kern="1200" dirty="0" smtClean="0">
                <a:solidFill>
                  <a:schemeClr val="tx1"/>
                </a:solidFill>
                <a:effectLst/>
                <a:latin typeface="+mn-lt"/>
                <a:ea typeface="+mn-ea"/>
                <a:cs typeface="+mn-cs"/>
              </a:rPr>
              <a:t>, have unanimously resigned and have moved to QSS. An important reason for the resignation is Elsevier’s lack of support for the </a:t>
            </a:r>
            <a:r>
              <a:rPr lang="en-US" sz="1200" b="0" i="0" kern="1200" dirty="0" smtClean="0">
                <a:solidFill>
                  <a:schemeClr val="tx1"/>
                </a:solidFill>
                <a:effectLst/>
                <a:latin typeface="+mn-lt"/>
                <a:ea typeface="+mn-ea"/>
                <a:cs typeface="+mn-cs"/>
                <a:hlinkClick r:id="rId7"/>
              </a:rPr>
              <a:t>Initiative for Open Citations</a:t>
            </a:r>
            <a:r>
              <a:rPr lang="en-US" sz="1200" b="0" i="0" kern="1200" dirty="0" smtClean="0">
                <a:solidFill>
                  <a:schemeClr val="tx1"/>
                </a:solidFill>
                <a:effectLst/>
                <a:latin typeface="+mn-lt"/>
                <a:ea typeface="+mn-ea"/>
                <a:cs typeface="+mn-cs"/>
              </a:rPr>
              <a:t> (I4OC). Disagreements about journal ownership and open access policies have played a role as well.</a:t>
            </a:r>
            <a:endParaRPr lang="en-GB" dirty="0"/>
          </a:p>
        </p:txBody>
      </p:sp>
      <p:sp>
        <p:nvSpPr>
          <p:cNvPr id="4" name="Slide Number Placeholder 3"/>
          <p:cNvSpPr>
            <a:spLocks noGrp="1"/>
          </p:cNvSpPr>
          <p:nvPr>
            <p:ph type="sldNum" sz="quarter" idx="10"/>
          </p:nvPr>
        </p:nvSpPr>
        <p:spPr/>
        <p:txBody>
          <a:bodyPr/>
          <a:lstStyle/>
          <a:p>
            <a:fld id="{273DC81D-38FA-4EFB-A816-49076D4E1450}" type="slidenum">
              <a:rPr lang="de-DE" smtClean="0"/>
              <a:t>4</a:t>
            </a:fld>
            <a:endParaRPr lang="de-DE"/>
          </a:p>
        </p:txBody>
      </p:sp>
    </p:spTree>
    <p:extLst>
      <p:ext uri="{BB962C8B-B14F-4D97-AF65-F5344CB8AC3E}">
        <p14:creationId xmlns:p14="http://schemas.microsoft.com/office/powerpoint/2010/main" val="228005112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Input graph showing subscription expenditures</a:t>
            </a:r>
            <a:endParaRPr lang="en-GB" dirty="0"/>
          </a:p>
          <a:p>
            <a:endParaRPr lang="en-GB" dirty="0"/>
          </a:p>
          <a:p>
            <a:r>
              <a:rPr lang="en-GB" dirty="0" smtClean="0"/>
              <a:t>This</a:t>
            </a:r>
            <a:r>
              <a:rPr lang="en-GB" baseline="0" dirty="0" smtClean="0"/>
              <a:t> is being reactive, it is investing in resources</a:t>
            </a:r>
            <a:r>
              <a:rPr lang="en-DE" baseline="0" dirty="0" smtClean="0"/>
              <a:t>…</a:t>
            </a:r>
            <a:r>
              <a:rPr lang="en-GB" baseline="0" dirty="0" smtClean="0"/>
              <a:t>not being PROACTIVE</a:t>
            </a:r>
            <a:endParaRPr lang="en-GB" dirty="0" smtClean="0"/>
          </a:p>
        </p:txBody>
      </p:sp>
      <p:sp>
        <p:nvSpPr>
          <p:cNvPr id="4" name="Slide Number Placeholder 3"/>
          <p:cNvSpPr>
            <a:spLocks noGrp="1"/>
          </p:cNvSpPr>
          <p:nvPr>
            <p:ph type="sldNum" sz="quarter" idx="10"/>
          </p:nvPr>
        </p:nvSpPr>
        <p:spPr/>
        <p:txBody>
          <a:bodyPr/>
          <a:lstStyle/>
          <a:p>
            <a:fld id="{273DC81D-38FA-4EFB-A816-49076D4E1450}" type="slidenum">
              <a:rPr lang="de-DE" smtClean="0"/>
              <a:t>5</a:t>
            </a:fld>
            <a:endParaRPr lang="de-DE"/>
          </a:p>
        </p:txBody>
      </p:sp>
    </p:spTree>
    <p:extLst>
      <p:ext uri="{BB962C8B-B14F-4D97-AF65-F5344CB8AC3E}">
        <p14:creationId xmlns:p14="http://schemas.microsoft.com/office/powerpoint/2010/main" val="63812782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As Patron Demand</a:t>
            </a:r>
            <a:r>
              <a:rPr lang="en-US" sz="1200" b="0" i="0" kern="1200" baseline="0" dirty="0" smtClean="0">
                <a:solidFill>
                  <a:schemeClr val="tx1"/>
                </a:solidFill>
                <a:effectLst/>
                <a:latin typeface="+mn-lt"/>
                <a:ea typeface="+mn-ea"/>
                <a:cs typeface="+mn-cs"/>
              </a:rPr>
              <a:t> for </a:t>
            </a:r>
            <a:r>
              <a:rPr lang="en-US" sz="1200" b="0" i="0" kern="1200" dirty="0" smtClean="0">
                <a:solidFill>
                  <a:schemeClr val="tx1"/>
                </a:solidFill>
                <a:effectLst/>
                <a:latin typeface="+mn-lt"/>
                <a:ea typeface="+mn-ea"/>
                <a:cs typeface="+mn-cs"/>
              </a:rPr>
              <a:t>Digital Services upward trajectory (as Louise showed us yesterday in the graph). In</a:t>
            </a:r>
            <a:r>
              <a:rPr lang="en-US" sz="1200" b="0" i="0" kern="1200" baseline="0" dirty="0" smtClean="0">
                <a:solidFill>
                  <a:schemeClr val="tx1"/>
                </a:solidFill>
                <a:effectLst/>
                <a:latin typeface="+mn-lt"/>
                <a:ea typeface="+mn-ea"/>
                <a:cs typeface="+mn-cs"/>
              </a:rPr>
              <a:t> past focused on access to content, but now think about “access” in a wider perspective.</a:t>
            </a:r>
          </a:p>
          <a:p>
            <a:r>
              <a:rPr lang="en-US" sz="1200" b="0" i="0" kern="1200" baseline="0" dirty="0" smtClean="0">
                <a:solidFill>
                  <a:schemeClr val="tx1"/>
                </a:solidFill>
                <a:effectLst/>
                <a:latin typeface="+mn-lt"/>
                <a:ea typeface="+mn-ea"/>
                <a:cs typeface="+mn-cs"/>
              </a:rPr>
              <a:t>Think of text mining (we can offer the technology, but if we cannot interrogate the body of content behind paywalls, missing a huge piece of knowledge), digital humanities, digital use and reuse of scholarship</a:t>
            </a:r>
          </a:p>
          <a:p>
            <a:r>
              <a:rPr lang="en-US" sz="1200" b="0" i="0" kern="1200" baseline="0" dirty="0" smtClean="0">
                <a:solidFill>
                  <a:schemeClr val="tx1"/>
                </a:solidFill>
                <a:effectLst/>
                <a:latin typeface="+mn-lt"/>
                <a:ea typeface="+mn-ea"/>
                <a:cs typeface="+mn-cs"/>
              </a:rPr>
              <a:t>Want to advance open scholarship BUT researchers want to publish in the journals they know and trust</a:t>
            </a:r>
          </a:p>
          <a:p>
            <a:endParaRPr lang="en-US" sz="1200" b="0" i="0" kern="1200" baseline="0" dirty="0" smtClean="0">
              <a:solidFill>
                <a:schemeClr val="tx1"/>
              </a:solidFill>
              <a:effectLst/>
              <a:latin typeface="+mn-lt"/>
              <a:ea typeface="+mn-ea"/>
              <a:cs typeface="+mn-cs"/>
            </a:endParaRPr>
          </a:p>
          <a:p>
            <a:r>
              <a:rPr lang="en-US" sz="1200" b="0" i="0" kern="1200" baseline="0" dirty="0" smtClean="0">
                <a:solidFill>
                  <a:schemeClr val="tx1"/>
                </a:solidFill>
                <a:effectLst/>
                <a:latin typeface="+mn-lt"/>
                <a:ea typeface="+mn-ea"/>
                <a:cs typeface="+mn-cs"/>
              </a:rPr>
              <a:t>Help academic staff make sense of what is happening and navigate scholarly communications.</a:t>
            </a:r>
          </a:p>
          <a:p>
            <a:r>
              <a:rPr lang="en-US" sz="1200" b="0" i="0" kern="1200" baseline="0" dirty="0" smtClean="0">
                <a:solidFill>
                  <a:schemeClr val="tx1"/>
                </a:solidFill>
                <a:effectLst/>
                <a:latin typeface="+mn-lt"/>
                <a:ea typeface="+mn-ea"/>
                <a:cs typeface="+mn-cs"/>
              </a:rPr>
              <a:t>Need to be PROACTIVE</a:t>
            </a:r>
          </a:p>
          <a:p>
            <a:r>
              <a:rPr lang="en-US" sz="1200" b="0" i="0" kern="1200" baseline="0" dirty="0" smtClean="0">
                <a:solidFill>
                  <a:schemeClr val="tx1"/>
                </a:solidFill>
                <a:effectLst/>
                <a:latin typeface="+mn-lt"/>
                <a:ea typeface="+mn-ea"/>
                <a:cs typeface="+mn-cs"/>
              </a:rPr>
              <a:t>We cannot stand still, we need to be anticipating</a:t>
            </a:r>
            <a:endParaRPr lang="en-US" sz="1200" b="0" i="0" kern="1200" dirty="0" smtClean="0">
              <a:solidFill>
                <a:schemeClr val="tx1"/>
              </a:solidFill>
              <a:effectLst/>
              <a:latin typeface="+mn-lt"/>
              <a:ea typeface="+mn-ea"/>
              <a:cs typeface="+mn-cs"/>
            </a:endParaRPr>
          </a:p>
          <a:p>
            <a:endParaRPr lang="en-US" sz="1200" b="0" i="0" kern="1200" dirty="0" smtClean="0">
              <a:solidFill>
                <a:schemeClr val="tx1"/>
              </a:solidFill>
              <a:effectLst/>
              <a:latin typeface="+mn-lt"/>
              <a:ea typeface="+mn-ea"/>
              <a:cs typeface="+mn-cs"/>
            </a:endParaRPr>
          </a:p>
          <a:p>
            <a:endParaRPr lang="en-US" sz="1200" b="0" i="0" kern="1200" dirty="0" smtClean="0">
              <a:solidFill>
                <a:schemeClr val="tx1"/>
              </a:solidFill>
              <a:effectLst/>
              <a:latin typeface="+mn-lt"/>
              <a:ea typeface="+mn-ea"/>
              <a:cs typeface="+mn-cs"/>
            </a:endParaRP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Subscriptions</a:t>
            </a:r>
            <a:r>
              <a:rPr lang="en-US" sz="1200" b="0" i="0" kern="1200" baseline="0" dirty="0" smtClean="0">
                <a:solidFill>
                  <a:schemeClr val="tx1"/>
                </a:solidFill>
                <a:effectLst/>
                <a:latin typeface="+mn-lt"/>
                <a:ea typeface="+mn-ea"/>
                <a:cs typeface="+mn-cs"/>
              </a:rPr>
              <a:t> have no place in the digital world</a:t>
            </a:r>
          </a:p>
          <a:p>
            <a:r>
              <a:rPr lang="en-US" sz="1200" b="0" i="0" kern="1200" baseline="0" dirty="0" smtClean="0">
                <a:solidFill>
                  <a:schemeClr val="tx1"/>
                </a:solidFill>
                <a:effectLst/>
                <a:latin typeface="+mn-lt"/>
                <a:ea typeface="+mn-ea"/>
                <a:cs typeface="+mn-cs"/>
              </a:rPr>
              <a:t>Today we demand everything immediately, fast-paced, everything at our fingertips. But science</a:t>
            </a:r>
            <a:r>
              <a:rPr lang="x-none" sz="1200" b="0" i="0" kern="1200" baseline="0" dirty="0" smtClean="0">
                <a:solidFill>
                  <a:schemeClr val="tx1"/>
                </a:solidFill>
                <a:effectLst/>
                <a:latin typeface="+mn-lt"/>
                <a:ea typeface="+mn-ea"/>
                <a:cs typeface="+mn-cs"/>
              </a:rPr>
              <a:t>—</a:t>
            </a:r>
            <a:r>
              <a:rPr lang="en-US" sz="1200" b="0" i="0" kern="1200" baseline="0" dirty="0" smtClean="0">
                <a:solidFill>
                  <a:schemeClr val="tx1"/>
                </a:solidFill>
                <a:effectLst/>
                <a:latin typeface="+mn-lt"/>
                <a:ea typeface="+mn-ea"/>
                <a:cs typeface="+mn-cs"/>
              </a:rPr>
              <a:t>most important</a:t>
            </a:r>
            <a:r>
              <a:rPr lang="x-none" sz="1200" b="0" i="0" kern="1200" baseline="0" dirty="0" smtClean="0">
                <a:solidFill>
                  <a:schemeClr val="tx1"/>
                </a:solidFill>
                <a:effectLst/>
                <a:latin typeface="+mn-lt"/>
                <a:ea typeface="+mn-ea"/>
                <a:cs typeface="+mn-cs"/>
              </a:rPr>
              <a:t>—</a:t>
            </a:r>
            <a:r>
              <a:rPr lang="en-US" sz="1200" b="0" i="0" kern="1200" baseline="0" dirty="0" smtClean="0">
                <a:solidFill>
                  <a:schemeClr val="tx1"/>
                </a:solidFill>
                <a:effectLst/>
                <a:latin typeface="+mn-lt"/>
                <a:ea typeface="+mn-ea"/>
                <a:cs typeface="+mn-cs"/>
              </a:rPr>
              <a:t>is hidden from us.</a:t>
            </a:r>
          </a:p>
          <a:p>
            <a:r>
              <a:rPr lang="en-US" sz="1200" b="0" i="0" kern="1200" baseline="0" dirty="0" smtClean="0">
                <a:solidFill>
                  <a:schemeClr val="tx1"/>
                </a:solidFill>
                <a:effectLst/>
                <a:latin typeface="+mn-lt"/>
                <a:ea typeface="+mn-ea"/>
                <a:cs typeface="+mn-cs"/>
              </a:rPr>
              <a:t>Capabilities of using research in new ways with technology, but in order to articles to be published they sign away the rights</a:t>
            </a:r>
            <a:r>
              <a:rPr lang="x-none" sz="1200" b="0" i="0" kern="1200" baseline="0" dirty="0" smtClean="0">
                <a:solidFill>
                  <a:schemeClr val="tx1"/>
                </a:solidFill>
                <a:effectLst/>
                <a:latin typeface="+mn-lt"/>
                <a:ea typeface="+mn-ea"/>
                <a:cs typeface="+mn-cs"/>
              </a:rPr>
              <a:t>…</a:t>
            </a:r>
            <a:r>
              <a:rPr lang="en-GB" sz="1200" b="0" i="0" kern="1200" baseline="0" dirty="0" smtClean="0">
                <a:solidFill>
                  <a:schemeClr val="tx1"/>
                </a:solidFill>
                <a:effectLst/>
                <a:latin typeface="+mn-lt"/>
                <a:ea typeface="+mn-ea"/>
                <a:cs typeface="+mn-cs"/>
              </a:rPr>
              <a:t>have to pay again to use the fruits of their own research. </a:t>
            </a:r>
            <a:endParaRPr lang="en-US" sz="1200" b="0" i="0" kern="1200" dirty="0" smtClean="0">
              <a:solidFill>
                <a:schemeClr val="tx1"/>
              </a:solidFill>
              <a:effectLst/>
              <a:latin typeface="+mn-lt"/>
              <a:ea typeface="+mn-ea"/>
              <a:cs typeface="+mn-cs"/>
            </a:endParaRP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Server log data for the website </a:t>
            </a:r>
            <a:r>
              <a:rPr lang="en-US" sz="1200" b="0" i="0" kern="1200" dirty="0" err="1" smtClean="0">
                <a:solidFill>
                  <a:schemeClr val="tx1"/>
                </a:solidFill>
                <a:effectLst/>
                <a:latin typeface="+mn-lt"/>
                <a:ea typeface="+mn-ea"/>
                <a:cs typeface="+mn-cs"/>
              </a:rPr>
              <a:t>Sci</a:t>
            </a:r>
            <a:r>
              <a:rPr lang="en-US" sz="1200" b="0" i="0" kern="1200" dirty="0" smtClean="0">
                <a:solidFill>
                  <a:schemeClr val="tx1"/>
                </a:solidFill>
                <a:effectLst/>
                <a:latin typeface="+mn-lt"/>
                <a:ea typeface="+mn-ea"/>
                <a:cs typeface="+mn-cs"/>
              </a:rPr>
              <a:t>-Hub from September 2015 through February paint a revealing portrait of its users and their diverse interests. </a:t>
            </a:r>
            <a:r>
              <a:rPr lang="en-US" sz="1200" b="0" i="0" kern="1200" dirty="0" err="1" smtClean="0">
                <a:solidFill>
                  <a:schemeClr val="tx1"/>
                </a:solidFill>
                <a:effectLst/>
                <a:latin typeface="+mn-lt"/>
                <a:ea typeface="+mn-ea"/>
                <a:cs typeface="+mn-cs"/>
              </a:rPr>
              <a:t>Sci</a:t>
            </a:r>
            <a:r>
              <a:rPr lang="en-US" sz="1200" b="0" i="0" kern="1200" dirty="0" smtClean="0">
                <a:solidFill>
                  <a:schemeClr val="tx1"/>
                </a:solidFill>
                <a:effectLst/>
                <a:latin typeface="+mn-lt"/>
                <a:ea typeface="+mn-ea"/>
                <a:cs typeface="+mn-cs"/>
              </a:rPr>
              <a:t>-Hub had 28 million download requests, from all regions of the world and covering most scientific disciplines.</a:t>
            </a:r>
            <a:endParaRPr lang="en-GB" dirty="0"/>
          </a:p>
        </p:txBody>
      </p:sp>
      <p:sp>
        <p:nvSpPr>
          <p:cNvPr id="4" name="Slide Number Placeholder 3"/>
          <p:cNvSpPr>
            <a:spLocks noGrp="1"/>
          </p:cNvSpPr>
          <p:nvPr>
            <p:ph type="sldNum" sz="quarter" idx="10"/>
          </p:nvPr>
        </p:nvSpPr>
        <p:spPr/>
        <p:txBody>
          <a:bodyPr/>
          <a:lstStyle/>
          <a:p>
            <a:fld id="{273DC81D-38FA-4EFB-A816-49076D4E1450}" type="slidenum">
              <a:rPr lang="de-DE" smtClean="0"/>
              <a:t>6</a:t>
            </a:fld>
            <a:endParaRPr lang="de-DE"/>
          </a:p>
        </p:txBody>
      </p:sp>
    </p:spTree>
    <p:extLst>
      <p:ext uri="{BB962C8B-B14F-4D97-AF65-F5344CB8AC3E}">
        <p14:creationId xmlns:p14="http://schemas.microsoft.com/office/powerpoint/2010/main" val="14712901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As Patron Demand</a:t>
            </a:r>
            <a:r>
              <a:rPr lang="en-US" sz="1200" b="0" i="0" kern="1200" baseline="0" dirty="0" smtClean="0">
                <a:solidFill>
                  <a:schemeClr val="tx1"/>
                </a:solidFill>
                <a:effectLst/>
                <a:latin typeface="+mn-lt"/>
                <a:ea typeface="+mn-ea"/>
                <a:cs typeface="+mn-cs"/>
              </a:rPr>
              <a:t> for </a:t>
            </a:r>
            <a:r>
              <a:rPr lang="en-US" sz="1200" b="0" i="0" kern="1200" dirty="0" smtClean="0">
                <a:solidFill>
                  <a:schemeClr val="tx1"/>
                </a:solidFill>
                <a:effectLst/>
                <a:latin typeface="+mn-lt"/>
                <a:ea typeface="+mn-ea"/>
                <a:cs typeface="+mn-cs"/>
              </a:rPr>
              <a:t>Digital Services upward trajectory (as Louise showed us yesterday in the graph). In</a:t>
            </a:r>
            <a:r>
              <a:rPr lang="en-US" sz="1200" b="0" i="0" kern="1200" baseline="0" dirty="0" smtClean="0">
                <a:solidFill>
                  <a:schemeClr val="tx1"/>
                </a:solidFill>
                <a:effectLst/>
                <a:latin typeface="+mn-lt"/>
                <a:ea typeface="+mn-ea"/>
                <a:cs typeface="+mn-cs"/>
              </a:rPr>
              <a:t> past focused on access to content, but now think about “access” in a wider perspective.</a:t>
            </a:r>
          </a:p>
          <a:p>
            <a:r>
              <a:rPr lang="en-US" sz="1200" b="0" i="0" kern="1200" baseline="0" dirty="0" smtClean="0">
                <a:solidFill>
                  <a:schemeClr val="tx1"/>
                </a:solidFill>
                <a:effectLst/>
                <a:latin typeface="+mn-lt"/>
                <a:ea typeface="+mn-ea"/>
                <a:cs typeface="+mn-cs"/>
              </a:rPr>
              <a:t>Think of text mining (we can offer the technology, but if we cannot interrogate the body of content behind paywalls, missing a huge piece of knowledge), digital humanities, digital use and reuse of scholarship</a:t>
            </a:r>
          </a:p>
          <a:p>
            <a:r>
              <a:rPr lang="en-US" sz="1200" b="0" i="0" kern="1200" baseline="0" dirty="0" smtClean="0">
                <a:solidFill>
                  <a:schemeClr val="tx1"/>
                </a:solidFill>
                <a:effectLst/>
                <a:latin typeface="+mn-lt"/>
                <a:ea typeface="+mn-ea"/>
                <a:cs typeface="+mn-cs"/>
              </a:rPr>
              <a:t>Want to advance open scholarship BUT researchers want to publish in the journals they know and trust</a:t>
            </a:r>
          </a:p>
          <a:p>
            <a:endParaRPr lang="en-US" sz="1200" b="0" i="0" kern="1200" baseline="0" dirty="0" smtClean="0">
              <a:solidFill>
                <a:schemeClr val="tx1"/>
              </a:solidFill>
              <a:effectLst/>
              <a:latin typeface="+mn-lt"/>
              <a:ea typeface="+mn-ea"/>
              <a:cs typeface="+mn-cs"/>
            </a:endParaRPr>
          </a:p>
          <a:p>
            <a:r>
              <a:rPr lang="en-US" sz="1200" b="0" i="0" kern="1200" baseline="0" dirty="0" smtClean="0">
                <a:solidFill>
                  <a:schemeClr val="tx1"/>
                </a:solidFill>
                <a:effectLst/>
                <a:latin typeface="+mn-lt"/>
                <a:ea typeface="+mn-ea"/>
                <a:cs typeface="+mn-cs"/>
              </a:rPr>
              <a:t>Help academic staff make sense of what is happening and navigate scholarly communications.</a:t>
            </a:r>
          </a:p>
          <a:p>
            <a:r>
              <a:rPr lang="en-US" sz="1200" b="0" i="0" kern="1200" baseline="0" dirty="0" smtClean="0">
                <a:solidFill>
                  <a:schemeClr val="tx1"/>
                </a:solidFill>
                <a:effectLst/>
                <a:latin typeface="+mn-lt"/>
                <a:ea typeface="+mn-ea"/>
                <a:cs typeface="+mn-cs"/>
              </a:rPr>
              <a:t>Need to be PROACTIVE</a:t>
            </a:r>
          </a:p>
          <a:p>
            <a:r>
              <a:rPr lang="en-US" sz="1200" b="0" i="0" kern="1200" baseline="0" dirty="0" smtClean="0">
                <a:solidFill>
                  <a:schemeClr val="tx1"/>
                </a:solidFill>
                <a:effectLst/>
                <a:latin typeface="+mn-lt"/>
                <a:ea typeface="+mn-ea"/>
                <a:cs typeface="+mn-cs"/>
              </a:rPr>
              <a:t>We cannot stand still, we need to be anticipating</a:t>
            </a:r>
            <a:endParaRPr lang="en-US" sz="1200" b="0" i="0" kern="1200" dirty="0" smtClean="0">
              <a:solidFill>
                <a:schemeClr val="tx1"/>
              </a:solidFill>
              <a:effectLst/>
              <a:latin typeface="+mn-lt"/>
              <a:ea typeface="+mn-ea"/>
              <a:cs typeface="+mn-cs"/>
            </a:endParaRPr>
          </a:p>
          <a:p>
            <a:endParaRPr lang="en-US" sz="1200" b="0" i="0" kern="1200" dirty="0" smtClean="0">
              <a:solidFill>
                <a:schemeClr val="tx1"/>
              </a:solidFill>
              <a:effectLst/>
              <a:latin typeface="+mn-lt"/>
              <a:ea typeface="+mn-ea"/>
              <a:cs typeface="+mn-cs"/>
            </a:endParaRPr>
          </a:p>
          <a:p>
            <a:endParaRPr lang="en-US" sz="1200" b="0" i="0" kern="1200" dirty="0" smtClean="0">
              <a:solidFill>
                <a:schemeClr val="tx1"/>
              </a:solidFill>
              <a:effectLst/>
              <a:latin typeface="+mn-lt"/>
              <a:ea typeface="+mn-ea"/>
              <a:cs typeface="+mn-cs"/>
            </a:endParaRP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Subscriptions</a:t>
            </a:r>
            <a:r>
              <a:rPr lang="en-US" sz="1200" b="0" i="0" kern="1200" baseline="0" dirty="0" smtClean="0">
                <a:solidFill>
                  <a:schemeClr val="tx1"/>
                </a:solidFill>
                <a:effectLst/>
                <a:latin typeface="+mn-lt"/>
                <a:ea typeface="+mn-ea"/>
                <a:cs typeface="+mn-cs"/>
              </a:rPr>
              <a:t> have no place in the digital world</a:t>
            </a:r>
          </a:p>
          <a:p>
            <a:r>
              <a:rPr lang="en-US" sz="1200" b="0" i="0" kern="1200" baseline="0" dirty="0" smtClean="0">
                <a:solidFill>
                  <a:schemeClr val="tx1"/>
                </a:solidFill>
                <a:effectLst/>
                <a:latin typeface="+mn-lt"/>
                <a:ea typeface="+mn-ea"/>
                <a:cs typeface="+mn-cs"/>
              </a:rPr>
              <a:t>Today we demand everything immediately, fast-paced, everything at our fingertips. But science</a:t>
            </a:r>
            <a:r>
              <a:rPr lang="x-none" sz="1200" b="0" i="0" kern="1200" baseline="0" dirty="0" smtClean="0">
                <a:solidFill>
                  <a:schemeClr val="tx1"/>
                </a:solidFill>
                <a:effectLst/>
                <a:latin typeface="+mn-lt"/>
                <a:ea typeface="+mn-ea"/>
                <a:cs typeface="+mn-cs"/>
              </a:rPr>
              <a:t>—</a:t>
            </a:r>
            <a:r>
              <a:rPr lang="en-US" sz="1200" b="0" i="0" kern="1200" baseline="0" dirty="0" smtClean="0">
                <a:solidFill>
                  <a:schemeClr val="tx1"/>
                </a:solidFill>
                <a:effectLst/>
                <a:latin typeface="+mn-lt"/>
                <a:ea typeface="+mn-ea"/>
                <a:cs typeface="+mn-cs"/>
              </a:rPr>
              <a:t>most important</a:t>
            </a:r>
            <a:r>
              <a:rPr lang="x-none" sz="1200" b="0" i="0" kern="1200" baseline="0" dirty="0" smtClean="0">
                <a:solidFill>
                  <a:schemeClr val="tx1"/>
                </a:solidFill>
                <a:effectLst/>
                <a:latin typeface="+mn-lt"/>
                <a:ea typeface="+mn-ea"/>
                <a:cs typeface="+mn-cs"/>
              </a:rPr>
              <a:t>—</a:t>
            </a:r>
            <a:r>
              <a:rPr lang="en-US" sz="1200" b="0" i="0" kern="1200" baseline="0" dirty="0" smtClean="0">
                <a:solidFill>
                  <a:schemeClr val="tx1"/>
                </a:solidFill>
                <a:effectLst/>
                <a:latin typeface="+mn-lt"/>
                <a:ea typeface="+mn-ea"/>
                <a:cs typeface="+mn-cs"/>
              </a:rPr>
              <a:t>is hidden from us.</a:t>
            </a:r>
          </a:p>
          <a:p>
            <a:r>
              <a:rPr lang="en-US" sz="1200" b="0" i="0" kern="1200" baseline="0" dirty="0" smtClean="0">
                <a:solidFill>
                  <a:schemeClr val="tx1"/>
                </a:solidFill>
                <a:effectLst/>
                <a:latin typeface="+mn-lt"/>
                <a:ea typeface="+mn-ea"/>
                <a:cs typeface="+mn-cs"/>
              </a:rPr>
              <a:t>Capabilities of using research in new ways with technology, but in order to articles to be published they sign away the rights</a:t>
            </a:r>
            <a:r>
              <a:rPr lang="x-none" sz="1200" b="0" i="0" kern="1200" baseline="0" dirty="0" smtClean="0">
                <a:solidFill>
                  <a:schemeClr val="tx1"/>
                </a:solidFill>
                <a:effectLst/>
                <a:latin typeface="+mn-lt"/>
                <a:ea typeface="+mn-ea"/>
                <a:cs typeface="+mn-cs"/>
              </a:rPr>
              <a:t>…</a:t>
            </a:r>
            <a:r>
              <a:rPr lang="en-GB" sz="1200" b="0" i="0" kern="1200" baseline="0" dirty="0" smtClean="0">
                <a:solidFill>
                  <a:schemeClr val="tx1"/>
                </a:solidFill>
                <a:effectLst/>
                <a:latin typeface="+mn-lt"/>
                <a:ea typeface="+mn-ea"/>
                <a:cs typeface="+mn-cs"/>
              </a:rPr>
              <a:t>have to pay again to use the fruits of their own research. </a:t>
            </a:r>
            <a:endParaRPr lang="en-US" sz="1200" b="0" i="0" kern="1200" dirty="0" smtClean="0">
              <a:solidFill>
                <a:schemeClr val="tx1"/>
              </a:solidFill>
              <a:effectLst/>
              <a:latin typeface="+mn-lt"/>
              <a:ea typeface="+mn-ea"/>
              <a:cs typeface="+mn-cs"/>
            </a:endParaRPr>
          </a:p>
          <a:p>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Server log data for the website </a:t>
            </a:r>
            <a:r>
              <a:rPr lang="en-US" sz="1200" b="0" i="0" kern="1200" dirty="0" err="1" smtClean="0">
                <a:solidFill>
                  <a:schemeClr val="tx1"/>
                </a:solidFill>
                <a:effectLst/>
                <a:latin typeface="+mn-lt"/>
                <a:ea typeface="+mn-ea"/>
                <a:cs typeface="+mn-cs"/>
              </a:rPr>
              <a:t>Sci</a:t>
            </a:r>
            <a:r>
              <a:rPr lang="en-US" sz="1200" b="0" i="0" kern="1200" dirty="0" smtClean="0">
                <a:solidFill>
                  <a:schemeClr val="tx1"/>
                </a:solidFill>
                <a:effectLst/>
                <a:latin typeface="+mn-lt"/>
                <a:ea typeface="+mn-ea"/>
                <a:cs typeface="+mn-cs"/>
              </a:rPr>
              <a:t>-Hub from September 2015 through February paint a revealing portrait of its users and their diverse interests. </a:t>
            </a:r>
            <a:r>
              <a:rPr lang="en-US" sz="1200" b="0" i="0" kern="1200" dirty="0" err="1" smtClean="0">
                <a:solidFill>
                  <a:schemeClr val="tx1"/>
                </a:solidFill>
                <a:effectLst/>
                <a:latin typeface="+mn-lt"/>
                <a:ea typeface="+mn-ea"/>
                <a:cs typeface="+mn-cs"/>
              </a:rPr>
              <a:t>Sci</a:t>
            </a:r>
            <a:r>
              <a:rPr lang="en-US" sz="1200" b="0" i="0" kern="1200" dirty="0" smtClean="0">
                <a:solidFill>
                  <a:schemeClr val="tx1"/>
                </a:solidFill>
                <a:effectLst/>
                <a:latin typeface="+mn-lt"/>
                <a:ea typeface="+mn-ea"/>
                <a:cs typeface="+mn-cs"/>
              </a:rPr>
              <a:t>-Hub had 28 million download requests, from all regions of the world and covering most scientific disciplines.</a:t>
            </a:r>
            <a:endParaRPr lang="en-GB" dirty="0"/>
          </a:p>
        </p:txBody>
      </p:sp>
      <p:sp>
        <p:nvSpPr>
          <p:cNvPr id="4" name="Slide Number Placeholder 3"/>
          <p:cNvSpPr>
            <a:spLocks noGrp="1"/>
          </p:cNvSpPr>
          <p:nvPr>
            <p:ph type="sldNum" sz="quarter" idx="10"/>
          </p:nvPr>
        </p:nvSpPr>
        <p:spPr/>
        <p:txBody>
          <a:bodyPr/>
          <a:lstStyle/>
          <a:p>
            <a:fld id="{273DC81D-38FA-4EFB-A816-49076D4E1450}" type="slidenum">
              <a:rPr lang="de-DE" smtClean="0"/>
              <a:t>7</a:t>
            </a:fld>
            <a:endParaRPr lang="de-DE"/>
          </a:p>
        </p:txBody>
      </p:sp>
    </p:spTree>
    <p:extLst>
      <p:ext uri="{BB962C8B-B14F-4D97-AF65-F5344CB8AC3E}">
        <p14:creationId xmlns:p14="http://schemas.microsoft.com/office/powerpoint/2010/main" val="173759108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Lack of transparency</a:t>
            </a:r>
            <a:endParaRPr lang="en-GB" dirty="0"/>
          </a:p>
        </p:txBody>
      </p:sp>
      <p:sp>
        <p:nvSpPr>
          <p:cNvPr id="4" name="Slide Number Placeholder 3"/>
          <p:cNvSpPr>
            <a:spLocks noGrp="1"/>
          </p:cNvSpPr>
          <p:nvPr>
            <p:ph type="sldNum" sz="quarter" idx="10"/>
          </p:nvPr>
        </p:nvSpPr>
        <p:spPr/>
        <p:txBody>
          <a:bodyPr/>
          <a:lstStyle/>
          <a:p>
            <a:fld id="{273DC81D-38FA-4EFB-A816-49076D4E1450}" type="slidenum">
              <a:rPr lang="de-DE" smtClean="0"/>
              <a:t>8</a:t>
            </a:fld>
            <a:endParaRPr lang="de-DE"/>
          </a:p>
        </p:txBody>
      </p:sp>
    </p:spTree>
    <p:extLst>
      <p:ext uri="{BB962C8B-B14F-4D97-AF65-F5344CB8AC3E}">
        <p14:creationId xmlns:p14="http://schemas.microsoft.com/office/powerpoint/2010/main" val="422897005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273DC81D-38FA-4EFB-A816-49076D4E1450}" type="slidenum">
              <a:rPr lang="de-DE" smtClean="0"/>
              <a:t>9</a:t>
            </a:fld>
            <a:endParaRPr lang="de-DE"/>
          </a:p>
        </p:txBody>
      </p:sp>
    </p:spTree>
    <p:extLst>
      <p:ext uri="{BB962C8B-B14F-4D97-AF65-F5344CB8AC3E}">
        <p14:creationId xmlns:p14="http://schemas.microsoft.com/office/powerpoint/2010/main" val="2765410991"/>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4.xml"/><Relationship Id="rId7" Type="http://schemas.openxmlformats.org/officeDocument/2006/relationships/image" Target="../media/image1.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5.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4"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8" name="Rechteck 7"/>
          <p:cNvSpPr/>
          <p:nvPr userDrawn="1"/>
        </p:nvSpPr>
        <p:spPr>
          <a:xfrm>
            <a:off x="1891144" y="3277938"/>
            <a:ext cx="9906000" cy="12001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99017861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1330" name="think-cell Folie" r:id="rId6" imgW="341" imgH="340" progId="TCLayout.ActiveDocument.1">
                  <p:embed/>
                </p:oleObj>
              </mc:Choice>
              <mc:Fallback>
                <p:oleObj name="think-cell Folie" r:id="rId6" imgW="341" imgH="340"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el 1"/>
          <p:cNvSpPr>
            <a:spLocks noGrp="1"/>
          </p:cNvSpPr>
          <p:nvPr>
            <p:ph type="ctrTitle"/>
            <p:custDataLst>
              <p:tags r:id="rId3"/>
            </p:custDataLst>
          </p:nvPr>
        </p:nvSpPr>
        <p:spPr>
          <a:xfrm>
            <a:off x="2215654" y="3531195"/>
            <a:ext cx="8706483" cy="677108"/>
          </a:xfrm>
        </p:spPr>
        <p:txBody>
          <a:bodyPr/>
          <a:lstStyle>
            <a:lvl1pPr>
              <a:defRPr sz="4400" b="1" spc="300" baseline="0">
                <a:solidFill>
                  <a:schemeClr val="bg1"/>
                </a:solidFill>
              </a:defRPr>
            </a:lvl1pPr>
          </a:lstStyle>
          <a:p>
            <a:endParaRPr lang="de-DE" dirty="0"/>
          </a:p>
        </p:txBody>
      </p:sp>
      <p:sp>
        <p:nvSpPr>
          <p:cNvPr id="3" name="Untertitel 2"/>
          <p:cNvSpPr>
            <a:spLocks noGrp="1"/>
          </p:cNvSpPr>
          <p:nvPr>
            <p:ph type="subTitle" idx="1" hasCustomPrompt="1"/>
            <p:custDataLst>
              <p:tags r:id="rId4"/>
            </p:custDataLst>
          </p:nvPr>
        </p:nvSpPr>
        <p:spPr>
          <a:xfrm>
            <a:off x="1010315" y="5571109"/>
            <a:ext cx="8706483" cy="518091"/>
          </a:xfrm>
        </p:spPr>
        <p:txBody>
          <a:bodyPr/>
          <a:lstStyle>
            <a:lvl1pPr marL="0" indent="0" algn="l">
              <a:buNone/>
              <a:defRPr b="0"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smtClean="0"/>
              <a:t>Colleen Campbell</a:t>
            </a:r>
          </a:p>
          <a:p>
            <a:r>
              <a:rPr lang="de-DE" dirty="0" smtClean="0"/>
              <a:t>Canada, September 2018</a:t>
            </a:r>
            <a:endParaRPr lang="de-DE" dirty="0"/>
          </a:p>
        </p:txBody>
      </p:sp>
      <p:pic>
        <p:nvPicPr>
          <p:cNvPr id="9" name="Grafik 8"/>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5896235" y="514540"/>
            <a:ext cx="3269869" cy="1510641"/>
          </a:xfrm>
          <a:prstGeom prst="rect">
            <a:avLst/>
          </a:prstGeom>
        </p:spPr>
      </p:pic>
    </p:spTree>
    <p:extLst>
      <p:ext uri="{BB962C8B-B14F-4D97-AF65-F5344CB8AC3E}">
        <p14:creationId xmlns:p14="http://schemas.microsoft.com/office/powerpoint/2010/main" val="2416250094"/>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Fakt, Titel, Text">
    <p:spTree>
      <p:nvGrpSpPr>
        <p:cNvPr id="1" name=""/>
        <p:cNvGrpSpPr/>
        <p:nvPr/>
      </p:nvGrpSpPr>
      <p:grpSpPr>
        <a:xfrm>
          <a:off x="0" y="0"/>
          <a:ext cx="0" cy="0"/>
          <a:chOff x="0" y="0"/>
          <a:chExt cx="0" cy="0"/>
        </a:xfrm>
      </p:grpSpPr>
      <p:pic>
        <p:nvPicPr>
          <p:cNvPr id="18" name="Grafik 17"/>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648884" y="6108205"/>
            <a:ext cx="1371008" cy="636827"/>
          </a:xfrm>
          <a:prstGeom prst="rect">
            <a:avLst/>
          </a:prstGeom>
        </p:spPr>
      </p:pic>
      <p:sp>
        <p:nvSpPr>
          <p:cNvPr id="5" name="Foliennummernplatzhalter 4"/>
          <p:cNvSpPr>
            <a:spLocks noGrp="1"/>
          </p:cNvSpPr>
          <p:nvPr>
            <p:ph type="sldNum" sz="quarter" idx="12"/>
          </p:nvPr>
        </p:nvSpPr>
        <p:spPr>
          <a:xfrm>
            <a:off x="8931442" y="6592861"/>
            <a:ext cx="773912" cy="167164"/>
          </a:xfrm>
        </p:spPr>
        <p:txBody>
          <a:bodyPr/>
          <a:lstStyle/>
          <a:p>
            <a:fld id="{4AD1E780-DE1C-4ECA-B5E5-863D0BC53287}" type="slidenum">
              <a:rPr lang="de-DE" smtClean="0"/>
              <a:pPr/>
              <a:t>‹#›</a:t>
            </a:fld>
            <a:endParaRPr lang="de-DE" dirty="0"/>
          </a:p>
        </p:txBody>
      </p:sp>
      <p:sp>
        <p:nvSpPr>
          <p:cNvPr id="6" name="Textplatzhalter 9"/>
          <p:cNvSpPr>
            <a:spLocks noGrp="1"/>
          </p:cNvSpPr>
          <p:nvPr>
            <p:ph type="body" sz="quarter" idx="13" hasCustomPrompt="1"/>
            <p:custDataLst>
              <p:tags r:id="rId1"/>
            </p:custDataLst>
          </p:nvPr>
        </p:nvSpPr>
        <p:spPr>
          <a:xfrm>
            <a:off x="302342" y="426280"/>
            <a:ext cx="7175090" cy="697671"/>
          </a:xfrm>
        </p:spPr>
        <p:txBody>
          <a:bodyPr anchor="b" anchorCtr="0">
            <a:noAutofit/>
          </a:bodyPr>
          <a:lstStyle>
            <a:lvl1pPr marL="0" indent="0">
              <a:buNone/>
              <a:defRPr sz="4400" b="0">
                <a:solidFill>
                  <a:schemeClr val="tx2"/>
                </a:solidFill>
                <a:latin typeface="+mj-lt"/>
              </a:defRPr>
            </a:lvl1pPr>
            <a:lvl2pPr marL="0" indent="0">
              <a:buNone/>
              <a:defRPr sz="2400">
                <a:solidFill>
                  <a:schemeClr val="tx2"/>
                </a:solidFill>
                <a:latin typeface="+mj-lt"/>
              </a:defRPr>
            </a:lvl2pPr>
            <a:lvl3pPr marL="0" indent="0">
              <a:buNone/>
              <a:defRPr sz="2400">
                <a:solidFill>
                  <a:schemeClr val="tx2"/>
                </a:solidFill>
                <a:latin typeface="+mj-lt"/>
              </a:defRPr>
            </a:lvl3pPr>
            <a:lvl4pPr marL="0" indent="0">
              <a:buNone/>
              <a:defRPr sz="2400">
                <a:solidFill>
                  <a:schemeClr val="tx2"/>
                </a:solidFill>
                <a:latin typeface="+mj-lt"/>
              </a:defRPr>
            </a:lvl4pPr>
            <a:lvl5pPr marL="0" indent="0">
              <a:buNone/>
              <a:defRPr sz="2400">
                <a:solidFill>
                  <a:schemeClr val="tx2"/>
                </a:solidFill>
                <a:latin typeface="+mj-lt"/>
              </a:defRPr>
            </a:lvl5pPr>
          </a:lstStyle>
          <a:p>
            <a:pPr lvl="0"/>
            <a:r>
              <a:rPr lang="de-DE" dirty="0" smtClean="0"/>
              <a:t>BESCHREIBENDER TITEL</a:t>
            </a:r>
            <a:endParaRPr lang="de-DE" dirty="0"/>
          </a:p>
        </p:txBody>
      </p:sp>
      <p:sp>
        <p:nvSpPr>
          <p:cNvPr id="7" name="Inhaltsplatzhalter 2"/>
          <p:cNvSpPr>
            <a:spLocks noGrp="1"/>
          </p:cNvSpPr>
          <p:nvPr>
            <p:ph idx="1"/>
            <p:custDataLst>
              <p:tags r:id="rId2"/>
            </p:custDataLst>
          </p:nvPr>
        </p:nvSpPr>
        <p:spPr>
          <a:xfrm>
            <a:off x="317090" y="1600199"/>
            <a:ext cx="9404760" cy="1333698"/>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10" name="Rechteck 9"/>
          <p:cNvSpPr/>
          <p:nvPr userDrawn="1"/>
        </p:nvSpPr>
        <p:spPr>
          <a:xfrm>
            <a:off x="308731" y="148969"/>
            <a:ext cx="552575" cy="153888"/>
          </a:xfrm>
          <a:prstGeom prst="rect">
            <a:avLst/>
          </a:prstGeom>
        </p:spPr>
        <p:txBody>
          <a:bodyPr wrap="none" lIns="0" tIns="0" rIns="0" bIns="0">
            <a:noAutofit/>
          </a:bodyPr>
          <a:lstStyle/>
          <a:p>
            <a:r>
              <a:rPr lang="de-DE" sz="800" b="1" i="0" kern="1200" dirty="0" smtClean="0">
                <a:solidFill>
                  <a:schemeClr val="accent6"/>
                </a:solidFill>
                <a:latin typeface="+mn-lt"/>
                <a:ea typeface="+mn-ea"/>
                <a:cs typeface="+mn-cs"/>
              </a:rPr>
              <a:t>@oa2020ini</a:t>
            </a:r>
            <a:endParaRPr lang="de-DE" sz="800" b="1" i="0" dirty="0">
              <a:solidFill>
                <a:schemeClr val="accent6"/>
              </a:solidFill>
            </a:endParaRPr>
          </a:p>
        </p:txBody>
      </p:sp>
      <p:sp>
        <p:nvSpPr>
          <p:cNvPr id="2" name="Freihandform 1"/>
          <p:cNvSpPr/>
          <p:nvPr userDrawn="1"/>
        </p:nvSpPr>
        <p:spPr>
          <a:xfrm>
            <a:off x="7648884" y="5958738"/>
            <a:ext cx="2258125" cy="60555"/>
          </a:xfrm>
          <a:custGeom>
            <a:avLst/>
            <a:gdLst>
              <a:gd name="connsiteX0" fmla="*/ 0 w 2464641"/>
              <a:gd name="connsiteY0" fmla="*/ 835677 h 835677"/>
              <a:gd name="connsiteX1" fmla="*/ 0 w 2464641"/>
              <a:gd name="connsiteY1" fmla="*/ 0 h 835677"/>
              <a:gd name="connsiteX2" fmla="*/ 2464641 w 2464641"/>
              <a:gd name="connsiteY2" fmla="*/ 0 h 835677"/>
              <a:gd name="connsiteX0" fmla="*/ 0 w 2464641"/>
              <a:gd name="connsiteY0" fmla="*/ 0 h 0"/>
              <a:gd name="connsiteX1" fmla="*/ 2464641 w 2464641"/>
              <a:gd name="connsiteY1" fmla="*/ 0 h 0"/>
            </a:gdLst>
            <a:ahLst/>
            <a:cxnLst>
              <a:cxn ang="0">
                <a:pos x="connsiteX0" y="connsiteY0"/>
              </a:cxn>
              <a:cxn ang="0">
                <a:pos x="connsiteX1" y="connsiteY1"/>
              </a:cxn>
            </a:cxnLst>
            <a:rect l="l" t="t" r="r" b="b"/>
            <a:pathLst>
              <a:path w="2464641">
                <a:moveTo>
                  <a:pt x="0" y="0"/>
                </a:moveTo>
                <a:lnTo>
                  <a:pt x="2464641" y="0"/>
                </a:lnTo>
              </a:path>
            </a:pathLst>
          </a:cu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846948185"/>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Zwischenblatt">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89674789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3364" name="think-cell Folie" r:id="rId5" imgW="341" imgH="340" progId="TCLayout.ActiveDocument.1">
                  <p:embed/>
                </p:oleObj>
              </mc:Choice>
              <mc:Fallback>
                <p:oleObj name="think-cell Folie" r:id="rId5" imgW="341" imgH="34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2" name="Titel 1"/>
          <p:cNvSpPr>
            <a:spLocks noGrp="1"/>
          </p:cNvSpPr>
          <p:nvPr>
            <p:ph type="ctrTitle" hasCustomPrompt="1"/>
            <p:custDataLst>
              <p:tags r:id="rId3"/>
            </p:custDataLst>
          </p:nvPr>
        </p:nvSpPr>
        <p:spPr>
          <a:xfrm>
            <a:off x="658466" y="654024"/>
            <a:ext cx="8762625" cy="553998"/>
          </a:xfrm>
        </p:spPr>
        <p:txBody>
          <a:bodyPr/>
          <a:lstStyle>
            <a:lvl1pPr algn="l">
              <a:defRPr sz="3600" b="1" baseline="0">
                <a:solidFill>
                  <a:schemeClr val="accent6"/>
                </a:solidFill>
              </a:defRPr>
            </a:lvl1pPr>
          </a:lstStyle>
          <a:p>
            <a:r>
              <a:rPr lang="de-DE" dirty="0" smtClean="0"/>
              <a:t>Text Zwischenblatt</a:t>
            </a:r>
            <a:endParaRPr lang="de-DE" dirty="0"/>
          </a:p>
        </p:txBody>
      </p:sp>
    </p:spTree>
    <p:extLst>
      <p:ext uri="{BB962C8B-B14F-4D97-AF65-F5344CB8AC3E}">
        <p14:creationId xmlns:p14="http://schemas.microsoft.com/office/powerpoint/2010/main" val="4111904677"/>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vmlDrawing" Target="../drawings/vmlDrawing1.v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6"/>
            </p:custDataLst>
            <p:extLst>
              <p:ext uri="{D42A27DB-BD31-4B8C-83A1-F6EECF244321}">
                <p14:modId xmlns:p14="http://schemas.microsoft.com/office/powerpoint/2010/main" val="98247873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0352" name="think-cell Folie" r:id="rId7" imgW="341" imgH="340" progId="TCLayout.ActiveDocument.1">
                  <p:embed/>
                </p:oleObj>
              </mc:Choice>
              <mc:Fallback>
                <p:oleObj name="think-cell Folie" r:id="rId7" imgW="341" imgH="34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 name="Titelplatzhalter 1"/>
          <p:cNvSpPr>
            <a:spLocks noGrp="1"/>
          </p:cNvSpPr>
          <p:nvPr>
            <p:ph type="title"/>
          </p:nvPr>
        </p:nvSpPr>
        <p:spPr>
          <a:xfrm>
            <a:off x="194337" y="143195"/>
            <a:ext cx="7494967" cy="246221"/>
          </a:xfrm>
          <a:prstGeom prst="rect">
            <a:avLst/>
          </a:prstGeom>
        </p:spPr>
        <p:txBody>
          <a:bodyPr vert="horz" wrap="square" lIns="0" tIns="0" rIns="0" bIns="0" rtlCol="0" anchor="t">
            <a:spAutoFit/>
          </a:bodyPr>
          <a:lstStyle/>
          <a:p>
            <a:r>
              <a:rPr lang="de-DE" dirty="0" smtClean="0"/>
              <a:t>Fakt ist X. Y muss getan werden.</a:t>
            </a:r>
          </a:p>
        </p:txBody>
      </p:sp>
      <p:sp>
        <p:nvSpPr>
          <p:cNvPr id="3" name="Textplatzhalter 2"/>
          <p:cNvSpPr>
            <a:spLocks noGrp="1"/>
          </p:cNvSpPr>
          <p:nvPr>
            <p:ph type="body" idx="1"/>
          </p:nvPr>
        </p:nvSpPr>
        <p:spPr>
          <a:xfrm>
            <a:off x="194338" y="1600200"/>
            <a:ext cx="9386459" cy="1333698"/>
          </a:xfrm>
          <a:prstGeom prst="rect">
            <a:avLst/>
          </a:prstGeom>
        </p:spPr>
        <p:txBody>
          <a:bodyPr vert="horz" wrap="square" lIns="0" tIns="0" rIns="0" bIns="0" rtlCol="0">
            <a:spAutoFit/>
          </a:body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2"/>
          </p:nvPr>
        </p:nvSpPr>
        <p:spPr>
          <a:xfrm>
            <a:off x="194338" y="6657647"/>
            <a:ext cx="1014247" cy="168994"/>
          </a:xfrm>
          <a:prstGeom prst="rect">
            <a:avLst/>
          </a:prstGeom>
        </p:spPr>
        <p:txBody>
          <a:bodyPr vert="horz" wrap="none" lIns="0" tIns="0" rIns="0" bIns="0" rtlCol="0" anchor="b"/>
          <a:lstStyle>
            <a:lvl1pPr algn="l">
              <a:defRPr sz="800">
                <a:solidFill>
                  <a:schemeClr val="tx1">
                    <a:tint val="75000"/>
                  </a:schemeClr>
                </a:solidFill>
              </a:defRPr>
            </a:lvl1pPr>
          </a:lstStyle>
          <a:p>
            <a:fld id="{CF4E8803-761A-423F-920A-7DEB27B16F30}" type="datetime1">
              <a:rPr lang="de-DE" smtClean="0"/>
              <a:pPr/>
              <a:t>18.03.2019</a:t>
            </a:fld>
            <a:endParaRPr lang="de-DE"/>
          </a:p>
        </p:txBody>
      </p:sp>
      <p:sp>
        <p:nvSpPr>
          <p:cNvPr id="5" name="Fußzeilenplatzhalter 4"/>
          <p:cNvSpPr>
            <a:spLocks noGrp="1"/>
          </p:cNvSpPr>
          <p:nvPr>
            <p:ph type="ftr" sz="quarter" idx="3"/>
          </p:nvPr>
        </p:nvSpPr>
        <p:spPr>
          <a:xfrm>
            <a:off x="194338" y="6391275"/>
            <a:ext cx="8740113" cy="244866"/>
          </a:xfrm>
          <a:prstGeom prst="rect">
            <a:avLst/>
          </a:prstGeom>
        </p:spPr>
        <p:txBody>
          <a:bodyPr vert="horz" wrap="none" lIns="0" tIns="0" rIns="0" bIns="0" rtlCol="0" anchor="b"/>
          <a:lstStyle>
            <a:lvl1pPr algn="l">
              <a:defRPr sz="800">
                <a:solidFill>
                  <a:schemeClr val="tx1">
                    <a:tint val="75000"/>
                  </a:schemeClr>
                </a:solidFill>
              </a:defRPr>
            </a:lvl1pPr>
          </a:lstStyle>
          <a:p>
            <a:r>
              <a:rPr lang="de-DE" dirty="0" smtClean="0"/>
              <a:t>Entwurf</a:t>
            </a:r>
            <a:endParaRPr lang="de-DE" dirty="0"/>
          </a:p>
        </p:txBody>
      </p:sp>
      <p:sp>
        <p:nvSpPr>
          <p:cNvPr id="6" name="Foliennummernplatzhalter 5"/>
          <p:cNvSpPr>
            <a:spLocks noGrp="1"/>
          </p:cNvSpPr>
          <p:nvPr>
            <p:ph type="sldNum" sz="quarter" idx="4"/>
          </p:nvPr>
        </p:nvSpPr>
        <p:spPr>
          <a:xfrm>
            <a:off x="8931442" y="6659477"/>
            <a:ext cx="773912" cy="167164"/>
          </a:xfrm>
          <a:prstGeom prst="rect">
            <a:avLst/>
          </a:prstGeom>
        </p:spPr>
        <p:txBody>
          <a:bodyPr vert="horz" wrap="none" lIns="0" tIns="0" rIns="0" bIns="0" rtlCol="0" anchor="b"/>
          <a:lstStyle>
            <a:lvl1pPr algn="r">
              <a:defRPr sz="800">
                <a:solidFill>
                  <a:schemeClr val="tx1">
                    <a:tint val="75000"/>
                  </a:schemeClr>
                </a:solidFill>
              </a:defRPr>
            </a:lvl1pPr>
          </a:lstStyle>
          <a:p>
            <a:fld id="{4AD1E780-DE1C-4ECA-B5E5-863D0BC53287}" type="slidenum">
              <a:rPr lang="de-DE" smtClean="0"/>
              <a:pPr/>
              <a:t>‹#›</a:t>
            </a:fld>
            <a:endParaRPr lang="de-DE" dirty="0"/>
          </a:p>
        </p:txBody>
      </p:sp>
    </p:spTree>
    <p:extLst>
      <p:ext uri="{BB962C8B-B14F-4D97-AF65-F5344CB8AC3E}">
        <p14:creationId xmlns:p14="http://schemas.microsoft.com/office/powerpoint/2010/main" val="3895257987"/>
      </p:ext>
    </p:extLst>
  </p:cSld>
  <p:clrMap bg1="lt1" tx1="dk1" bg2="lt2" tx2="dk2" accent1="accent1" accent2="accent2" accent3="accent3" accent4="accent4" accent5="accent5" accent6="accent6" hlink="hlink" folHlink="folHlink"/>
  <p:sldLayoutIdLst>
    <p:sldLayoutId id="2147483649" r:id="rId1"/>
    <p:sldLayoutId id="2147483660" r:id="rId2"/>
    <p:sldLayoutId id="2147483656" r:id="rId3"/>
  </p:sldLayoutIdLst>
  <p:timing>
    <p:tnLst>
      <p:par>
        <p:cTn id="1" dur="indefinite" restart="never" nodeType="tmRoot"/>
      </p:par>
    </p:tnLst>
  </p:timing>
  <p:hf hdr="0"/>
  <p:txStyles>
    <p:titleStyle>
      <a:lvl1pPr algn="l" defTabSz="914400" rtl="0" eaLnBrk="1" latinLnBrk="0" hangingPunct="1">
        <a:spcBef>
          <a:spcPct val="0"/>
        </a:spcBef>
        <a:buNone/>
        <a:defRPr sz="1600" kern="1200" baseline="0">
          <a:solidFill>
            <a:schemeClr val="tx2"/>
          </a:solidFill>
          <a:latin typeface="+mj-lt"/>
          <a:ea typeface="+mj-ea"/>
          <a:cs typeface="+mj-cs"/>
        </a:defRPr>
      </a:lvl1pPr>
    </p:titleStyle>
    <p:bodyStyle>
      <a:lvl1pPr marL="0" indent="0" algn="l" defTabSz="914400" rtl="0" eaLnBrk="1" latinLnBrk="0" hangingPunct="1">
        <a:spcBef>
          <a:spcPts val="200"/>
        </a:spcBef>
        <a:buClr>
          <a:schemeClr val="tx2"/>
        </a:buClr>
        <a:buFont typeface="Wingdings" pitchFamily="2" charset="2"/>
        <a:buNone/>
        <a:defRPr sz="1600" kern="1200">
          <a:solidFill>
            <a:schemeClr val="tx2"/>
          </a:solidFill>
          <a:latin typeface="+mn-lt"/>
          <a:ea typeface="+mn-ea"/>
          <a:cs typeface="+mn-cs"/>
        </a:defRPr>
      </a:lvl1pPr>
      <a:lvl2pPr marL="180975" indent="-180975" algn="l" defTabSz="914400" rtl="0" eaLnBrk="1" latinLnBrk="0" hangingPunct="1">
        <a:spcBef>
          <a:spcPts val="200"/>
        </a:spcBef>
        <a:buClr>
          <a:schemeClr val="tx2"/>
        </a:buClr>
        <a:buFont typeface="Wingdings" pitchFamily="2" charset="2"/>
        <a:buChar char="§"/>
        <a:defRPr sz="1600" kern="1200">
          <a:solidFill>
            <a:schemeClr val="tx2"/>
          </a:solidFill>
          <a:latin typeface="+mn-lt"/>
          <a:ea typeface="+mn-ea"/>
          <a:cs typeface="+mn-cs"/>
        </a:defRPr>
      </a:lvl2pPr>
      <a:lvl3pPr marL="355600" indent="-174625"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3pPr>
      <a:lvl4pPr marL="538163" indent="-182563"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4pPr>
      <a:lvl5pPr marL="719138" indent="-180975" algn="l" defTabSz="914400" rtl="0" eaLnBrk="1" latinLnBrk="0" hangingPunct="1">
        <a:spcBef>
          <a:spcPts val="200"/>
        </a:spcBef>
        <a:buClr>
          <a:schemeClr val="tx2"/>
        </a:buClr>
        <a:buFont typeface="Symbol" pitchFamily="18" charset="2"/>
        <a:buChar char="-"/>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Layout" Target="../slideLayouts/slideLayout3.xml"/><Relationship Id="rId7" Type="http://schemas.openxmlformats.org/officeDocument/2006/relationships/image" Target="../media/image2.png"/><Relationship Id="rId2" Type="http://schemas.openxmlformats.org/officeDocument/2006/relationships/tags" Target="../tags/tag10.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image" Target="../media/image16.png"/></Relationships>
</file>

<file path=ppt/slides/_rels/slide1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6.png"/></Relationships>
</file>

<file path=ppt/slides/_rels/slide1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3.xml"/><Relationship Id="rId1" Type="http://schemas.openxmlformats.org/officeDocument/2006/relationships/slideLayout" Target="../slideLayouts/slideLayout2.xml"/><Relationship Id="rId4" Type="http://schemas.openxmlformats.org/officeDocument/2006/relationships/hyperlink" Target="https://oa2020.org/" TargetMode="External"/></Relationships>
</file>

<file path=ppt/slides/_rels/slide1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4.xml"/><Relationship Id="rId1" Type="http://schemas.openxmlformats.org/officeDocument/2006/relationships/slideLayout" Target="../slideLayouts/slideLayout2.xml"/><Relationship Id="rId4" Type="http://schemas.openxmlformats.org/officeDocument/2006/relationships/hyperlink" Target="https://oa2020.org/b14-conference/" TargetMode="External"/></Relationships>
</file>

<file path=ppt/slides/_rels/slide17.xml.rels><?xml version="1.0" encoding="UTF-8" standalone="yes"?>
<Relationships xmlns="http://schemas.openxmlformats.org/package/2006/relationships"><Relationship Id="rId3" Type="http://schemas.openxmlformats.org/officeDocument/2006/relationships/hyperlink" Target="http://www.vsnu.nl/openaccess" TargetMode="External"/><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6.xml"/><Relationship Id="rId1" Type="http://schemas.openxmlformats.org/officeDocument/2006/relationships/slideLayout" Target="../slideLayouts/slideLayout2.xml"/><Relationship Id="rId4" Type="http://schemas.openxmlformats.org/officeDocument/2006/relationships/image" Target="../media/image8.gif"/></Relationships>
</file>

<file path=ppt/slides/_rels/slide1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7.xml"/><Relationship Id="rId1" Type="http://schemas.openxmlformats.org/officeDocument/2006/relationships/slideLayout" Target="../slideLayouts/slideLayout2.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8.gif"/></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8.xml"/><Relationship Id="rId1" Type="http://schemas.openxmlformats.org/officeDocument/2006/relationships/slideLayout" Target="../slideLayouts/slideLayout2.xml"/><Relationship Id="rId5" Type="http://schemas.openxmlformats.org/officeDocument/2006/relationships/image" Target="../media/image9.png"/><Relationship Id="rId4" Type="http://schemas.openxmlformats.org/officeDocument/2006/relationships/image" Target="../media/image8.gif"/></Relationships>
</file>

<file path=ppt/slides/_rels/slide2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9.xml"/><Relationship Id="rId1" Type="http://schemas.openxmlformats.org/officeDocument/2006/relationships/slideLayout" Target="../slideLayouts/slideLayout2.xml"/><Relationship Id="rId5" Type="http://schemas.openxmlformats.org/officeDocument/2006/relationships/image" Target="../media/image9.png"/><Relationship Id="rId4" Type="http://schemas.openxmlformats.org/officeDocument/2006/relationships/image" Target="../media/image8.gif"/></Relationships>
</file>

<file path=ppt/slides/_rels/slide2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20.xml"/><Relationship Id="rId1" Type="http://schemas.openxmlformats.org/officeDocument/2006/relationships/slideLayout" Target="../slideLayouts/slideLayout2.xml"/><Relationship Id="rId5" Type="http://schemas.openxmlformats.org/officeDocument/2006/relationships/image" Target="../media/image9.png"/><Relationship Id="rId4" Type="http://schemas.openxmlformats.org/officeDocument/2006/relationships/image" Target="../media/image8.gif"/></Relationships>
</file>

<file path=ppt/slides/_rels/slide2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21.xml"/><Relationship Id="rId1" Type="http://schemas.openxmlformats.org/officeDocument/2006/relationships/slideLayout" Target="../slideLayouts/slideLayout2.xml"/><Relationship Id="rId5" Type="http://schemas.openxmlformats.org/officeDocument/2006/relationships/image" Target="../media/image9.png"/><Relationship Id="rId4" Type="http://schemas.openxmlformats.org/officeDocument/2006/relationships/image" Target="../media/image8.gif"/></Relationships>
</file>

<file path=ppt/slides/_rels/slide2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22.xml"/><Relationship Id="rId1" Type="http://schemas.openxmlformats.org/officeDocument/2006/relationships/slideLayout" Target="../slideLayouts/slideLayout2.xml"/><Relationship Id="rId4" Type="http://schemas.openxmlformats.org/officeDocument/2006/relationships/image" Target="../media/image8.gif"/></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5.xml"/><Relationship Id="rId1" Type="http://schemas.openxmlformats.org/officeDocument/2006/relationships/slideLayout" Target="../slideLayouts/slideLayout2.xml"/><Relationship Id="rId6" Type="http://schemas.openxmlformats.org/officeDocument/2006/relationships/hyperlink" Target="https://www.timeshighereducation.com/news/max-planck-society-cancels-elsevier-subscription-over-open-access" TargetMode="External"/><Relationship Id="rId5" Type="http://schemas.openxmlformats.org/officeDocument/2006/relationships/image" Target="../media/image27.png"/><Relationship Id="rId4" Type="http://schemas.openxmlformats.org/officeDocument/2006/relationships/image" Target="../media/image26.png"/></Relationships>
</file>

<file path=ppt/slides/_rels/slide2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2.xml"/><Relationship Id="rId5" Type="http://schemas.openxmlformats.org/officeDocument/2006/relationships/hyperlink" Target="http://www.openaccess.nl/sites/www.openaccess.nl/files/documenten/howtogettothepdf_march_2018.pdf" TargetMode="External"/><Relationship Id="rId4" Type="http://schemas.openxmlformats.org/officeDocument/2006/relationships/image" Target="../media/image30.png"/></Relationships>
</file>

<file path=ppt/slides/_rels/slide29.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34.png"/><Relationship Id="rId2" Type="http://schemas.openxmlformats.org/officeDocument/2006/relationships/notesSlide" Target="../notesSlides/notesSlide26.xml"/><Relationship Id="rId1" Type="http://schemas.openxmlformats.org/officeDocument/2006/relationships/slideLayout" Target="../slideLayouts/slideLayout2.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png"/></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7.png"/></Relationships>
</file>

<file path=ppt/slides/_rels/slide3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7.xml"/><Relationship Id="rId1" Type="http://schemas.openxmlformats.org/officeDocument/2006/relationships/slideLayout" Target="../slideLayouts/slideLayout2.xml"/><Relationship Id="rId5" Type="http://schemas.openxmlformats.org/officeDocument/2006/relationships/hyperlink" Target="https://www.hrk.de/press/press-releases/press-release/meldung/wiley-and-projekt-deal-partner-to-enhance-the-future-of-scholarly-research-and-publishing-in-germany/" TargetMode="External"/><Relationship Id="rId4" Type="http://schemas.openxmlformats.org/officeDocument/2006/relationships/image" Target="../media/image35.png"/></Relationships>
</file>

<file path=ppt/slides/_rels/slide31.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image" Target="../media/image36.png"/><Relationship Id="rId7" Type="http://schemas.openxmlformats.org/officeDocument/2006/relationships/image" Target="../media/image38.png"/><Relationship Id="rId2" Type="http://schemas.openxmlformats.org/officeDocument/2006/relationships/notesSlide" Target="../notesSlides/notesSlide28.xml"/><Relationship Id="rId1" Type="http://schemas.openxmlformats.org/officeDocument/2006/relationships/slideLayout" Target="../slideLayouts/slideLayout2.xml"/><Relationship Id="rId6" Type="http://schemas.openxmlformats.org/officeDocument/2006/relationships/image" Target="../media/image37.png"/><Relationship Id="rId5" Type="http://schemas.openxmlformats.org/officeDocument/2006/relationships/hyperlink" Target="https://http/eisz.mtak.hu/index.php/en/" TargetMode="External"/><Relationship Id="rId4" Type="http://schemas.openxmlformats.org/officeDocument/2006/relationships/image" Target="../media/image3.png"/></Relationships>
</file>

<file path=ppt/slides/_rels/slide32.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9.xml"/><Relationship Id="rId1" Type="http://schemas.openxmlformats.org/officeDocument/2006/relationships/slideLayout" Target="../slideLayouts/slideLayout2.xml"/><Relationship Id="rId6" Type="http://schemas.openxmlformats.org/officeDocument/2006/relationships/image" Target="../media/image43.emf"/><Relationship Id="rId5" Type="http://schemas.openxmlformats.org/officeDocument/2006/relationships/image" Target="../media/image42.emf"/><Relationship Id="rId4" Type="http://schemas.openxmlformats.org/officeDocument/2006/relationships/image" Target="../media/image41.emf"/></Relationships>
</file>

<file path=ppt/slides/_rels/slide33.xml.rels><?xml version="1.0" encoding="UTF-8" standalone="yes"?>
<Relationships xmlns="http://schemas.openxmlformats.org/package/2006/relationships"><Relationship Id="rId3" Type="http://schemas.openxmlformats.org/officeDocument/2006/relationships/hyperlink" Target="https://www.coalition-s.org/implementation/" TargetMode="External"/><Relationship Id="rId2" Type="http://schemas.openxmlformats.org/officeDocument/2006/relationships/notesSlide" Target="../notesSlides/notesSlide30.xml"/><Relationship Id="rId1" Type="http://schemas.openxmlformats.org/officeDocument/2006/relationships/slideLayout" Target="../slideLayouts/slideLayout2.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png"/></Relationships>
</file>

<file path=ppt/slides/_rels/slide3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31.xml"/><Relationship Id="rId1" Type="http://schemas.openxmlformats.org/officeDocument/2006/relationships/slideLayout" Target="../slideLayouts/slideLayout2.xml"/><Relationship Id="rId5" Type="http://schemas.openxmlformats.org/officeDocument/2006/relationships/hyperlink" Target="https://www.sciencemag.org/news/2019/01/will-world-embrace-plan-s-radical-proposal-mandate-open-access-science-papers" TargetMode="External"/><Relationship Id="rId4" Type="http://schemas.openxmlformats.org/officeDocument/2006/relationships/image" Target="../media/image48.png"/></Relationships>
</file>

<file path=ppt/slides/_rels/slide35.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32.xml"/><Relationship Id="rId1" Type="http://schemas.openxmlformats.org/officeDocument/2006/relationships/slideLayout" Target="../slideLayouts/slideLayout2.xml"/><Relationship Id="rId4" Type="http://schemas.openxmlformats.org/officeDocument/2006/relationships/hyperlink" Target="https://oa2020.org/b14-conference/" TargetMode="External"/></Relationships>
</file>

<file path=ppt/slides/_rels/slide36.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hyperlink" Target="https://oa2020.org/Executive-Summary.pdf" TargetMode="External"/><Relationship Id="rId2" Type="http://schemas.openxmlformats.org/officeDocument/2006/relationships/notesSlide" Target="../notesSlides/notesSlide33.xml"/><Relationship Id="rId1" Type="http://schemas.openxmlformats.org/officeDocument/2006/relationships/slideLayout" Target="../slideLayouts/slideLayout2.xml"/><Relationship Id="rId6" Type="http://schemas.openxmlformats.org/officeDocument/2006/relationships/hyperlink" Target="https://oa2020.org/mission/" TargetMode="External"/><Relationship Id="rId5" Type="http://schemas.openxmlformats.org/officeDocument/2006/relationships/hyperlink" Target="https://treemaps.intact-project.org/" TargetMode="External"/><Relationship Id="rId4" Type="http://schemas.openxmlformats.org/officeDocument/2006/relationships/hyperlink" Target="https://https/oa2020.org/learn_more/#promote" TargetMode="External"/></Relationships>
</file>

<file path=ppt/slides/_rels/slide37.xml.rels><?xml version="1.0" encoding="UTF-8" standalone="yes"?>
<Relationships xmlns="http://schemas.openxmlformats.org/package/2006/relationships"><Relationship Id="rId3" Type="http://schemas.openxmlformats.org/officeDocument/2006/relationships/hyperlink" Target="http://esac-initiative.org/" TargetMode="External"/><Relationship Id="rId2" Type="http://schemas.openxmlformats.org/officeDocument/2006/relationships/notesSlide" Target="../notesSlides/notesSlide34.xml"/><Relationship Id="rId1" Type="http://schemas.openxmlformats.org/officeDocument/2006/relationships/slideLayout" Target="../slideLayouts/slideLayout2.xml"/><Relationship Id="rId6" Type="http://schemas.openxmlformats.org/officeDocument/2006/relationships/hyperlink" Target="mailto:contact@oa2020.org" TargetMode="External"/><Relationship Id="rId5" Type="http://schemas.openxmlformats.org/officeDocument/2006/relationships/hyperlink" Target="https://oa2020.org/learn_more/#gain" TargetMode="External"/><Relationship Id="rId4" Type="http://schemas.openxmlformats.org/officeDocument/2006/relationships/hyperlink" Target="https://treemaps.intact-project.org/" TargetMode="External"/></Relationships>
</file>

<file path=ppt/slides/_rels/slide3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hyperlink" Target="https://oa2020.org/" TargetMode="External"/><Relationship Id="rId2" Type="http://schemas.openxmlformats.org/officeDocument/2006/relationships/hyperlink" Target="mailto:campbell@mpdl.mpg.de" TargetMode="External"/><Relationship Id="rId1" Type="http://schemas.openxmlformats.org/officeDocument/2006/relationships/slideLayout" Target="../slideLayouts/slideLayout2.xml"/><Relationship Id="rId5" Type="http://schemas.openxmlformats.org/officeDocument/2006/relationships/image" Target="../media/image51.png"/><Relationship Id="rId4" Type="http://schemas.openxmlformats.org/officeDocument/2006/relationships/image" Target="../media/image50.gif"/></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tags" Target="../tags/tag18.xml"/><Relationship Id="rId13" Type="http://schemas.openxmlformats.org/officeDocument/2006/relationships/image" Target="../media/image8.gif"/><Relationship Id="rId3" Type="http://schemas.openxmlformats.org/officeDocument/2006/relationships/tags" Target="../tags/tag13.xml"/><Relationship Id="rId7" Type="http://schemas.openxmlformats.org/officeDocument/2006/relationships/tags" Target="../tags/tag17.xml"/><Relationship Id="rId12" Type="http://schemas.openxmlformats.org/officeDocument/2006/relationships/notesSlide" Target="../notesSlides/notesSlide4.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tags" Target="../tags/tag16.xml"/><Relationship Id="rId11" Type="http://schemas.openxmlformats.org/officeDocument/2006/relationships/slideLayout" Target="../slideLayouts/slideLayout2.xml"/><Relationship Id="rId5" Type="http://schemas.openxmlformats.org/officeDocument/2006/relationships/tags" Target="../tags/tag15.xml"/><Relationship Id="rId15" Type="http://schemas.openxmlformats.org/officeDocument/2006/relationships/image" Target="../media/image10.jpeg"/><Relationship Id="rId10" Type="http://schemas.openxmlformats.org/officeDocument/2006/relationships/tags" Target="../tags/tag20.xml"/><Relationship Id="rId4" Type="http://schemas.openxmlformats.org/officeDocument/2006/relationships/tags" Target="../tags/tag14.xml"/><Relationship Id="rId9" Type="http://schemas.openxmlformats.org/officeDocument/2006/relationships/tags" Target="../tags/tag19.xml"/><Relationship Id="rId14" Type="http://schemas.openxmlformats.org/officeDocument/2006/relationships/image" Target="../media/image9.png"/></Relationships>
</file>

<file path=ppt/slides/_rels/slide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12.png"/></Relationships>
</file>

<file path=ppt/slides/_rels/slide7.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8" Type="http://schemas.openxmlformats.org/officeDocument/2006/relationships/tags" Target="../tags/tag28.xml"/><Relationship Id="rId13" Type="http://schemas.openxmlformats.org/officeDocument/2006/relationships/image" Target="../media/image8.gif"/><Relationship Id="rId3" Type="http://schemas.openxmlformats.org/officeDocument/2006/relationships/tags" Target="../tags/tag23.xml"/><Relationship Id="rId7" Type="http://schemas.openxmlformats.org/officeDocument/2006/relationships/tags" Target="../tags/tag27.xml"/><Relationship Id="rId12" Type="http://schemas.openxmlformats.org/officeDocument/2006/relationships/notesSlide" Target="../notesSlides/notesSlide7.xml"/><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tags" Target="../tags/tag26.xml"/><Relationship Id="rId11" Type="http://schemas.openxmlformats.org/officeDocument/2006/relationships/slideLayout" Target="../slideLayouts/slideLayout2.xml"/><Relationship Id="rId5" Type="http://schemas.openxmlformats.org/officeDocument/2006/relationships/tags" Target="../tags/tag25.xml"/><Relationship Id="rId15" Type="http://schemas.openxmlformats.org/officeDocument/2006/relationships/image" Target="../media/image10.jpeg"/><Relationship Id="rId10" Type="http://schemas.openxmlformats.org/officeDocument/2006/relationships/tags" Target="../tags/tag30.xml"/><Relationship Id="rId4" Type="http://schemas.openxmlformats.org/officeDocument/2006/relationships/tags" Target="../tags/tag24.xml"/><Relationship Id="rId9" Type="http://schemas.openxmlformats.org/officeDocument/2006/relationships/tags" Target="../tags/tag29.xml"/><Relationship Id="rId14" Type="http://schemas.openxmlformats.org/officeDocument/2006/relationships/image" Target="../media/image9.png"/></Relationships>
</file>

<file path=ppt/slides/_rels/slide9.xml.rels><?xml version="1.0" encoding="UTF-8" standalone="yes"?>
<Relationships xmlns="http://schemas.openxmlformats.org/package/2006/relationships"><Relationship Id="rId3" Type="http://schemas.openxmlformats.org/officeDocument/2006/relationships/hyperlink" Target="http://hdl.handle.net/11858/00-001M-0000-0026-C274-7" TargetMode="External"/><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7" name="Gruppieren 36"/>
          <p:cNvGrpSpPr/>
          <p:nvPr/>
        </p:nvGrpSpPr>
        <p:grpSpPr>
          <a:xfrm>
            <a:off x="1594752" y="-7768073"/>
            <a:ext cx="9906000" cy="12246161"/>
            <a:chOff x="1891144" y="-7768073"/>
            <a:chExt cx="9906000" cy="12246161"/>
          </a:xfrm>
        </p:grpSpPr>
        <p:sp>
          <p:nvSpPr>
            <p:cNvPr id="35" name="Rechteck 34"/>
            <p:cNvSpPr/>
            <p:nvPr/>
          </p:nvSpPr>
          <p:spPr>
            <a:xfrm rot="18873811">
              <a:off x="-555707" y="-3415148"/>
              <a:ext cx="9906000" cy="120015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r>
                <a:rPr lang="de-DE" sz="1200" dirty="0" smtClean="0">
                  <a:solidFill>
                    <a:schemeClr val="tx1"/>
                  </a:solidFill>
                </a:rPr>
                <a:t> </a:t>
              </a:r>
            </a:p>
          </p:txBody>
        </p:sp>
        <p:sp>
          <p:nvSpPr>
            <p:cNvPr id="36" name="Rechteck 35"/>
            <p:cNvSpPr/>
            <p:nvPr/>
          </p:nvSpPr>
          <p:spPr>
            <a:xfrm>
              <a:off x="1891144" y="3277938"/>
              <a:ext cx="9906000" cy="12001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grpSp>
      <p:graphicFrame>
        <p:nvGraphicFramePr>
          <p:cNvPr id="9" name="Objekt 8"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4246" name="think-cell Folie" r:id="rId5" imgW="341" imgH="340" progId="TCLayout.ActiveDocument.1">
                  <p:embed/>
                </p:oleObj>
              </mc:Choice>
              <mc:Fallback>
                <p:oleObj name="think-cell Folie" r:id="rId5" imgW="341" imgH="34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17" name="TextBox 2"/>
          <p:cNvSpPr txBox="1"/>
          <p:nvPr/>
        </p:nvSpPr>
        <p:spPr>
          <a:xfrm>
            <a:off x="1791018" y="6014573"/>
            <a:ext cx="7003448" cy="492443"/>
          </a:xfrm>
          <a:prstGeom prst="rect">
            <a:avLst/>
          </a:prstGeom>
          <a:noFill/>
        </p:spPr>
        <p:txBody>
          <a:bodyPr wrap="square" lIns="0" tIns="0" rIns="0" bIns="0" rtlCol="0">
            <a:spAutoFit/>
          </a:bodyPr>
          <a:lstStyle/>
          <a:p>
            <a:r>
              <a:rPr lang="en-US" sz="1600" b="1" dirty="0" smtClean="0">
                <a:solidFill>
                  <a:schemeClr val="accent2"/>
                </a:solidFill>
              </a:rPr>
              <a:t>Colleen Campbell</a:t>
            </a:r>
          </a:p>
          <a:p>
            <a:r>
              <a:rPr lang="en-US" sz="1600" dirty="0" smtClean="0">
                <a:solidFill>
                  <a:schemeClr val="accent2"/>
                </a:solidFill>
              </a:rPr>
              <a:t>Open Access 2020 Initiative │ Max Planck Digital Library</a:t>
            </a:r>
          </a:p>
        </p:txBody>
      </p:sp>
      <p:sp>
        <p:nvSpPr>
          <p:cNvPr id="19" name="Untertitel 2"/>
          <p:cNvSpPr txBox="1">
            <a:spLocks/>
          </p:cNvSpPr>
          <p:nvPr/>
        </p:nvSpPr>
        <p:spPr>
          <a:xfrm>
            <a:off x="1791018" y="4993614"/>
            <a:ext cx="7995167" cy="1133644"/>
          </a:xfrm>
          <a:prstGeom prst="rect">
            <a:avLst/>
          </a:prstGeom>
        </p:spPr>
        <p:txBody>
          <a:bodyPr lIns="0" tIns="0" rIns="0" bIns="0"/>
          <a:lstStyle>
            <a:lvl1pPr marL="0" indent="0" algn="l" defTabSz="914400" rtl="0" eaLnBrk="1" latinLnBrk="0" hangingPunct="1">
              <a:spcBef>
                <a:spcPts val="200"/>
              </a:spcBef>
              <a:buClr>
                <a:schemeClr val="tx2"/>
              </a:buClr>
              <a:buFont typeface="Wingdings" pitchFamily="2" charset="2"/>
              <a:buNone/>
              <a:defRPr sz="1600" kern="1200">
                <a:solidFill>
                  <a:schemeClr val="tx2"/>
                </a:solidFill>
                <a:latin typeface="+mn-lt"/>
                <a:ea typeface="+mn-ea"/>
                <a:cs typeface="+mn-cs"/>
              </a:defRPr>
            </a:lvl1pPr>
            <a:lvl2pPr marL="180975" indent="-180975" algn="l" defTabSz="914400" rtl="0" eaLnBrk="1" latinLnBrk="0" hangingPunct="1">
              <a:spcBef>
                <a:spcPts val="200"/>
              </a:spcBef>
              <a:buClr>
                <a:schemeClr val="tx2"/>
              </a:buClr>
              <a:buFont typeface="Wingdings" pitchFamily="2" charset="2"/>
              <a:buChar char="§"/>
              <a:defRPr sz="1600" kern="1200">
                <a:solidFill>
                  <a:schemeClr val="tx2"/>
                </a:solidFill>
                <a:latin typeface="+mn-lt"/>
                <a:ea typeface="+mn-ea"/>
                <a:cs typeface="+mn-cs"/>
              </a:defRPr>
            </a:lvl2pPr>
            <a:lvl3pPr marL="355600" indent="-174625"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3pPr>
            <a:lvl4pPr marL="538163" indent="-182563"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4pPr>
            <a:lvl5pPr marL="719138" indent="-180975" algn="l" defTabSz="914400" rtl="0" eaLnBrk="1" latinLnBrk="0" hangingPunct="1">
              <a:spcBef>
                <a:spcPts val="200"/>
              </a:spcBef>
              <a:buClr>
                <a:schemeClr val="tx2"/>
              </a:buClr>
              <a:buFont typeface="Symbol" pitchFamily="18" charset="2"/>
              <a:buChar char="-"/>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solidFill>
                  <a:schemeClr val="accent2"/>
                </a:solidFill>
              </a:rPr>
              <a:t>18 </a:t>
            </a:r>
            <a:r>
              <a:rPr lang="en-US" dirty="0" smtClean="0">
                <a:solidFill>
                  <a:schemeClr val="accent2"/>
                </a:solidFill>
              </a:rPr>
              <a:t>March 2019│ </a:t>
            </a:r>
            <a:r>
              <a:rPr lang="en-GB" dirty="0" smtClean="0"/>
              <a:t>EIFL webinar</a:t>
            </a:r>
            <a:endParaRPr lang="en-US" dirty="0">
              <a:solidFill>
                <a:schemeClr val="accent2"/>
              </a:solidFill>
            </a:endParaRPr>
          </a:p>
        </p:txBody>
      </p:sp>
      <p:sp>
        <p:nvSpPr>
          <p:cNvPr id="18" name="Titel 1"/>
          <p:cNvSpPr>
            <a:spLocks noGrp="1"/>
          </p:cNvSpPr>
          <p:nvPr>
            <p:ph type="ctrTitle"/>
          </p:nvPr>
        </p:nvSpPr>
        <p:spPr>
          <a:xfrm>
            <a:off x="1855525" y="3593965"/>
            <a:ext cx="7943273" cy="523220"/>
          </a:xfrm>
        </p:spPr>
        <p:txBody>
          <a:bodyPr anchor="ctr" anchorCtr="0">
            <a:noAutofit/>
          </a:bodyPr>
          <a:lstStyle/>
          <a:p>
            <a:r>
              <a:rPr lang="en-US" sz="2400" dirty="0" smtClean="0">
                <a:solidFill>
                  <a:schemeClr val="bg1"/>
                </a:solidFill>
              </a:rPr>
              <a:t>Accelerating the transition to Open Access</a:t>
            </a:r>
            <a:br>
              <a:rPr lang="en-US" sz="2400" dirty="0" smtClean="0">
                <a:solidFill>
                  <a:schemeClr val="bg1"/>
                </a:solidFill>
              </a:rPr>
            </a:br>
            <a:r>
              <a:rPr lang="en-US" sz="2400" dirty="0" smtClean="0">
                <a:solidFill>
                  <a:schemeClr val="bg1"/>
                </a:solidFill>
              </a:rPr>
              <a:t>The global OA2020 Initiative</a:t>
            </a:r>
            <a:endParaRPr lang="en-US" sz="2400" dirty="0">
              <a:solidFill>
                <a:schemeClr val="bg1"/>
              </a:solidFill>
            </a:endParaRPr>
          </a:p>
        </p:txBody>
      </p:sp>
      <p:pic>
        <p:nvPicPr>
          <p:cNvPr id="20" name="Grafik 1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066497" y="388420"/>
            <a:ext cx="3269869" cy="1510641"/>
          </a:xfrm>
          <a:prstGeom prst="rect">
            <a:avLst/>
          </a:prstGeom>
        </p:spPr>
      </p:pic>
      <p:sp>
        <p:nvSpPr>
          <p:cNvPr id="21" name="Rechteck 20"/>
          <p:cNvSpPr/>
          <p:nvPr/>
        </p:nvSpPr>
        <p:spPr>
          <a:xfrm>
            <a:off x="8170568" y="6229502"/>
            <a:ext cx="552575" cy="153888"/>
          </a:xfrm>
          <a:prstGeom prst="rect">
            <a:avLst/>
          </a:prstGeom>
        </p:spPr>
        <p:txBody>
          <a:bodyPr wrap="none" lIns="0" tIns="0" rIns="0" bIns="0">
            <a:noAutofit/>
          </a:bodyPr>
          <a:lstStyle/>
          <a:p>
            <a:r>
              <a:rPr lang="de-DE" b="1" i="0" kern="1200" dirty="0" smtClean="0">
                <a:solidFill>
                  <a:schemeClr val="accent2"/>
                </a:solidFill>
              </a:rPr>
              <a:t>@oa2020ini</a:t>
            </a:r>
            <a:endParaRPr lang="de-DE" b="1" i="0" dirty="0">
              <a:solidFill>
                <a:schemeClr val="accent2"/>
              </a:solidFill>
            </a:endParaRPr>
          </a:p>
        </p:txBody>
      </p:sp>
      <p:pic>
        <p:nvPicPr>
          <p:cNvPr id="24" name="Grafik 23"/>
          <p:cNvPicPr>
            <a:picLocks noChangeAspect="1"/>
          </p:cNvPicPr>
          <p:nvPr/>
        </p:nvPicPr>
        <p:blipFill>
          <a:blip r:embed="rId8" cstate="print">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7648933" y="6170340"/>
            <a:ext cx="426099" cy="426099"/>
          </a:xfrm>
          <a:prstGeom prst="rect">
            <a:avLst/>
          </a:prstGeom>
          <a:noFill/>
          <a:ln>
            <a:noFill/>
          </a:ln>
        </p:spPr>
      </p:pic>
    </p:spTree>
    <p:extLst>
      <p:ext uri="{BB962C8B-B14F-4D97-AF65-F5344CB8AC3E}">
        <p14:creationId xmlns:p14="http://schemas.microsoft.com/office/powerpoint/2010/main" val="356400734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4AD1E780-DE1C-4ECA-B5E5-863D0BC53287}" type="slidenum">
              <a:rPr lang="de-DE" smtClean="0"/>
              <a:pPr/>
              <a:t>9</a:t>
            </a:fld>
            <a:endParaRPr lang="de-DE" dirty="0"/>
          </a:p>
        </p:txBody>
      </p:sp>
      <p:pic>
        <p:nvPicPr>
          <p:cNvPr id="6" name="Picture 2"/>
          <p:cNvPicPr>
            <a:picLocks noChangeAspect="1" noChangeArrowheads="1"/>
          </p:cNvPicPr>
          <p:nvPr/>
        </p:nvPicPr>
        <p:blipFill>
          <a:blip r:embed="rId3">
            <a:grayscl/>
            <a:extLst>
              <a:ext uri="{28A0092B-C50C-407E-A947-70E740481C1C}">
                <a14:useLocalDpi xmlns:a14="http://schemas.microsoft.com/office/drawing/2010/main" val="0"/>
              </a:ext>
            </a:extLst>
          </a:blip>
          <a:srcRect/>
          <a:stretch>
            <a:fillRect/>
          </a:stretch>
        </p:blipFill>
        <p:spPr bwMode="auto">
          <a:xfrm>
            <a:off x="359491" y="1209676"/>
            <a:ext cx="7384308" cy="464100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Textfeld 1"/>
          <p:cNvSpPr txBox="1"/>
          <p:nvPr/>
        </p:nvSpPr>
        <p:spPr>
          <a:xfrm>
            <a:off x="2567399" y="1904749"/>
            <a:ext cx="1863064" cy="251024"/>
          </a:xfrm>
          <a:prstGeom prst="rect">
            <a:avLst/>
          </a:prstGeom>
          <a:noFill/>
        </p:spPr>
        <p:txBody>
          <a:bodyPr wrap="square" rtlCol="0">
            <a:spAutoFit/>
          </a:bodyPr>
          <a:lstStyle/>
          <a:p>
            <a:r>
              <a:rPr lang="en-US" sz="1000" dirty="0" smtClean="0"/>
              <a:t>(OA as of 2017)</a:t>
            </a:r>
            <a:endParaRPr lang="en-US" sz="1000" dirty="0"/>
          </a:p>
        </p:txBody>
      </p:sp>
      <p:sp>
        <p:nvSpPr>
          <p:cNvPr id="8" name="TextBox 7"/>
          <p:cNvSpPr txBox="1"/>
          <p:nvPr/>
        </p:nvSpPr>
        <p:spPr>
          <a:xfrm>
            <a:off x="302341" y="5960580"/>
            <a:ext cx="7801802" cy="523220"/>
          </a:xfrm>
          <a:prstGeom prst="rect">
            <a:avLst/>
          </a:prstGeom>
          <a:noFill/>
        </p:spPr>
        <p:txBody>
          <a:bodyPr wrap="square" rtlCol="0">
            <a:spAutoFit/>
          </a:bodyPr>
          <a:lstStyle/>
          <a:p>
            <a:r>
              <a:rPr lang="en-US" sz="1400" dirty="0" smtClean="0">
                <a:solidFill>
                  <a:schemeClr val="accent6"/>
                </a:solidFill>
              </a:rPr>
              <a:t>20 largest journals, based on number of papers published in 2016. OA highlighted in grey.</a:t>
            </a:r>
          </a:p>
          <a:p>
            <a:r>
              <a:rPr lang="en-US" sz="1400" dirty="0" smtClean="0">
                <a:solidFill>
                  <a:schemeClr val="accent6"/>
                </a:solidFill>
              </a:rPr>
              <a:t>MPDL analysis based on data from </a:t>
            </a:r>
            <a:r>
              <a:rPr lang="en-US" sz="1400" b="1" i="1" dirty="0" smtClean="0">
                <a:solidFill>
                  <a:schemeClr val="accent6"/>
                </a:solidFill>
              </a:rPr>
              <a:t>Web </a:t>
            </a:r>
            <a:r>
              <a:rPr lang="en-US" sz="1400" b="1" i="1" dirty="0">
                <a:solidFill>
                  <a:schemeClr val="accent6"/>
                </a:solidFill>
              </a:rPr>
              <a:t>of </a:t>
            </a:r>
            <a:r>
              <a:rPr lang="en-US" sz="1400" b="1" i="1" dirty="0" smtClean="0">
                <a:solidFill>
                  <a:schemeClr val="accent6"/>
                </a:solidFill>
              </a:rPr>
              <a:t>Science.</a:t>
            </a:r>
            <a:endParaRPr lang="en-GB" sz="1400" dirty="0">
              <a:solidFill>
                <a:schemeClr val="accent6"/>
              </a:solidFill>
            </a:endParaRPr>
          </a:p>
        </p:txBody>
      </p:sp>
      <p:sp>
        <p:nvSpPr>
          <p:cNvPr id="11" name="Textplatzhalter 2"/>
          <p:cNvSpPr txBox="1">
            <a:spLocks/>
          </p:cNvSpPr>
          <p:nvPr/>
        </p:nvSpPr>
        <p:spPr>
          <a:xfrm>
            <a:off x="257951" y="399646"/>
            <a:ext cx="9447403" cy="697671"/>
          </a:xfrm>
          <a:prstGeom prst="rect">
            <a:avLst/>
          </a:prstGeom>
        </p:spPr>
        <p:txBody>
          <a:bodyPr anchor="t" anchorCtr="0"/>
          <a:lstStyle>
            <a:lvl1pPr marL="0" indent="0" algn="l" defTabSz="914400" rtl="0" eaLnBrk="1" latinLnBrk="0" hangingPunct="1">
              <a:spcBef>
                <a:spcPts val="200"/>
              </a:spcBef>
              <a:buClr>
                <a:schemeClr val="tx2"/>
              </a:buClr>
              <a:buFont typeface="Wingdings" pitchFamily="2" charset="2"/>
              <a:buNone/>
              <a:defRPr sz="1600" kern="1200">
                <a:solidFill>
                  <a:schemeClr val="tx2"/>
                </a:solidFill>
                <a:latin typeface="+mn-lt"/>
                <a:ea typeface="+mn-ea"/>
                <a:cs typeface="+mn-cs"/>
              </a:defRPr>
            </a:lvl1pPr>
            <a:lvl2pPr marL="180975" indent="-180975" algn="l" defTabSz="914400" rtl="0" eaLnBrk="1" latinLnBrk="0" hangingPunct="1">
              <a:spcBef>
                <a:spcPts val="200"/>
              </a:spcBef>
              <a:buClr>
                <a:schemeClr val="tx2"/>
              </a:buClr>
              <a:buFont typeface="Wingdings" pitchFamily="2" charset="2"/>
              <a:buChar char="§"/>
              <a:defRPr sz="1600" kern="1200">
                <a:solidFill>
                  <a:schemeClr val="tx2"/>
                </a:solidFill>
                <a:latin typeface="+mn-lt"/>
                <a:ea typeface="+mn-ea"/>
                <a:cs typeface="+mn-cs"/>
              </a:defRPr>
            </a:lvl2pPr>
            <a:lvl3pPr marL="355600" indent="-174625"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3pPr>
            <a:lvl4pPr marL="538163" indent="-182563"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4pPr>
            <a:lvl5pPr marL="719138" indent="-180975" algn="l" defTabSz="914400" rtl="0" eaLnBrk="1" latinLnBrk="0" hangingPunct="1">
              <a:spcBef>
                <a:spcPts val="200"/>
              </a:spcBef>
              <a:buClr>
                <a:schemeClr val="tx2"/>
              </a:buClr>
              <a:buFont typeface="Symbol" pitchFamily="18" charset="2"/>
              <a:buChar char="-"/>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3600" b="1" dirty="0" smtClean="0">
                <a:solidFill>
                  <a:schemeClr val="accent6"/>
                </a:solidFill>
              </a:rPr>
              <a:t>OA </a:t>
            </a:r>
            <a:r>
              <a:rPr lang="de-DE" sz="3600" b="1" dirty="0" err="1" smtClean="0">
                <a:solidFill>
                  <a:schemeClr val="accent6"/>
                </a:solidFill>
              </a:rPr>
              <a:t>publishing</a:t>
            </a:r>
            <a:r>
              <a:rPr lang="de-DE" sz="3600" b="1" dirty="0" smtClean="0">
                <a:solidFill>
                  <a:schemeClr val="accent6"/>
                </a:solidFill>
              </a:rPr>
              <a:t> </a:t>
            </a:r>
            <a:r>
              <a:rPr lang="de-DE" sz="3600" b="1" dirty="0" err="1" smtClean="0">
                <a:solidFill>
                  <a:schemeClr val="accent6"/>
                </a:solidFill>
              </a:rPr>
              <a:t>is</a:t>
            </a:r>
            <a:r>
              <a:rPr lang="de-DE" sz="3600" b="1" dirty="0" smtClean="0">
                <a:solidFill>
                  <a:schemeClr val="accent6"/>
                </a:solidFill>
              </a:rPr>
              <a:t> a </a:t>
            </a:r>
            <a:r>
              <a:rPr lang="de-DE" sz="3600" b="1" dirty="0" err="1" smtClean="0">
                <a:solidFill>
                  <a:schemeClr val="accent6"/>
                </a:solidFill>
              </a:rPr>
              <a:t>growing</a:t>
            </a:r>
            <a:r>
              <a:rPr lang="de-DE" sz="3600" b="1" dirty="0" smtClean="0">
                <a:solidFill>
                  <a:schemeClr val="accent6"/>
                </a:solidFill>
              </a:rPr>
              <a:t> </a:t>
            </a:r>
            <a:r>
              <a:rPr lang="de-DE" sz="3600" b="1" dirty="0" err="1" smtClean="0">
                <a:solidFill>
                  <a:schemeClr val="accent6"/>
                </a:solidFill>
              </a:rPr>
              <a:t>market</a:t>
            </a:r>
            <a:endParaRPr lang="de-DE" sz="3600" dirty="0"/>
          </a:p>
        </p:txBody>
      </p:sp>
    </p:spTree>
    <p:extLst>
      <p:ext uri="{BB962C8B-B14F-4D97-AF65-F5344CB8AC3E}">
        <p14:creationId xmlns:p14="http://schemas.microsoft.com/office/powerpoint/2010/main" val="108775675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nhaltsplatzhalter 2"/>
          <p:cNvSpPr txBox="1">
            <a:spLocks/>
          </p:cNvSpPr>
          <p:nvPr/>
        </p:nvSpPr>
        <p:spPr>
          <a:xfrm>
            <a:off x="482456" y="1390515"/>
            <a:ext cx="8652116" cy="450492"/>
          </a:xfrm>
          <a:prstGeom prst="rect">
            <a:avLst/>
          </a:prstGeom>
        </p:spPr>
        <p:txBody>
          <a:bodyPr vert="horz" lIns="0" tIns="0" rIns="0" bIns="0" rtlCol="0">
            <a:noAutofit/>
          </a:bodyPr>
          <a:lstStyle>
            <a:lvl1pPr marL="0" indent="0" algn="ctr" defTabSz="1280160" rtl="0" eaLnBrk="1" latinLnBrk="0" hangingPunct="1">
              <a:spcBef>
                <a:spcPct val="20000"/>
              </a:spcBef>
              <a:buFont typeface="Arial" panose="020B0604020202020204" pitchFamily="34" charset="0"/>
              <a:buNone/>
              <a:defRPr sz="4500" kern="1200">
                <a:solidFill>
                  <a:schemeClr val="tx1">
                    <a:tint val="75000"/>
                  </a:schemeClr>
                </a:solidFill>
                <a:latin typeface="+mn-lt"/>
                <a:ea typeface="+mn-ea"/>
                <a:cs typeface="+mn-cs"/>
              </a:defRPr>
            </a:lvl1pPr>
            <a:lvl2pPr marL="640080" indent="0" algn="ctr" defTabSz="1280160" rtl="0" eaLnBrk="1" latinLnBrk="0" hangingPunct="1">
              <a:spcBef>
                <a:spcPct val="20000"/>
              </a:spcBef>
              <a:buFont typeface="Arial" panose="020B0604020202020204" pitchFamily="34" charset="0"/>
              <a:buNone/>
              <a:defRPr sz="3900" kern="1200">
                <a:solidFill>
                  <a:schemeClr val="tx1">
                    <a:tint val="75000"/>
                  </a:schemeClr>
                </a:solidFill>
                <a:latin typeface="+mn-lt"/>
                <a:ea typeface="+mn-ea"/>
                <a:cs typeface="+mn-cs"/>
              </a:defRPr>
            </a:lvl2pPr>
            <a:lvl3pPr marL="1280160" indent="0" algn="ctr" defTabSz="1280160" rtl="0" eaLnBrk="1" latinLnBrk="0" hangingPunct="1">
              <a:spcBef>
                <a:spcPct val="20000"/>
              </a:spcBef>
              <a:buFont typeface="Arial" panose="020B0604020202020204" pitchFamily="34" charset="0"/>
              <a:buNone/>
              <a:defRPr sz="3400" kern="1200">
                <a:solidFill>
                  <a:schemeClr val="tx1">
                    <a:tint val="75000"/>
                  </a:schemeClr>
                </a:solidFill>
                <a:latin typeface="+mn-lt"/>
                <a:ea typeface="+mn-ea"/>
                <a:cs typeface="+mn-cs"/>
              </a:defRPr>
            </a:lvl3pPr>
            <a:lvl4pPr marL="192024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4pPr>
            <a:lvl5pPr marL="256032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5pPr>
            <a:lvl6pPr marL="320040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6pPr>
            <a:lvl7pPr marL="384048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7pPr>
            <a:lvl8pPr marL="448056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8pPr>
            <a:lvl9pPr marL="512064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9pPr>
          </a:lstStyle>
          <a:p>
            <a:pPr algn="l"/>
            <a:r>
              <a:rPr lang="en-US" sz="3200" dirty="0" smtClean="0">
                <a:solidFill>
                  <a:schemeClr val="accent2"/>
                </a:solidFill>
                <a:latin typeface="Arial" panose="020B0604020202020204" pitchFamily="34" charset="0"/>
                <a:cs typeface="Arial" panose="020B0604020202020204" pitchFamily="34" charset="0"/>
              </a:rPr>
              <a:t>OA publishing constitutes an </a:t>
            </a:r>
            <a:r>
              <a:rPr lang="en-US" sz="3200" b="1" dirty="0" smtClean="0">
                <a:solidFill>
                  <a:schemeClr val="accent2"/>
                </a:solidFill>
                <a:latin typeface="Arial" panose="020B0604020202020204" pitchFamily="34" charset="0"/>
                <a:cs typeface="Arial" panose="020B0604020202020204" pitchFamily="34" charset="0"/>
              </a:rPr>
              <a:t>unmonitored </a:t>
            </a:r>
            <a:br>
              <a:rPr lang="en-US" sz="3200" b="1" dirty="0" smtClean="0">
                <a:solidFill>
                  <a:schemeClr val="accent2"/>
                </a:solidFill>
                <a:latin typeface="Arial" panose="020B0604020202020204" pitchFamily="34" charset="0"/>
                <a:cs typeface="Arial" panose="020B0604020202020204" pitchFamily="34" charset="0"/>
              </a:rPr>
            </a:br>
            <a:r>
              <a:rPr lang="en-US" sz="3200" b="1" dirty="0" smtClean="0">
                <a:solidFill>
                  <a:schemeClr val="accent2"/>
                </a:solidFill>
                <a:latin typeface="Arial" panose="020B0604020202020204" pitchFamily="34" charset="0"/>
                <a:cs typeface="Arial" panose="020B0604020202020204" pitchFamily="34" charset="0"/>
              </a:rPr>
              <a:t>and unchecked parallel revenue stream </a:t>
            </a:r>
            <a:br>
              <a:rPr lang="en-US" sz="3200" b="1" dirty="0" smtClean="0">
                <a:solidFill>
                  <a:schemeClr val="accent2"/>
                </a:solidFill>
                <a:latin typeface="Arial" panose="020B0604020202020204" pitchFamily="34" charset="0"/>
                <a:cs typeface="Arial" panose="020B0604020202020204" pitchFamily="34" charset="0"/>
              </a:rPr>
            </a:br>
            <a:r>
              <a:rPr lang="en-US" sz="3200" dirty="0" smtClean="0">
                <a:solidFill>
                  <a:schemeClr val="accent2"/>
                </a:solidFill>
                <a:latin typeface="Arial" panose="020B0604020202020204" pitchFamily="34" charset="0"/>
                <a:cs typeface="Arial" panose="020B0604020202020204" pitchFamily="34" charset="0"/>
              </a:rPr>
              <a:t>for </a:t>
            </a:r>
            <a:r>
              <a:rPr lang="en-US" sz="3200" b="1" dirty="0" smtClean="0">
                <a:solidFill>
                  <a:schemeClr val="accent2"/>
                </a:solidFill>
                <a:latin typeface="Arial" panose="020B0604020202020204" pitchFamily="34" charset="0"/>
                <a:cs typeface="Arial" panose="020B0604020202020204" pitchFamily="34" charset="0"/>
              </a:rPr>
              <a:t>subscription </a:t>
            </a:r>
            <a:r>
              <a:rPr lang="en-US" sz="3200" dirty="0" smtClean="0">
                <a:solidFill>
                  <a:schemeClr val="accent2"/>
                </a:solidFill>
                <a:latin typeface="Arial" panose="020B0604020202020204" pitchFamily="34" charset="0"/>
                <a:cs typeface="Arial" panose="020B0604020202020204" pitchFamily="34" charset="0"/>
              </a:rPr>
              <a:t>publishers</a:t>
            </a:r>
            <a:endParaRPr lang="de-DE" sz="4800" dirty="0">
              <a:solidFill>
                <a:schemeClr val="accent2"/>
              </a:solidFill>
              <a:latin typeface="Arial" panose="020B0604020202020204" pitchFamily="34" charset="0"/>
              <a:cs typeface="Arial" panose="020B0604020202020204" pitchFamily="34" charset="0"/>
            </a:endParaRPr>
          </a:p>
        </p:txBody>
      </p:sp>
      <p:sp>
        <p:nvSpPr>
          <p:cNvPr id="3" name="Foliennummernplatzhalter 2"/>
          <p:cNvSpPr>
            <a:spLocks noGrp="1"/>
          </p:cNvSpPr>
          <p:nvPr>
            <p:ph type="sldNum" sz="quarter" idx="12"/>
          </p:nvPr>
        </p:nvSpPr>
        <p:spPr/>
        <p:txBody>
          <a:bodyPr/>
          <a:lstStyle/>
          <a:p>
            <a:fld id="{4AD1E780-DE1C-4ECA-B5E5-863D0BC53287}" type="slidenum">
              <a:rPr lang="de-DE" smtClean="0"/>
              <a:pPr/>
              <a:t>10</a:t>
            </a:fld>
            <a:endParaRPr lang="de-DE" dirty="0"/>
          </a:p>
        </p:txBody>
      </p:sp>
      <p:sp>
        <p:nvSpPr>
          <p:cNvPr id="4" name="Textplatzhalter 2"/>
          <p:cNvSpPr txBox="1">
            <a:spLocks/>
          </p:cNvSpPr>
          <p:nvPr/>
        </p:nvSpPr>
        <p:spPr>
          <a:xfrm>
            <a:off x="249073" y="381890"/>
            <a:ext cx="8885499" cy="697671"/>
          </a:xfrm>
          <a:prstGeom prst="rect">
            <a:avLst/>
          </a:prstGeom>
        </p:spPr>
        <p:txBody>
          <a:bodyPr anchor="t" anchorCtr="0"/>
          <a:lstStyle>
            <a:lvl1pPr marL="0" indent="0" algn="l" defTabSz="914400" rtl="0" eaLnBrk="1" latinLnBrk="0" hangingPunct="1">
              <a:spcBef>
                <a:spcPts val="200"/>
              </a:spcBef>
              <a:buClr>
                <a:schemeClr val="tx2"/>
              </a:buClr>
              <a:buFont typeface="Wingdings" pitchFamily="2" charset="2"/>
              <a:buNone/>
              <a:defRPr sz="1600" kern="1200">
                <a:solidFill>
                  <a:schemeClr val="tx2"/>
                </a:solidFill>
                <a:latin typeface="+mn-lt"/>
                <a:ea typeface="+mn-ea"/>
                <a:cs typeface="+mn-cs"/>
              </a:defRPr>
            </a:lvl1pPr>
            <a:lvl2pPr marL="180975" indent="-180975" algn="l" defTabSz="914400" rtl="0" eaLnBrk="1" latinLnBrk="0" hangingPunct="1">
              <a:spcBef>
                <a:spcPts val="200"/>
              </a:spcBef>
              <a:buClr>
                <a:schemeClr val="tx2"/>
              </a:buClr>
              <a:buFont typeface="Wingdings" pitchFamily="2" charset="2"/>
              <a:buChar char="§"/>
              <a:defRPr sz="1600" kern="1200">
                <a:solidFill>
                  <a:schemeClr val="tx2"/>
                </a:solidFill>
                <a:latin typeface="+mn-lt"/>
                <a:ea typeface="+mn-ea"/>
                <a:cs typeface="+mn-cs"/>
              </a:defRPr>
            </a:lvl2pPr>
            <a:lvl3pPr marL="355600" indent="-174625"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3pPr>
            <a:lvl4pPr marL="538163" indent="-182563"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4pPr>
            <a:lvl5pPr marL="719138" indent="-180975" algn="l" defTabSz="914400" rtl="0" eaLnBrk="1" latinLnBrk="0" hangingPunct="1">
              <a:spcBef>
                <a:spcPts val="200"/>
              </a:spcBef>
              <a:buClr>
                <a:schemeClr val="tx2"/>
              </a:buClr>
              <a:buFont typeface="Symbol" pitchFamily="18" charset="2"/>
              <a:buChar char="-"/>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GB" sz="3600" b="1" dirty="0" smtClean="0">
                <a:solidFill>
                  <a:schemeClr val="accent6"/>
                </a:solidFill>
              </a:rPr>
              <a:t>That is a good thing, but</a:t>
            </a:r>
            <a:r>
              <a:rPr lang="en-DE" sz="3600" b="1" dirty="0" smtClean="0">
                <a:solidFill>
                  <a:schemeClr val="accent6"/>
                </a:solidFill>
              </a:rPr>
              <a:t>…</a:t>
            </a:r>
            <a:r>
              <a:rPr lang="en-GB" sz="3600" b="1" dirty="0" smtClean="0">
                <a:solidFill>
                  <a:schemeClr val="accent6"/>
                </a:solidFill>
              </a:rPr>
              <a:t> </a:t>
            </a:r>
            <a:endParaRPr lang="de-DE" sz="3600" dirty="0"/>
          </a:p>
        </p:txBody>
      </p:sp>
      <p:grpSp>
        <p:nvGrpSpPr>
          <p:cNvPr id="2" name="Gruppieren 1"/>
          <p:cNvGrpSpPr/>
          <p:nvPr/>
        </p:nvGrpSpPr>
        <p:grpSpPr>
          <a:xfrm>
            <a:off x="-1688136" y="3610124"/>
            <a:ext cx="7882147" cy="6893923"/>
            <a:chOff x="405525" y="3610124"/>
            <a:chExt cx="7882147" cy="6893923"/>
          </a:xfrm>
        </p:grpSpPr>
        <p:grpSp>
          <p:nvGrpSpPr>
            <p:cNvPr id="6" name="Gruppieren 5"/>
            <p:cNvGrpSpPr/>
            <p:nvPr/>
          </p:nvGrpSpPr>
          <p:grpSpPr>
            <a:xfrm>
              <a:off x="405525" y="3610124"/>
              <a:ext cx="7882147" cy="6893923"/>
              <a:chOff x="479271" y="2409612"/>
              <a:chExt cx="3512581" cy="3528903"/>
            </a:xfrm>
          </p:grpSpPr>
          <p:sp>
            <p:nvSpPr>
              <p:cNvPr id="7" name="Freihandform 6"/>
              <p:cNvSpPr/>
              <p:nvPr/>
            </p:nvSpPr>
            <p:spPr>
              <a:xfrm>
                <a:off x="1822495" y="2409612"/>
                <a:ext cx="2080448" cy="1107046"/>
              </a:xfrm>
              <a:custGeom>
                <a:avLst/>
                <a:gdLst>
                  <a:gd name="connsiteX0" fmla="*/ 0 w 2157626"/>
                  <a:gd name="connsiteY0" fmla="*/ 56756 h 1116198"/>
                  <a:gd name="connsiteX1" fmla="*/ 0 w 2157626"/>
                  <a:gd name="connsiteY1" fmla="*/ 56756 h 1116198"/>
                  <a:gd name="connsiteX2" fmla="*/ 94593 w 2157626"/>
                  <a:gd name="connsiteY2" fmla="*/ 31531 h 1116198"/>
                  <a:gd name="connsiteX3" fmla="*/ 182880 w 2157626"/>
                  <a:gd name="connsiteY3" fmla="*/ 25225 h 1116198"/>
                  <a:gd name="connsiteX4" fmla="*/ 466660 w 2157626"/>
                  <a:gd name="connsiteY4" fmla="*/ 18918 h 1116198"/>
                  <a:gd name="connsiteX5" fmla="*/ 599090 w 2157626"/>
                  <a:gd name="connsiteY5" fmla="*/ 12612 h 1116198"/>
                  <a:gd name="connsiteX6" fmla="*/ 630621 w 2157626"/>
                  <a:gd name="connsiteY6" fmla="*/ 6306 h 1116198"/>
                  <a:gd name="connsiteX7" fmla="*/ 882869 w 2157626"/>
                  <a:gd name="connsiteY7" fmla="*/ 0 h 1116198"/>
                  <a:gd name="connsiteX8" fmla="*/ 1627002 w 2157626"/>
                  <a:gd name="connsiteY8" fmla="*/ 12612 h 1116198"/>
                  <a:gd name="connsiteX9" fmla="*/ 1702676 w 2157626"/>
                  <a:gd name="connsiteY9" fmla="*/ 25225 h 1116198"/>
                  <a:gd name="connsiteX10" fmla="*/ 1854025 w 2157626"/>
                  <a:gd name="connsiteY10" fmla="*/ 31531 h 1116198"/>
                  <a:gd name="connsiteX11" fmla="*/ 1942312 w 2157626"/>
                  <a:gd name="connsiteY11" fmla="*/ 50449 h 1116198"/>
                  <a:gd name="connsiteX12" fmla="*/ 2017987 w 2157626"/>
                  <a:gd name="connsiteY12" fmla="*/ 63062 h 1116198"/>
                  <a:gd name="connsiteX13" fmla="*/ 2118886 w 2157626"/>
                  <a:gd name="connsiteY13" fmla="*/ 69368 h 1116198"/>
                  <a:gd name="connsiteX14" fmla="*/ 2150417 w 2157626"/>
                  <a:gd name="connsiteY14" fmla="*/ 94593 h 1116198"/>
                  <a:gd name="connsiteX15" fmla="*/ 2156723 w 2157626"/>
                  <a:gd name="connsiteY15" fmla="*/ 113511 h 1116198"/>
                  <a:gd name="connsiteX16" fmla="*/ 2131498 w 2157626"/>
                  <a:gd name="connsiteY16" fmla="*/ 132430 h 1116198"/>
                  <a:gd name="connsiteX17" fmla="*/ 2062130 w 2157626"/>
                  <a:gd name="connsiteY17" fmla="*/ 201798 h 1116198"/>
                  <a:gd name="connsiteX18" fmla="*/ 1917087 w 2157626"/>
                  <a:gd name="connsiteY18" fmla="*/ 447740 h 1116198"/>
                  <a:gd name="connsiteX19" fmla="*/ 1885556 w 2157626"/>
                  <a:gd name="connsiteY19" fmla="*/ 523415 h 1116198"/>
                  <a:gd name="connsiteX20" fmla="*/ 1784657 w 2157626"/>
                  <a:gd name="connsiteY20" fmla="*/ 807194 h 1116198"/>
                  <a:gd name="connsiteX21" fmla="*/ 1778351 w 2157626"/>
                  <a:gd name="connsiteY21" fmla="*/ 838725 h 1116198"/>
                  <a:gd name="connsiteX22" fmla="*/ 1620696 w 2157626"/>
                  <a:gd name="connsiteY22" fmla="*/ 1090974 h 1116198"/>
                  <a:gd name="connsiteX23" fmla="*/ 1576552 w 2157626"/>
                  <a:gd name="connsiteY23" fmla="*/ 1116198 h 1116198"/>
                  <a:gd name="connsiteX24" fmla="*/ 1469347 w 2157626"/>
                  <a:gd name="connsiteY24" fmla="*/ 1002687 h 1116198"/>
                  <a:gd name="connsiteX25" fmla="*/ 794582 w 2157626"/>
                  <a:gd name="connsiteY25" fmla="*/ 441434 h 1116198"/>
                  <a:gd name="connsiteX26" fmla="*/ 252249 w 2157626"/>
                  <a:gd name="connsiteY26" fmla="*/ 126124 h 1116198"/>
                  <a:gd name="connsiteX27" fmla="*/ 214411 w 2157626"/>
                  <a:gd name="connsiteY27" fmla="*/ 107205 h 1116198"/>
                  <a:gd name="connsiteX28" fmla="*/ 163962 w 2157626"/>
                  <a:gd name="connsiteY28" fmla="*/ 69368 h 1116198"/>
                  <a:gd name="connsiteX29" fmla="*/ 75675 w 2157626"/>
                  <a:gd name="connsiteY29" fmla="*/ 37837 h 1116198"/>
                  <a:gd name="connsiteX30" fmla="*/ 56756 w 2157626"/>
                  <a:gd name="connsiteY30" fmla="*/ 50449 h 1116198"/>
                  <a:gd name="connsiteX31" fmla="*/ 63062 w 2157626"/>
                  <a:gd name="connsiteY31" fmla="*/ 50449 h 1116198"/>
                  <a:gd name="connsiteX0" fmla="*/ 0 w 2157626"/>
                  <a:gd name="connsiteY0" fmla="*/ 56756 h 1116198"/>
                  <a:gd name="connsiteX1" fmla="*/ 0 w 2157626"/>
                  <a:gd name="connsiteY1" fmla="*/ 56756 h 1116198"/>
                  <a:gd name="connsiteX2" fmla="*/ 94593 w 2157626"/>
                  <a:gd name="connsiteY2" fmla="*/ 31531 h 1116198"/>
                  <a:gd name="connsiteX3" fmla="*/ 182880 w 2157626"/>
                  <a:gd name="connsiteY3" fmla="*/ 25225 h 1116198"/>
                  <a:gd name="connsiteX4" fmla="*/ 466660 w 2157626"/>
                  <a:gd name="connsiteY4" fmla="*/ 18918 h 1116198"/>
                  <a:gd name="connsiteX5" fmla="*/ 599090 w 2157626"/>
                  <a:gd name="connsiteY5" fmla="*/ 12612 h 1116198"/>
                  <a:gd name="connsiteX6" fmla="*/ 630621 w 2157626"/>
                  <a:gd name="connsiteY6" fmla="*/ 6306 h 1116198"/>
                  <a:gd name="connsiteX7" fmla="*/ 882869 w 2157626"/>
                  <a:gd name="connsiteY7" fmla="*/ 0 h 1116198"/>
                  <a:gd name="connsiteX8" fmla="*/ 1702676 w 2157626"/>
                  <a:gd name="connsiteY8" fmla="*/ 25225 h 1116198"/>
                  <a:gd name="connsiteX9" fmla="*/ 1854025 w 2157626"/>
                  <a:gd name="connsiteY9" fmla="*/ 31531 h 1116198"/>
                  <a:gd name="connsiteX10" fmla="*/ 1942312 w 2157626"/>
                  <a:gd name="connsiteY10" fmla="*/ 50449 h 1116198"/>
                  <a:gd name="connsiteX11" fmla="*/ 2017987 w 2157626"/>
                  <a:gd name="connsiteY11" fmla="*/ 63062 h 1116198"/>
                  <a:gd name="connsiteX12" fmla="*/ 2118886 w 2157626"/>
                  <a:gd name="connsiteY12" fmla="*/ 69368 h 1116198"/>
                  <a:gd name="connsiteX13" fmla="*/ 2150417 w 2157626"/>
                  <a:gd name="connsiteY13" fmla="*/ 94593 h 1116198"/>
                  <a:gd name="connsiteX14" fmla="*/ 2156723 w 2157626"/>
                  <a:gd name="connsiteY14" fmla="*/ 113511 h 1116198"/>
                  <a:gd name="connsiteX15" fmla="*/ 2131498 w 2157626"/>
                  <a:gd name="connsiteY15" fmla="*/ 132430 h 1116198"/>
                  <a:gd name="connsiteX16" fmla="*/ 2062130 w 2157626"/>
                  <a:gd name="connsiteY16" fmla="*/ 201798 h 1116198"/>
                  <a:gd name="connsiteX17" fmla="*/ 1917087 w 2157626"/>
                  <a:gd name="connsiteY17" fmla="*/ 447740 h 1116198"/>
                  <a:gd name="connsiteX18" fmla="*/ 1885556 w 2157626"/>
                  <a:gd name="connsiteY18" fmla="*/ 523415 h 1116198"/>
                  <a:gd name="connsiteX19" fmla="*/ 1784657 w 2157626"/>
                  <a:gd name="connsiteY19" fmla="*/ 807194 h 1116198"/>
                  <a:gd name="connsiteX20" fmla="*/ 1778351 w 2157626"/>
                  <a:gd name="connsiteY20" fmla="*/ 838725 h 1116198"/>
                  <a:gd name="connsiteX21" fmla="*/ 1620696 w 2157626"/>
                  <a:gd name="connsiteY21" fmla="*/ 1090974 h 1116198"/>
                  <a:gd name="connsiteX22" fmla="*/ 1576552 w 2157626"/>
                  <a:gd name="connsiteY22" fmla="*/ 1116198 h 1116198"/>
                  <a:gd name="connsiteX23" fmla="*/ 1469347 w 2157626"/>
                  <a:gd name="connsiteY23" fmla="*/ 1002687 h 1116198"/>
                  <a:gd name="connsiteX24" fmla="*/ 794582 w 2157626"/>
                  <a:gd name="connsiteY24" fmla="*/ 441434 h 1116198"/>
                  <a:gd name="connsiteX25" fmla="*/ 252249 w 2157626"/>
                  <a:gd name="connsiteY25" fmla="*/ 126124 h 1116198"/>
                  <a:gd name="connsiteX26" fmla="*/ 214411 w 2157626"/>
                  <a:gd name="connsiteY26" fmla="*/ 107205 h 1116198"/>
                  <a:gd name="connsiteX27" fmla="*/ 163962 w 2157626"/>
                  <a:gd name="connsiteY27" fmla="*/ 69368 h 1116198"/>
                  <a:gd name="connsiteX28" fmla="*/ 75675 w 2157626"/>
                  <a:gd name="connsiteY28" fmla="*/ 37837 h 1116198"/>
                  <a:gd name="connsiteX29" fmla="*/ 56756 w 2157626"/>
                  <a:gd name="connsiteY29" fmla="*/ 50449 h 1116198"/>
                  <a:gd name="connsiteX30" fmla="*/ 63062 w 2157626"/>
                  <a:gd name="connsiteY30" fmla="*/ 50449 h 1116198"/>
                  <a:gd name="connsiteX0" fmla="*/ 0 w 2157626"/>
                  <a:gd name="connsiteY0" fmla="*/ 56756 h 1116198"/>
                  <a:gd name="connsiteX1" fmla="*/ 0 w 2157626"/>
                  <a:gd name="connsiteY1" fmla="*/ 56756 h 1116198"/>
                  <a:gd name="connsiteX2" fmla="*/ 94593 w 2157626"/>
                  <a:gd name="connsiteY2" fmla="*/ 31531 h 1116198"/>
                  <a:gd name="connsiteX3" fmla="*/ 182880 w 2157626"/>
                  <a:gd name="connsiteY3" fmla="*/ 25225 h 1116198"/>
                  <a:gd name="connsiteX4" fmla="*/ 466660 w 2157626"/>
                  <a:gd name="connsiteY4" fmla="*/ 18918 h 1116198"/>
                  <a:gd name="connsiteX5" fmla="*/ 599090 w 2157626"/>
                  <a:gd name="connsiteY5" fmla="*/ 12612 h 1116198"/>
                  <a:gd name="connsiteX6" fmla="*/ 630621 w 2157626"/>
                  <a:gd name="connsiteY6" fmla="*/ 6306 h 1116198"/>
                  <a:gd name="connsiteX7" fmla="*/ 882869 w 2157626"/>
                  <a:gd name="connsiteY7" fmla="*/ 0 h 1116198"/>
                  <a:gd name="connsiteX8" fmla="*/ 1854025 w 2157626"/>
                  <a:gd name="connsiteY8" fmla="*/ 31531 h 1116198"/>
                  <a:gd name="connsiteX9" fmla="*/ 1942312 w 2157626"/>
                  <a:gd name="connsiteY9" fmla="*/ 50449 h 1116198"/>
                  <a:gd name="connsiteX10" fmla="*/ 2017987 w 2157626"/>
                  <a:gd name="connsiteY10" fmla="*/ 63062 h 1116198"/>
                  <a:gd name="connsiteX11" fmla="*/ 2118886 w 2157626"/>
                  <a:gd name="connsiteY11" fmla="*/ 69368 h 1116198"/>
                  <a:gd name="connsiteX12" fmla="*/ 2150417 w 2157626"/>
                  <a:gd name="connsiteY12" fmla="*/ 94593 h 1116198"/>
                  <a:gd name="connsiteX13" fmla="*/ 2156723 w 2157626"/>
                  <a:gd name="connsiteY13" fmla="*/ 113511 h 1116198"/>
                  <a:gd name="connsiteX14" fmla="*/ 2131498 w 2157626"/>
                  <a:gd name="connsiteY14" fmla="*/ 132430 h 1116198"/>
                  <a:gd name="connsiteX15" fmla="*/ 2062130 w 2157626"/>
                  <a:gd name="connsiteY15" fmla="*/ 201798 h 1116198"/>
                  <a:gd name="connsiteX16" fmla="*/ 1917087 w 2157626"/>
                  <a:gd name="connsiteY16" fmla="*/ 447740 h 1116198"/>
                  <a:gd name="connsiteX17" fmla="*/ 1885556 w 2157626"/>
                  <a:gd name="connsiteY17" fmla="*/ 523415 h 1116198"/>
                  <a:gd name="connsiteX18" fmla="*/ 1784657 w 2157626"/>
                  <a:gd name="connsiteY18" fmla="*/ 807194 h 1116198"/>
                  <a:gd name="connsiteX19" fmla="*/ 1778351 w 2157626"/>
                  <a:gd name="connsiteY19" fmla="*/ 838725 h 1116198"/>
                  <a:gd name="connsiteX20" fmla="*/ 1620696 w 2157626"/>
                  <a:gd name="connsiteY20" fmla="*/ 1090974 h 1116198"/>
                  <a:gd name="connsiteX21" fmla="*/ 1576552 w 2157626"/>
                  <a:gd name="connsiteY21" fmla="*/ 1116198 h 1116198"/>
                  <a:gd name="connsiteX22" fmla="*/ 1469347 w 2157626"/>
                  <a:gd name="connsiteY22" fmla="*/ 1002687 h 1116198"/>
                  <a:gd name="connsiteX23" fmla="*/ 794582 w 2157626"/>
                  <a:gd name="connsiteY23" fmla="*/ 441434 h 1116198"/>
                  <a:gd name="connsiteX24" fmla="*/ 252249 w 2157626"/>
                  <a:gd name="connsiteY24" fmla="*/ 126124 h 1116198"/>
                  <a:gd name="connsiteX25" fmla="*/ 214411 w 2157626"/>
                  <a:gd name="connsiteY25" fmla="*/ 107205 h 1116198"/>
                  <a:gd name="connsiteX26" fmla="*/ 163962 w 2157626"/>
                  <a:gd name="connsiteY26" fmla="*/ 69368 h 1116198"/>
                  <a:gd name="connsiteX27" fmla="*/ 75675 w 2157626"/>
                  <a:gd name="connsiteY27" fmla="*/ 37837 h 1116198"/>
                  <a:gd name="connsiteX28" fmla="*/ 56756 w 2157626"/>
                  <a:gd name="connsiteY28" fmla="*/ 50449 h 1116198"/>
                  <a:gd name="connsiteX29" fmla="*/ 63062 w 2157626"/>
                  <a:gd name="connsiteY29" fmla="*/ 50449 h 1116198"/>
                  <a:gd name="connsiteX0" fmla="*/ 0 w 2157626"/>
                  <a:gd name="connsiteY0" fmla="*/ 56756 h 1116198"/>
                  <a:gd name="connsiteX1" fmla="*/ 0 w 2157626"/>
                  <a:gd name="connsiteY1" fmla="*/ 56756 h 1116198"/>
                  <a:gd name="connsiteX2" fmla="*/ 94593 w 2157626"/>
                  <a:gd name="connsiteY2" fmla="*/ 31531 h 1116198"/>
                  <a:gd name="connsiteX3" fmla="*/ 182880 w 2157626"/>
                  <a:gd name="connsiteY3" fmla="*/ 25225 h 1116198"/>
                  <a:gd name="connsiteX4" fmla="*/ 466660 w 2157626"/>
                  <a:gd name="connsiteY4" fmla="*/ 18918 h 1116198"/>
                  <a:gd name="connsiteX5" fmla="*/ 599090 w 2157626"/>
                  <a:gd name="connsiteY5" fmla="*/ 12612 h 1116198"/>
                  <a:gd name="connsiteX6" fmla="*/ 630621 w 2157626"/>
                  <a:gd name="connsiteY6" fmla="*/ 6306 h 1116198"/>
                  <a:gd name="connsiteX7" fmla="*/ 882869 w 2157626"/>
                  <a:gd name="connsiteY7" fmla="*/ 0 h 1116198"/>
                  <a:gd name="connsiteX8" fmla="*/ 1942312 w 2157626"/>
                  <a:gd name="connsiteY8" fmla="*/ 50449 h 1116198"/>
                  <a:gd name="connsiteX9" fmla="*/ 2017987 w 2157626"/>
                  <a:gd name="connsiteY9" fmla="*/ 63062 h 1116198"/>
                  <a:gd name="connsiteX10" fmla="*/ 2118886 w 2157626"/>
                  <a:gd name="connsiteY10" fmla="*/ 69368 h 1116198"/>
                  <a:gd name="connsiteX11" fmla="*/ 2150417 w 2157626"/>
                  <a:gd name="connsiteY11" fmla="*/ 94593 h 1116198"/>
                  <a:gd name="connsiteX12" fmla="*/ 2156723 w 2157626"/>
                  <a:gd name="connsiteY12" fmla="*/ 113511 h 1116198"/>
                  <a:gd name="connsiteX13" fmla="*/ 2131498 w 2157626"/>
                  <a:gd name="connsiteY13" fmla="*/ 132430 h 1116198"/>
                  <a:gd name="connsiteX14" fmla="*/ 2062130 w 2157626"/>
                  <a:gd name="connsiteY14" fmla="*/ 201798 h 1116198"/>
                  <a:gd name="connsiteX15" fmla="*/ 1917087 w 2157626"/>
                  <a:gd name="connsiteY15" fmla="*/ 447740 h 1116198"/>
                  <a:gd name="connsiteX16" fmla="*/ 1885556 w 2157626"/>
                  <a:gd name="connsiteY16" fmla="*/ 523415 h 1116198"/>
                  <a:gd name="connsiteX17" fmla="*/ 1784657 w 2157626"/>
                  <a:gd name="connsiteY17" fmla="*/ 807194 h 1116198"/>
                  <a:gd name="connsiteX18" fmla="*/ 1778351 w 2157626"/>
                  <a:gd name="connsiteY18" fmla="*/ 838725 h 1116198"/>
                  <a:gd name="connsiteX19" fmla="*/ 1620696 w 2157626"/>
                  <a:gd name="connsiteY19" fmla="*/ 1090974 h 1116198"/>
                  <a:gd name="connsiteX20" fmla="*/ 1576552 w 2157626"/>
                  <a:gd name="connsiteY20" fmla="*/ 1116198 h 1116198"/>
                  <a:gd name="connsiteX21" fmla="*/ 1469347 w 2157626"/>
                  <a:gd name="connsiteY21" fmla="*/ 1002687 h 1116198"/>
                  <a:gd name="connsiteX22" fmla="*/ 794582 w 2157626"/>
                  <a:gd name="connsiteY22" fmla="*/ 441434 h 1116198"/>
                  <a:gd name="connsiteX23" fmla="*/ 252249 w 2157626"/>
                  <a:gd name="connsiteY23" fmla="*/ 126124 h 1116198"/>
                  <a:gd name="connsiteX24" fmla="*/ 214411 w 2157626"/>
                  <a:gd name="connsiteY24" fmla="*/ 107205 h 1116198"/>
                  <a:gd name="connsiteX25" fmla="*/ 163962 w 2157626"/>
                  <a:gd name="connsiteY25" fmla="*/ 69368 h 1116198"/>
                  <a:gd name="connsiteX26" fmla="*/ 75675 w 2157626"/>
                  <a:gd name="connsiteY26" fmla="*/ 37837 h 1116198"/>
                  <a:gd name="connsiteX27" fmla="*/ 56756 w 2157626"/>
                  <a:gd name="connsiteY27" fmla="*/ 50449 h 1116198"/>
                  <a:gd name="connsiteX28" fmla="*/ 63062 w 2157626"/>
                  <a:gd name="connsiteY28" fmla="*/ 50449 h 1116198"/>
                  <a:gd name="connsiteX0" fmla="*/ 0 w 2157626"/>
                  <a:gd name="connsiteY0" fmla="*/ 56756 h 1116198"/>
                  <a:gd name="connsiteX1" fmla="*/ 0 w 2157626"/>
                  <a:gd name="connsiteY1" fmla="*/ 56756 h 1116198"/>
                  <a:gd name="connsiteX2" fmla="*/ 94593 w 2157626"/>
                  <a:gd name="connsiteY2" fmla="*/ 31531 h 1116198"/>
                  <a:gd name="connsiteX3" fmla="*/ 182880 w 2157626"/>
                  <a:gd name="connsiteY3" fmla="*/ 25225 h 1116198"/>
                  <a:gd name="connsiteX4" fmla="*/ 466660 w 2157626"/>
                  <a:gd name="connsiteY4" fmla="*/ 18918 h 1116198"/>
                  <a:gd name="connsiteX5" fmla="*/ 599090 w 2157626"/>
                  <a:gd name="connsiteY5" fmla="*/ 12612 h 1116198"/>
                  <a:gd name="connsiteX6" fmla="*/ 630621 w 2157626"/>
                  <a:gd name="connsiteY6" fmla="*/ 6306 h 1116198"/>
                  <a:gd name="connsiteX7" fmla="*/ 882869 w 2157626"/>
                  <a:gd name="connsiteY7" fmla="*/ 0 h 1116198"/>
                  <a:gd name="connsiteX8" fmla="*/ 2017987 w 2157626"/>
                  <a:gd name="connsiteY8" fmla="*/ 63062 h 1116198"/>
                  <a:gd name="connsiteX9" fmla="*/ 2118886 w 2157626"/>
                  <a:gd name="connsiteY9" fmla="*/ 69368 h 1116198"/>
                  <a:gd name="connsiteX10" fmla="*/ 2150417 w 2157626"/>
                  <a:gd name="connsiteY10" fmla="*/ 94593 h 1116198"/>
                  <a:gd name="connsiteX11" fmla="*/ 2156723 w 2157626"/>
                  <a:gd name="connsiteY11" fmla="*/ 113511 h 1116198"/>
                  <a:gd name="connsiteX12" fmla="*/ 2131498 w 2157626"/>
                  <a:gd name="connsiteY12" fmla="*/ 132430 h 1116198"/>
                  <a:gd name="connsiteX13" fmla="*/ 2062130 w 2157626"/>
                  <a:gd name="connsiteY13" fmla="*/ 201798 h 1116198"/>
                  <a:gd name="connsiteX14" fmla="*/ 1917087 w 2157626"/>
                  <a:gd name="connsiteY14" fmla="*/ 447740 h 1116198"/>
                  <a:gd name="connsiteX15" fmla="*/ 1885556 w 2157626"/>
                  <a:gd name="connsiteY15" fmla="*/ 523415 h 1116198"/>
                  <a:gd name="connsiteX16" fmla="*/ 1784657 w 2157626"/>
                  <a:gd name="connsiteY16" fmla="*/ 807194 h 1116198"/>
                  <a:gd name="connsiteX17" fmla="*/ 1778351 w 2157626"/>
                  <a:gd name="connsiteY17" fmla="*/ 838725 h 1116198"/>
                  <a:gd name="connsiteX18" fmla="*/ 1620696 w 2157626"/>
                  <a:gd name="connsiteY18" fmla="*/ 1090974 h 1116198"/>
                  <a:gd name="connsiteX19" fmla="*/ 1576552 w 2157626"/>
                  <a:gd name="connsiteY19" fmla="*/ 1116198 h 1116198"/>
                  <a:gd name="connsiteX20" fmla="*/ 1469347 w 2157626"/>
                  <a:gd name="connsiteY20" fmla="*/ 1002687 h 1116198"/>
                  <a:gd name="connsiteX21" fmla="*/ 794582 w 2157626"/>
                  <a:gd name="connsiteY21" fmla="*/ 441434 h 1116198"/>
                  <a:gd name="connsiteX22" fmla="*/ 252249 w 2157626"/>
                  <a:gd name="connsiteY22" fmla="*/ 126124 h 1116198"/>
                  <a:gd name="connsiteX23" fmla="*/ 214411 w 2157626"/>
                  <a:gd name="connsiteY23" fmla="*/ 107205 h 1116198"/>
                  <a:gd name="connsiteX24" fmla="*/ 163962 w 2157626"/>
                  <a:gd name="connsiteY24" fmla="*/ 69368 h 1116198"/>
                  <a:gd name="connsiteX25" fmla="*/ 75675 w 2157626"/>
                  <a:gd name="connsiteY25" fmla="*/ 37837 h 1116198"/>
                  <a:gd name="connsiteX26" fmla="*/ 56756 w 2157626"/>
                  <a:gd name="connsiteY26" fmla="*/ 50449 h 1116198"/>
                  <a:gd name="connsiteX27" fmla="*/ 63062 w 2157626"/>
                  <a:gd name="connsiteY27" fmla="*/ 50449 h 1116198"/>
                  <a:gd name="connsiteX0" fmla="*/ 0 w 2157626"/>
                  <a:gd name="connsiteY0" fmla="*/ 56756 h 1116198"/>
                  <a:gd name="connsiteX1" fmla="*/ 0 w 2157626"/>
                  <a:gd name="connsiteY1" fmla="*/ 56756 h 1116198"/>
                  <a:gd name="connsiteX2" fmla="*/ 94593 w 2157626"/>
                  <a:gd name="connsiteY2" fmla="*/ 31531 h 1116198"/>
                  <a:gd name="connsiteX3" fmla="*/ 182880 w 2157626"/>
                  <a:gd name="connsiteY3" fmla="*/ 25225 h 1116198"/>
                  <a:gd name="connsiteX4" fmla="*/ 466660 w 2157626"/>
                  <a:gd name="connsiteY4" fmla="*/ 18918 h 1116198"/>
                  <a:gd name="connsiteX5" fmla="*/ 599090 w 2157626"/>
                  <a:gd name="connsiteY5" fmla="*/ 12612 h 1116198"/>
                  <a:gd name="connsiteX6" fmla="*/ 630621 w 2157626"/>
                  <a:gd name="connsiteY6" fmla="*/ 6306 h 1116198"/>
                  <a:gd name="connsiteX7" fmla="*/ 882869 w 2157626"/>
                  <a:gd name="connsiteY7" fmla="*/ 0 h 1116198"/>
                  <a:gd name="connsiteX8" fmla="*/ 2118886 w 2157626"/>
                  <a:gd name="connsiteY8" fmla="*/ 69368 h 1116198"/>
                  <a:gd name="connsiteX9" fmla="*/ 2150417 w 2157626"/>
                  <a:gd name="connsiteY9" fmla="*/ 94593 h 1116198"/>
                  <a:gd name="connsiteX10" fmla="*/ 2156723 w 2157626"/>
                  <a:gd name="connsiteY10" fmla="*/ 113511 h 1116198"/>
                  <a:gd name="connsiteX11" fmla="*/ 2131498 w 2157626"/>
                  <a:gd name="connsiteY11" fmla="*/ 132430 h 1116198"/>
                  <a:gd name="connsiteX12" fmla="*/ 2062130 w 2157626"/>
                  <a:gd name="connsiteY12" fmla="*/ 201798 h 1116198"/>
                  <a:gd name="connsiteX13" fmla="*/ 1917087 w 2157626"/>
                  <a:gd name="connsiteY13" fmla="*/ 447740 h 1116198"/>
                  <a:gd name="connsiteX14" fmla="*/ 1885556 w 2157626"/>
                  <a:gd name="connsiteY14" fmla="*/ 523415 h 1116198"/>
                  <a:gd name="connsiteX15" fmla="*/ 1784657 w 2157626"/>
                  <a:gd name="connsiteY15" fmla="*/ 807194 h 1116198"/>
                  <a:gd name="connsiteX16" fmla="*/ 1778351 w 2157626"/>
                  <a:gd name="connsiteY16" fmla="*/ 838725 h 1116198"/>
                  <a:gd name="connsiteX17" fmla="*/ 1620696 w 2157626"/>
                  <a:gd name="connsiteY17" fmla="*/ 1090974 h 1116198"/>
                  <a:gd name="connsiteX18" fmla="*/ 1576552 w 2157626"/>
                  <a:gd name="connsiteY18" fmla="*/ 1116198 h 1116198"/>
                  <a:gd name="connsiteX19" fmla="*/ 1469347 w 2157626"/>
                  <a:gd name="connsiteY19" fmla="*/ 1002687 h 1116198"/>
                  <a:gd name="connsiteX20" fmla="*/ 794582 w 2157626"/>
                  <a:gd name="connsiteY20" fmla="*/ 441434 h 1116198"/>
                  <a:gd name="connsiteX21" fmla="*/ 252249 w 2157626"/>
                  <a:gd name="connsiteY21" fmla="*/ 126124 h 1116198"/>
                  <a:gd name="connsiteX22" fmla="*/ 214411 w 2157626"/>
                  <a:gd name="connsiteY22" fmla="*/ 107205 h 1116198"/>
                  <a:gd name="connsiteX23" fmla="*/ 163962 w 2157626"/>
                  <a:gd name="connsiteY23" fmla="*/ 69368 h 1116198"/>
                  <a:gd name="connsiteX24" fmla="*/ 75675 w 2157626"/>
                  <a:gd name="connsiteY24" fmla="*/ 37837 h 1116198"/>
                  <a:gd name="connsiteX25" fmla="*/ 56756 w 2157626"/>
                  <a:gd name="connsiteY25" fmla="*/ 50449 h 1116198"/>
                  <a:gd name="connsiteX26" fmla="*/ 63062 w 2157626"/>
                  <a:gd name="connsiteY26" fmla="*/ 50449 h 1116198"/>
                  <a:gd name="connsiteX0" fmla="*/ 0 w 2157626"/>
                  <a:gd name="connsiteY0" fmla="*/ 56756 h 1116198"/>
                  <a:gd name="connsiteX1" fmla="*/ 0 w 2157626"/>
                  <a:gd name="connsiteY1" fmla="*/ 56756 h 1116198"/>
                  <a:gd name="connsiteX2" fmla="*/ 94593 w 2157626"/>
                  <a:gd name="connsiteY2" fmla="*/ 31531 h 1116198"/>
                  <a:gd name="connsiteX3" fmla="*/ 182880 w 2157626"/>
                  <a:gd name="connsiteY3" fmla="*/ 25225 h 1116198"/>
                  <a:gd name="connsiteX4" fmla="*/ 466660 w 2157626"/>
                  <a:gd name="connsiteY4" fmla="*/ 18918 h 1116198"/>
                  <a:gd name="connsiteX5" fmla="*/ 599090 w 2157626"/>
                  <a:gd name="connsiteY5" fmla="*/ 12612 h 1116198"/>
                  <a:gd name="connsiteX6" fmla="*/ 630621 w 2157626"/>
                  <a:gd name="connsiteY6" fmla="*/ 6306 h 1116198"/>
                  <a:gd name="connsiteX7" fmla="*/ 882869 w 2157626"/>
                  <a:gd name="connsiteY7" fmla="*/ 0 h 1116198"/>
                  <a:gd name="connsiteX8" fmla="*/ 2150417 w 2157626"/>
                  <a:gd name="connsiteY8" fmla="*/ 94593 h 1116198"/>
                  <a:gd name="connsiteX9" fmla="*/ 2156723 w 2157626"/>
                  <a:gd name="connsiteY9" fmla="*/ 113511 h 1116198"/>
                  <a:gd name="connsiteX10" fmla="*/ 2131498 w 2157626"/>
                  <a:gd name="connsiteY10" fmla="*/ 132430 h 1116198"/>
                  <a:gd name="connsiteX11" fmla="*/ 2062130 w 2157626"/>
                  <a:gd name="connsiteY11" fmla="*/ 201798 h 1116198"/>
                  <a:gd name="connsiteX12" fmla="*/ 1917087 w 2157626"/>
                  <a:gd name="connsiteY12" fmla="*/ 447740 h 1116198"/>
                  <a:gd name="connsiteX13" fmla="*/ 1885556 w 2157626"/>
                  <a:gd name="connsiteY13" fmla="*/ 523415 h 1116198"/>
                  <a:gd name="connsiteX14" fmla="*/ 1784657 w 2157626"/>
                  <a:gd name="connsiteY14" fmla="*/ 807194 h 1116198"/>
                  <a:gd name="connsiteX15" fmla="*/ 1778351 w 2157626"/>
                  <a:gd name="connsiteY15" fmla="*/ 838725 h 1116198"/>
                  <a:gd name="connsiteX16" fmla="*/ 1620696 w 2157626"/>
                  <a:gd name="connsiteY16" fmla="*/ 1090974 h 1116198"/>
                  <a:gd name="connsiteX17" fmla="*/ 1576552 w 2157626"/>
                  <a:gd name="connsiteY17" fmla="*/ 1116198 h 1116198"/>
                  <a:gd name="connsiteX18" fmla="*/ 1469347 w 2157626"/>
                  <a:gd name="connsiteY18" fmla="*/ 1002687 h 1116198"/>
                  <a:gd name="connsiteX19" fmla="*/ 794582 w 2157626"/>
                  <a:gd name="connsiteY19" fmla="*/ 441434 h 1116198"/>
                  <a:gd name="connsiteX20" fmla="*/ 252249 w 2157626"/>
                  <a:gd name="connsiteY20" fmla="*/ 126124 h 1116198"/>
                  <a:gd name="connsiteX21" fmla="*/ 214411 w 2157626"/>
                  <a:gd name="connsiteY21" fmla="*/ 107205 h 1116198"/>
                  <a:gd name="connsiteX22" fmla="*/ 163962 w 2157626"/>
                  <a:gd name="connsiteY22" fmla="*/ 69368 h 1116198"/>
                  <a:gd name="connsiteX23" fmla="*/ 75675 w 2157626"/>
                  <a:gd name="connsiteY23" fmla="*/ 37837 h 1116198"/>
                  <a:gd name="connsiteX24" fmla="*/ 56756 w 2157626"/>
                  <a:gd name="connsiteY24" fmla="*/ 50449 h 1116198"/>
                  <a:gd name="connsiteX25" fmla="*/ 63062 w 2157626"/>
                  <a:gd name="connsiteY25" fmla="*/ 50449 h 1116198"/>
                  <a:gd name="connsiteX0" fmla="*/ 0 w 2265800"/>
                  <a:gd name="connsiteY0" fmla="*/ 55353 h 1114795"/>
                  <a:gd name="connsiteX1" fmla="*/ 0 w 2265800"/>
                  <a:gd name="connsiteY1" fmla="*/ 55353 h 1114795"/>
                  <a:gd name="connsiteX2" fmla="*/ 94593 w 2265800"/>
                  <a:gd name="connsiteY2" fmla="*/ 30128 h 1114795"/>
                  <a:gd name="connsiteX3" fmla="*/ 182880 w 2265800"/>
                  <a:gd name="connsiteY3" fmla="*/ 23822 h 1114795"/>
                  <a:gd name="connsiteX4" fmla="*/ 466660 w 2265800"/>
                  <a:gd name="connsiteY4" fmla="*/ 17515 h 1114795"/>
                  <a:gd name="connsiteX5" fmla="*/ 599090 w 2265800"/>
                  <a:gd name="connsiteY5" fmla="*/ 11209 h 1114795"/>
                  <a:gd name="connsiteX6" fmla="*/ 630621 w 2265800"/>
                  <a:gd name="connsiteY6" fmla="*/ 4903 h 1114795"/>
                  <a:gd name="connsiteX7" fmla="*/ 2150417 w 2265800"/>
                  <a:gd name="connsiteY7" fmla="*/ 93190 h 1114795"/>
                  <a:gd name="connsiteX8" fmla="*/ 2156723 w 2265800"/>
                  <a:gd name="connsiteY8" fmla="*/ 112108 h 1114795"/>
                  <a:gd name="connsiteX9" fmla="*/ 2131498 w 2265800"/>
                  <a:gd name="connsiteY9" fmla="*/ 131027 h 1114795"/>
                  <a:gd name="connsiteX10" fmla="*/ 2062130 w 2265800"/>
                  <a:gd name="connsiteY10" fmla="*/ 200395 h 1114795"/>
                  <a:gd name="connsiteX11" fmla="*/ 1917087 w 2265800"/>
                  <a:gd name="connsiteY11" fmla="*/ 446337 h 1114795"/>
                  <a:gd name="connsiteX12" fmla="*/ 1885556 w 2265800"/>
                  <a:gd name="connsiteY12" fmla="*/ 522012 h 1114795"/>
                  <a:gd name="connsiteX13" fmla="*/ 1784657 w 2265800"/>
                  <a:gd name="connsiteY13" fmla="*/ 805791 h 1114795"/>
                  <a:gd name="connsiteX14" fmla="*/ 1778351 w 2265800"/>
                  <a:gd name="connsiteY14" fmla="*/ 837322 h 1114795"/>
                  <a:gd name="connsiteX15" fmla="*/ 1620696 w 2265800"/>
                  <a:gd name="connsiteY15" fmla="*/ 1089571 h 1114795"/>
                  <a:gd name="connsiteX16" fmla="*/ 1576552 w 2265800"/>
                  <a:gd name="connsiteY16" fmla="*/ 1114795 h 1114795"/>
                  <a:gd name="connsiteX17" fmla="*/ 1469347 w 2265800"/>
                  <a:gd name="connsiteY17" fmla="*/ 1001284 h 1114795"/>
                  <a:gd name="connsiteX18" fmla="*/ 794582 w 2265800"/>
                  <a:gd name="connsiteY18" fmla="*/ 440031 h 1114795"/>
                  <a:gd name="connsiteX19" fmla="*/ 252249 w 2265800"/>
                  <a:gd name="connsiteY19" fmla="*/ 124721 h 1114795"/>
                  <a:gd name="connsiteX20" fmla="*/ 214411 w 2265800"/>
                  <a:gd name="connsiteY20" fmla="*/ 105802 h 1114795"/>
                  <a:gd name="connsiteX21" fmla="*/ 163962 w 2265800"/>
                  <a:gd name="connsiteY21" fmla="*/ 67965 h 1114795"/>
                  <a:gd name="connsiteX22" fmla="*/ 75675 w 2265800"/>
                  <a:gd name="connsiteY22" fmla="*/ 36434 h 1114795"/>
                  <a:gd name="connsiteX23" fmla="*/ 56756 w 2265800"/>
                  <a:gd name="connsiteY23" fmla="*/ 49046 h 1114795"/>
                  <a:gd name="connsiteX24" fmla="*/ 63062 w 2265800"/>
                  <a:gd name="connsiteY24" fmla="*/ 49046 h 1114795"/>
                  <a:gd name="connsiteX0" fmla="*/ 0 w 2268134"/>
                  <a:gd name="connsiteY0" fmla="*/ 48794 h 1108236"/>
                  <a:gd name="connsiteX1" fmla="*/ 0 w 2268134"/>
                  <a:gd name="connsiteY1" fmla="*/ 48794 h 1108236"/>
                  <a:gd name="connsiteX2" fmla="*/ 94593 w 2268134"/>
                  <a:gd name="connsiteY2" fmla="*/ 23569 h 1108236"/>
                  <a:gd name="connsiteX3" fmla="*/ 182880 w 2268134"/>
                  <a:gd name="connsiteY3" fmla="*/ 17263 h 1108236"/>
                  <a:gd name="connsiteX4" fmla="*/ 466660 w 2268134"/>
                  <a:gd name="connsiteY4" fmla="*/ 10956 h 1108236"/>
                  <a:gd name="connsiteX5" fmla="*/ 599090 w 2268134"/>
                  <a:gd name="connsiteY5" fmla="*/ 4650 h 1108236"/>
                  <a:gd name="connsiteX6" fmla="*/ 2150417 w 2268134"/>
                  <a:gd name="connsiteY6" fmla="*/ 86631 h 1108236"/>
                  <a:gd name="connsiteX7" fmla="*/ 2156723 w 2268134"/>
                  <a:gd name="connsiteY7" fmla="*/ 105549 h 1108236"/>
                  <a:gd name="connsiteX8" fmla="*/ 2131498 w 2268134"/>
                  <a:gd name="connsiteY8" fmla="*/ 124468 h 1108236"/>
                  <a:gd name="connsiteX9" fmla="*/ 2062130 w 2268134"/>
                  <a:gd name="connsiteY9" fmla="*/ 193836 h 1108236"/>
                  <a:gd name="connsiteX10" fmla="*/ 1917087 w 2268134"/>
                  <a:gd name="connsiteY10" fmla="*/ 439778 h 1108236"/>
                  <a:gd name="connsiteX11" fmla="*/ 1885556 w 2268134"/>
                  <a:gd name="connsiteY11" fmla="*/ 515453 h 1108236"/>
                  <a:gd name="connsiteX12" fmla="*/ 1784657 w 2268134"/>
                  <a:gd name="connsiteY12" fmla="*/ 799232 h 1108236"/>
                  <a:gd name="connsiteX13" fmla="*/ 1778351 w 2268134"/>
                  <a:gd name="connsiteY13" fmla="*/ 830763 h 1108236"/>
                  <a:gd name="connsiteX14" fmla="*/ 1620696 w 2268134"/>
                  <a:gd name="connsiteY14" fmla="*/ 1083012 h 1108236"/>
                  <a:gd name="connsiteX15" fmla="*/ 1576552 w 2268134"/>
                  <a:gd name="connsiteY15" fmla="*/ 1108236 h 1108236"/>
                  <a:gd name="connsiteX16" fmla="*/ 1469347 w 2268134"/>
                  <a:gd name="connsiteY16" fmla="*/ 994725 h 1108236"/>
                  <a:gd name="connsiteX17" fmla="*/ 794582 w 2268134"/>
                  <a:gd name="connsiteY17" fmla="*/ 433472 h 1108236"/>
                  <a:gd name="connsiteX18" fmla="*/ 252249 w 2268134"/>
                  <a:gd name="connsiteY18" fmla="*/ 118162 h 1108236"/>
                  <a:gd name="connsiteX19" fmla="*/ 214411 w 2268134"/>
                  <a:gd name="connsiteY19" fmla="*/ 99243 h 1108236"/>
                  <a:gd name="connsiteX20" fmla="*/ 163962 w 2268134"/>
                  <a:gd name="connsiteY20" fmla="*/ 61406 h 1108236"/>
                  <a:gd name="connsiteX21" fmla="*/ 75675 w 2268134"/>
                  <a:gd name="connsiteY21" fmla="*/ 29875 h 1108236"/>
                  <a:gd name="connsiteX22" fmla="*/ 56756 w 2268134"/>
                  <a:gd name="connsiteY22" fmla="*/ 42487 h 1108236"/>
                  <a:gd name="connsiteX23" fmla="*/ 63062 w 2268134"/>
                  <a:gd name="connsiteY23" fmla="*/ 42487 h 1108236"/>
                  <a:gd name="connsiteX0" fmla="*/ 0 w 2277941"/>
                  <a:gd name="connsiteY0" fmla="*/ 37838 h 1097280"/>
                  <a:gd name="connsiteX1" fmla="*/ 0 w 2277941"/>
                  <a:gd name="connsiteY1" fmla="*/ 37838 h 1097280"/>
                  <a:gd name="connsiteX2" fmla="*/ 94593 w 2277941"/>
                  <a:gd name="connsiteY2" fmla="*/ 12613 h 1097280"/>
                  <a:gd name="connsiteX3" fmla="*/ 182880 w 2277941"/>
                  <a:gd name="connsiteY3" fmla="*/ 6307 h 1097280"/>
                  <a:gd name="connsiteX4" fmla="*/ 466660 w 2277941"/>
                  <a:gd name="connsiteY4" fmla="*/ 0 h 1097280"/>
                  <a:gd name="connsiteX5" fmla="*/ 2150417 w 2277941"/>
                  <a:gd name="connsiteY5" fmla="*/ 75675 h 1097280"/>
                  <a:gd name="connsiteX6" fmla="*/ 2156723 w 2277941"/>
                  <a:gd name="connsiteY6" fmla="*/ 94593 h 1097280"/>
                  <a:gd name="connsiteX7" fmla="*/ 2131498 w 2277941"/>
                  <a:gd name="connsiteY7" fmla="*/ 113512 h 1097280"/>
                  <a:gd name="connsiteX8" fmla="*/ 2062130 w 2277941"/>
                  <a:gd name="connsiteY8" fmla="*/ 182880 h 1097280"/>
                  <a:gd name="connsiteX9" fmla="*/ 1917087 w 2277941"/>
                  <a:gd name="connsiteY9" fmla="*/ 428822 h 1097280"/>
                  <a:gd name="connsiteX10" fmla="*/ 1885556 w 2277941"/>
                  <a:gd name="connsiteY10" fmla="*/ 504497 h 1097280"/>
                  <a:gd name="connsiteX11" fmla="*/ 1784657 w 2277941"/>
                  <a:gd name="connsiteY11" fmla="*/ 788276 h 1097280"/>
                  <a:gd name="connsiteX12" fmla="*/ 1778351 w 2277941"/>
                  <a:gd name="connsiteY12" fmla="*/ 819807 h 1097280"/>
                  <a:gd name="connsiteX13" fmla="*/ 1620696 w 2277941"/>
                  <a:gd name="connsiteY13" fmla="*/ 1072056 h 1097280"/>
                  <a:gd name="connsiteX14" fmla="*/ 1576552 w 2277941"/>
                  <a:gd name="connsiteY14" fmla="*/ 1097280 h 1097280"/>
                  <a:gd name="connsiteX15" fmla="*/ 1469347 w 2277941"/>
                  <a:gd name="connsiteY15" fmla="*/ 983769 h 1097280"/>
                  <a:gd name="connsiteX16" fmla="*/ 794582 w 2277941"/>
                  <a:gd name="connsiteY16" fmla="*/ 422516 h 1097280"/>
                  <a:gd name="connsiteX17" fmla="*/ 252249 w 2277941"/>
                  <a:gd name="connsiteY17" fmla="*/ 107206 h 1097280"/>
                  <a:gd name="connsiteX18" fmla="*/ 214411 w 2277941"/>
                  <a:gd name="connsiteY18" fmla="*/ 88287 h 1097280"/>
                  <a:gd name="connsiteX19" fmla="*/ 163962 w 2277941"/>
                  <a:gd name="connsiteY19" fmla="*/ 50450 h 1097280"/>
                  <a:gd name="connsiteX20" fmla="*/ 75675 w 2277941"/>
                  <a:gd name="connsiteY20" fmla="*/ 18919 h 1097280"/>
                  <a:gd name="connsiteX21" fmla="*/ 56756 w 2277941"/>
                  <a:gd name="connsiteY21" fmla="*/ 31531 h 1097280"/>
                  <a:gd name="connsiteX22" fmla="*/ 63062 w 2277941"/>
                  <a:gd name="connsiteY22" fmla="*/ 31531 h 1097280"/>
                  <a:gd name="connsiteX0" fmla="*/ 0 w 2298956"/>
                  <a:gd name="connsiteY0" fmla="*/ 35755 h 1095197"/>
                  <a:gd name="connsiteX1" fmla="*/ 0 w 2298956"/>
                  <a:gd name="connsiteY1" fmla="*/ 35755 h 1095197"/>
                  <a:gd name="connsiteX2" fmla="*/ 94593 w 2298956"/>
                  <a:gd name="connsiteY2" fmla="*/ 10530 h 1095197"/>
                  <a:gd name="connsiteX3" fmla="*/ 182880 w 2298956"/>
                  <a:gd name="connsiteY3" fmla="*/ 4224 h 1095197"/>
                  <a:gd name="connsiteX4" fmla="*/ 2150417 w 2298956"/>
                  <a:gd name="connsiteY4" fmla="*/ 73592 h 1095197"/>
                  <a:gd name="connsiteX5" fmla="*/ 2156723 w 2298956"/>
                  <a:gd name="connsiteY5" fmla="*/ 92510 h 1095197"/>
                  <a:gd name="connsiteX6" fmla="*/ 2131498 w 2298956"/>
                  <a:gd name="connsiteY6" fmla="*/ 111429 h 1095197"/>
                  <a:gd name="connsiteX7" fmla="*/ 2062130 w 2298956"/>
                  <a:gd name="connsiteY7" fmla="*/ 180797 h 1095197"/>
                  <a:gd name="connsiteX8" fmla="*/ 1917087 w 2298956"/>
                  <a:gd name="connsiteY8" fmla="*/ 426739 h 1095197"/>
                  <a:gd name="connsiteX9" fmla="*/ 1885556 w 2298956"/>
                  <a:gd name="connsiteY9" fmla="*/ 502414 h 1095197"/>
                  <a:gd name="connsiteX10" fmla="*/ 1784657 w 2298956"/>
                  <a:gd name="connsiteY10" fmla="*/ 786193 h 1095197"/>
                  <a:gd name="connsiteX11" fmla="*/ 1778351 w 2298956"/>
                  <a:gd name="connsiteY11" fmla="*/ 817724 h 1095197"/>
                  <a:gd name="connsiteX12" fmla="*/ 1620696 w 2298956"/>
                  <a:gd name="connsiteY12" fmla="*/ 1069973 h 1095197"/>
                  <a:gd name="connsiteX13" fmla="*/ 1576552 w 2298956"/>
                  <a:gd name="connsiteY13" fmla="*/ 1095197 h 1095197"/>
                  <a:gd name="connsiteX14" fmla="*/ 1469347 w 2298956"/>
                  <a:gd name="connsiteY14" fmla="*/ 981686 h 1095197"/>
                  <a:gd name="connsiteX15" fmla="*/ 794582 w 2298956"/>
                  <a:gd name="connsiteY15" fmla="*/ 420433 h 1095197"/>
                  <a:gd name="connsiteX16" fmla="*/ 252249 w 2298956"/>
                  <a:gd name="connsiteY16" fmla="*/ 105123 h 1095197"/>
                  <a:gd name="connsiteX17" fmla="*/ 214411 w 2298956"/>
                  <a:gd name="connsiteY17" fmla="*/ 86204 h 1095197"/>
                  <a:gd name="connsiteX18" fmla="*/ 163962 w 2298956"/>
                  <a:gd name="connsiteY18" fmla="*/ 48367 h 1095197"/>
                  <a:gd name="connsiteX19" fmla="*/ 75675 w 2298956"/>
                  <a:gd name="connsiteY19" fmla="*/ 16836 h 1095197"/>
                  <a:gd name="connsiteX20" fmla="*/ 56756 w 2298956"/>
                  <a:gd name="connsiteY20" fmla="*/ 29448 h 1095197"/>
                  <a:gd name="connsiteX21" fmla="*/ 63062 w 2298956"/>
                  <a:gd name="connsiteY21" fmla="*/ 29448 h 1095197"/>
                  <a:gd name="connsiteX0" fmla="*/ 11516 w 2240901"/>
                  <a:gd name="connsiteY0" fmla="*/ 46931 h 1106373"/>
                  <a:gd name="connsiteX1" fmla="*/ 11516 w 2240901"/>
                  <a:gd name="connsiteY1" fmla="*/ 46931 h 1106373"/>
                  <a:gd name="connsiteX2" fmla="*/ 106109 w 2240901"/>
                  <a:gd name="connsiteY2" fmla="*/ 21706 h 1106373"/>
                  <a:gd name="connsiteX3" fmla="*/ 1134021 w 2240901"/>
                  <a:gd name="connsiteY3" fmla="*/ 2787 h 1106373"/>
                  <a:gd name="connsiteX4" fmla="*/ 2161933 w 2240901"/>
                  <a:gd name="connsiteY4" fmla="*/ 84768 h 1106373"/>
                  <a:gd name="connsiteX5" fmla="*/ 2168239 w 2240901"/>
                  <a:gd name="connsiteY5" fmla="*/ 103686 h 1106373"/>
                  <a:gd name="connsiteX6" fmla="*/ 2143014 w 2240901"/>
                  <a:gd name="connsiteY6" fmla="*/ 122605 h 1106373"/>
                  <a:gd name="connsiteX7" fmla="*/ 2073646 w 2240901"/>
                  <a:gd name="connsiteY7" fmla="*/ 191973 h 1106373"/>
                  <a:gd name="connsiteX8" fmla="*/ 1928603 w 2240901"/>
                  <a:gd name="connsiteY8" fmla="*/ 437915 h 1106373"/>
                  <a:gd name="connsiteX9" fmla="*/ 1897072 w 2240901"/>
                  <a:gd name="connsiteY9" fmla="*/ 513590 h 1106373"/>
                  <a:gd name="connsiteX10" fmla="*/ 1796173 w 2240901"/>
                  <a:gd name="connsiteY10" fmla="*/ 797369 h 1106373"/>
                  <a:gd name="connsiteX11" fmla="*/ 1789867 w 2240901"/>
                  <a:gd name="connsiteY11" fmla="*/ 828900 h 1106373"/>
                  <a:gd name="connsiteX12" fmla="*/ 1632212 w 2240901"/>
                  <a:gd name="connsiteY12" fmla="*/ 1081149 h 1106373"/>
                  <a:gd name="connsiteX13" fmla="*/ 1588068 w 2240901"/>
                  <a:gd name="connsiteY13" fmla="*/ 1106373 h 1106373"/>
                  <a:gd name="connsiteX14" fmla="*/ 1480863 w 2240901"/>
                  <a:gd name="connsiteY14" fmla="*/ 992862 h 1106373"/>
                  <a:gd name="connsiteX15" fmla="*/ 806098 w 2240901"/>
                  <a:gd name="connsiteY15" fmla="*/ 431609 h 1106373"/>
                  <a:gd name="connsiteX16" fmla="*/ 263765 w 2240901"/>
                  <a:gd name="connsiteY16" fmla="*/ 116299 h 1106373"/>
                  <a:gd name="connsiteX17" fmla="*/ 225927 w 2240901"/>
                  <a:gd name="connsiteY17" fmla="*/ 97380 h 1106373"/>
                  <a:gd name="connsiteX18" fmla="*/ 175478 w 2240901"/>
                  <a:gd name="connsiteY18" fmla="*/ 59543 h 1106373"/>
                  <a:gd name="connsiteX19" fmla="*/ 87191 w 2240901"/>
                  <a:gd name="connsiteY19" fmla="*/ 28012 h 1106373"/>
                  <a:gd name="connsiteX20" fmla="*/ 68272 w 2240901"/>
                  <a:gd name="connsiteY20" fmla="*/ 40624 h 1106373"/>
                  <a:gd name="connsiteX21" fmla="*/ 74578 w 2240901"/>
                  <a:gd name="connsiteY21" fmla="*/ 40624 h 1106373"/>
                  <a:gd name="connsiteX0" fmla="*/ 0 w 2229385"/>
                  <a:gd name="connsiteY0" fmla="*/ 46931 h 1106373"/>
                  <a:gd name="connsiteX1" fmla="*/ 94593 w 2229385"/>
                  <a:gd name="connsiteY1" fmla="*/ 21706 h 1106373"/>
                  <a:gd name="connsiteX2" fmla="*/ 1122505 w 2229385"/>
                  <a:gd name="connsiteY2" fmla="*/ 2787 h 1106373"/>
                  <a:gd name="connsiteX3" fmla="*/ 2150417 w 2229385"/>
                  <a:gd name="connsiteY3" fmla="*/ 84768 h 1106373"/>
                  <a:gd name="connsiteX4" fmla="*/ 2156723 w 2229385"/>
                  <a:gd name="connsiteY4" fmla="*/ 103686 h 1106373"/>
                  <a:gd name="connsiteX5" fmla="*/ 2131498 w 2229385"/>
                  <a:gd name="connsiteY5" fmla="*/ 122605 h 1106373"/>
                  <a:gd name="connsiteX6" fmla="*/ 2062130 w 2229385"/>
                  <a:gd name="connsiteY6" fmla="*/ 191973 h 1106373"/>
                  <a:gd name="connsiteX7" fmla="*/ 1917087 w 2229385"/>
                  <a:gd name="connsiteY7" fmla="*/ 437915 h 1106373"/>
                  <a:gd name="connsiteX8" fmla="*/ 1885556 w 2229385"/>
                  <a:gd name="connsiteY8" fmla="*/ 513590 h 1106373"/>
                  <a:gd name="connsiteX9" fmla="*/ 1784657 w 2229385"/>
                  <a:gd name="connsiteY9" fmla="*/ 797369 h 1106373"/>
                  <a:gd name="connsiteX10" fmla="*/ 1778351 w 2229385"/>
                  <a:gd name="connsiteY10" fmla="*/ 828900 h 1106373"/>
                  <a:gd name="connsiteX11" fmla="*/ 1620696 w 2229385"/>
                  <a:gd name="connsiteY11" fmla="*/ 1081149 h 1106373"/>
                  <a:gd name="connsiteX12" fmla="*/ 1576552 w 2229385"/>
                  <a:gd name="connsiteY12" fmla="*/ 1106373 h 1106373"/>
                  <a:gd name="connsiteX13" fmla="*/ 1469347 w 2229385"/>
                  <a:gd name="connsiteY13" fmla="*/ 992862 h 1106373"/>
                  <a:gd name="connsiteX14" fmla="*/ 794582 w 2229385"/>
                  <a:gd name="connsiteY14" fmla="*/ 431609 h 1106373"/>
                  <a:gd name="connsiteX15" fmla="*/ 252249 w 2229385"/>
                  <a:gd name="connsiteY15" fmla="*/ 116299 h 1106373"/>
                  <a:gd name="connsiteX16" fmla="*/ 214411 w 2229385"/>
                  <a:gd name="connsiteY16" fmla="*/ 97380 h 1106373"/>
                  <a:gd name="connsiteX17" fmla="*/ 163962 w 2229385"/>
                  <a:gd name="connsiteY17" fmla="*/ 59543 h 1106373"/>
                  <a:gd name="connsiteX18" fmla="*/ 75675 w 2229385"/>
                  <a:gd name="connsiteY18" fmla="*/ 28012 h 1106373"/>
                  <a:gd name="connsiteX19" fmla="*/ 56756 w 2229385"/>
                  <a:gd name="connsiteY19" fmla="*/ 40624 h 1106373"/>
                  <a:gd name="connsiteX20" fmla="*/ 63062 w 2229385"/>
                  <a:gd name="connsiteY20" fmla="*/ 40624 h 1106373"/>
                  <a:gd name="connsiteX0" fmla="*/ 0 w 2229385"/>
                  <a:gd name="connsiteY0" fmla="*/ 46931 h 1106373"/>
                  <a:gd name="connsiteX1" fmla="*/ 94593 w 2229385"/>
                  <a:gd name="connsiteY1" fmla="*/ 21706 h 1106373"/>
                  <a:gd name="connsiteX2" fmla="*/ 1122505 w 2229385"/>
                  <a:gd name="connsiteY2" fmla="*/ 2787 h 1106373"/>
                  <a:gd name="connsiteX3" fmla="*/ 2150417 w 2229385"/>
                  <a:gd name="connsiteY3" fmla="*/ 84768 h 1106373"/>
                  <a:gd name="connsiteX4" fmla="*/ 2156723 w 2229385"/>
                  <a:gd name="connsiteY4" fmla="*/ 103686 h 1106373"/>
                  <a:gd name="connsiteX5" fmla="*/ 2131498 w 2229385"/>
                  <a:gd name="connsiteY5" fmla="*/ 122605 h 1106373"/>
                  <a:gd name="connsiteX6" fmla="*/ 2062130 w 2229385"/>
                  <a:gd name="connsiteY6" fmla="*/ 191973 h 1106373"/>
                  <a:gd name="connsiteX7" fmla="*/ 1917087 w 2229385"/>
                  <a:gd name="connsiteY7" fmla="*/ 437915 h 1106373"/>
                  <a:gd name="connsiteX8" fmla="*/ 1885556 w 2229385"/>
                  <a:gd name="connsiteY8" fmla="*/ 513590 h 1106373"/>
                  <a:gd name="connsiteX9" fmla="*/ 1784657 w 2229385"/>
                  <a:gd name="connsiteY9" fmla="*/ 797369 h 1106373"/>
                  <a:gd name="connsiteX10" fmla="*/ 1778351 w 2229385"/>
                  <a:gd name="connsiteY10" fmla="*/ 828900 h 1106373"/>
                  <a:gd name="connsiteX11" fmla="*/ 1620696 w 2229385"/>
                  <a:gd name="connsiteY11" fmla="*/ 1081149 h 1106373"/>
                  <a:gd name="connsiteX12" fmla="*/ 1576552 w 2229385"/>
                  <a:gd name="connsiteY12" fmla="*/ 1106373 h 1106373"/>
                  <a:gd name="connsiteX13" fmla="*/ 1469347 w 2229385"/>
                  <a:gd name="connsiteY13" fmla="*/ 992862 h 1106373"/>
                  <a:gd name="connsiteX14" fmla="*/ 794582 w 2229385"/>
                  <a:gd name="connsiteY14" fmla="*/ 431609 h 1106373"/>
                  <a:gd name="connsiteX15" fmla="*/ 252249 w 2229385"/>
                  <a:gd name="connsiteY15" fmla="*/ 116299 h 1106373"/>
                  <a:gd name="connsiteX16" fmla="*/ 214411 w 2229385"/>
                  <a:gd name="connsiteY16" fmla="*/ 97380 h 1106373"/>
                  <a:gd name="connsiteX17" fmla="*/ 163962 w 2229385"/>
                  <a:gd name="connsiteY17" fmla="*/ 59543 h 1106373"/>
                  <a:gd name="connsiteX18" fmla="*/ 75675 w 2229385"/>
                  <a:gd name="connsiteY18" fmla="*/ 28012 h 1106373"/>
                  <a:gd name="connsiteX19" fmla="*/ 56756 w 2229385"/>
                  <a:gd name="connsiteY19" fmla="*/ 40624 h 1106373"/>
                  <a:gd name="connsiteX0" fmla="*/ 37837 w 2172629"/>
                  <a:gd name="connsiteY0" fmla="*/ 21706 h 1106373"/>
                  <a:gd name="connsiteX1" fmla="*/ 1065749 w 2172629"/>
                  <a:gd name="connsiteY1" fmla="*/ 2787 h 1106373"/>
                  <a:gd name="connsiteX2" fmla="*/ 2093661 w 2172629"/>
                  <a:gd name="connsiteY2" fmla="*/ 84768 h 1106373"/>
                  <a:gd name="connsiteX3" fmla="*/ 2099967 w 2172629"/>
                  <a:gd name="connsiteY3" fmla="*/ 103686 h 1106373"/>
                  <a:gd name="connsiteX4" fmla="*/ 2074742 w 2172629"/>
                  <a:gd name="connsiteY4" fmla="*/ 122605 h 1106373"/>
                  <a:gd name="connsiteX5" fmla="*/ 2005374 w 2172629"/>
                  <a:gd name="connsiteY5" fmla="*/ 191973 h 1106373"/>
                  <a:gd name="connsiteX6" fmla="*/ 1860331 w 2172629"/>
                  <a:gd name="connsiteY6" fmla="*/ 437915 h 1106373"/>
                  <a:gd name="connsiteX7" fmla="*/ 1828800 w 2172629"/>
                  <a:gd name="connsiteY7" fmla="*/ 513590 h 1106373"/>
                  <a:gd name="connsiteX8" fmla="*/ 1727901 w 2172629"/>
                  <a:gd name="connsiteY8" fmla="*/ 797369 h 1106373"/>
                  <a:gd name="connsiteX9" fmla="*/ 1721595 w 2172629"/>
                  <a:gd name="connsiteY9" fmla="*/ 828900 h 1106373"/>
                  <a:gd name="connsiteX10" fmla="*/ 1563940 w 2172629"/>
                  <a:gd name="connsiteY10" fmla="*/ 1081149 h 1106373"/>
                  <a:gd name="connsiteX11" fmla="*/ 1519796 w 2172629"/>
                  <a:gd name="connsiteY11" fmla="*/ 1106373 h 1106373"/>
                  <a:gd name="connsiteX12" fmla="*/ 1412591 w 2172629"/>
                  <a:gd name="connsiteY12" fmla="*/ 992862 h 1106373"/>
                  <a:gd name="connsiteX13" fmla="*/ 737826 w 2172629"/>
                  <a:gd name="connsiteY13" fmla="*/ 431609 h 1106373"/>
                  <a:gd name="connsiteX14" fmla="*/ 195493 w 2172629"/>
                  <a:gd name="connsiteY14" fmla="*/ 116299 h 1106373"/>
                  <a:gd name="connsiteX15" fmla="*/ 157655 w 2172629"/>
                  <a:gd name="connsiteY15" fmla="*/ 97380 h 1106373"/>
                  <a:gd name="connsiteX16" fmla="*/ 107206 w 2172629"/>
                  <a:gd name="connsiteY16" fmla="*/ 59543 h 1106373"/>
                  <a:gd name="connsiteX17" fmla="*/ 18919 w 2172629"/>
                  <a:gd name="connsiteY17" fmla="*/ 28012 h 1106373"/>
                  <a:gd name="connsiteX18" fmla="*/ 0 w 2172629"/>
                  <a:gd name="connsiteY18" fmla="*/ 40624 h 1106373"/>
                  <a:gd name="connsiteX0" fmla="*/ 18918 w 2153710"/>
                  <a:gd name="connsiteY0" fmla="*/ 21706 h 1106373"/>
                  <a:gd name="connsiteX1" fmla="*/ 1046830 w 2153710"/>
                  <a:gd name="connsiteY1" fmla="*/ 2787 h 1106373"/>
                  <a:gd name="connsiteX2" fmla="*/ 2074742 w 2153710"/>
                  <a:gd name="connsiteY2" fmla="*/ 84768 h 1106373"/>
                  <a:gd name="connsiteX3" fmla="*/ 2081048 w 2153710"/>
                  <a:gd name="connsiteY3" fmla="*/ 103686 h 1106373"/>
                  <a:gd name="connsiteX4" fmla="*/ 2055823 w 2153710"/>
                  <a:gd name="connsiteY4" fmla="*/ 122605 h 1106373"/>
                  <a:gd name="connsiteX5" fmla="*/ 1986455 w 2153710"/>
                  <a:gd name="connsiteY5" fmla="*/ 191973 h 1106373"/>
                  <a:gd name="connsiteX6" fmla="*/ 1841412 w 2153710"/>
                  <a:gd name="connsiteY6" fmla="*/ 437915 h 1106373"/>
                  <a:gd name="connsiteX7" fmla="*/ 1809881 w 2153710"/>
                  <a:gd name="connsiteY7" fmla="*/ 513590 h 1106373"/>
                  <a:gd name="connsiteX8" fmla="*/ 1708982 w 2153710"/>
                  <a:gd name="connsiteY8" fmla="*/ 797369 h 1106373"/>
                  <a:gd name="connsiteX9" fmla="*/ 1702676 w 2153710"/>
                  <a:gd name="connsiteY9" fmla="*/ 828900 h 1106373"/>
                  <a:gd name="connsiteX10" fmla="*/ 1545021 w 2153710"/>
                  <a:gd name="connsiteY10" fmla="*/ 1081149 h 1106373"/>
                  <a:gd name="connsiteX11" fmla="*/ 1500877 w 2153710"/>
                  <a:gd name="connsiteY11" fmla="*/ 1106373 h 1106373"/>
                  <a:gd name="connsiteX12" fmla="*/ 1393672 w 2153710"/>
                  <a:gd name="connsiteY12" fmla="*/ 992862 h 1106373"/>
                  <a:gd name="connsiteX13" fmla="*/ 718907 w 2153710"/>
                  <a:gd name="connsiteY13" fmla="*/ 431609 h 1106373"/>
                  <a:gd name="connsiteX14" fmla="*/ 176574 w 2153710"/>
                  <a:gd name="connsiteY14" fmla="*/ 116299 h 1106373"/>
                  <a:gd name="connsiteX15" fmla="*/ 138736 w 2153710"/>
                  <a:gd name="connsiteY15" fmla="*/ 97380 h 1106373"/>
                  <a:gd name="connsiteX16" fmla="*/ 88287 w 2153710"/>
                  <a:gd name="connsiteY16" fmla="*/ 59543 h 1106373"/>
                  <a:gd name="connsiteX17" fmla="*/ 0 w 2153710"/>
                  <a:gd name="connsiteY17" fmla="*/ 28012 h 1106373"/>
                  <a:gd name="connsiteX0" fmla="*/ 0 w 2134792"/>
                  <a:gd name="connsiteY0" fmla="*/ 21706 h 1106373"/>
                  <a:gd name="connsiteX1" fmla="*/ 1027912 w 2134792"/>
                  <a:gd name="connsiteY1" fmla="*/ 2787 h 1106373"/>
                  <a:gd name="connsiteX2" fmla="*/ 2055824 w 2134792"/>
                  <a:gd name="connsiteY2" fmla="*/ 84768 h 1106373"/>
                  <a:gd name="connsiteX3" fmla="*/ 2062130 w 2134792"/>
                  <a:gd name="connsiteY3" fmla="*/ 103686 h 1106373"/>
                  <a:gd name="connsiteX4" fmla="*/ 2036905 w 2134792"/>
                  <a:gd name="connsiteY4" fmla="*/ 122605 h 1106373"/>
                  <a:gd name="connsiteX5" fmla="*/ 1967537 w 2134792"/>
                  <a:gd name="connsiteY5" fmla="*/ 191973 h 1106373"/>
                  <a:gd name="connsiteX6" fmla="*/ 1822494 w 2134792"/>
                  <a:gd name="connsiteY6" fmla="*/ 437915 h 1106373"/>
                  <a:gd name="connsiteX7" fmla="*/ 1790963 w 2134792"/>
                  <a:gd name="connsiteY7" fmla="*/ 513590 h 1106373"/>
                  <a:gd name="connsiteX8" fmla="*/ 1690064 w 2134792"/>
                  <a:gd name="connsiteY8" fmla="*/ 797369 h 1106373"/>
                  <a:gd name="connsiteX9" fmla="*/ 1683758 w 2134792"/>
                  <a:gd name="connsiteY9" fmla="*/ 828900 h 1106373"/>
                  <a:gd name="connsiteX10" fmla="*/ 1526103 w 2134792"/>
                  <a:gd name="connsiteY10" fmla="*/ 1081149 h 1106373"/>
                  <a:gd name="connsiteX11" fmla="*/ 1481959 w 2134792"/>
                  <a:gd name="connsiteY11" fmla="*/ 1106373 h 1106373"/>
                  <a:gd name="connsiteX12" fmla="*/ 1374754 w 2134792"/>
                  <a:gd name="connsiteY12" fmla="*/ 992862 h 1106373"/>
                  <a:gd name="connsiteX13" fmla="*/ 699989 w 2134792"/>
                  <a:gd name="connsiteY13" fmla="*/ 431609 h 1106373"/>
                  <a:gd name="connsiteX14" fmla="*/ 157656 w 2134792"/>
                  <a:gd name="connsiteY14" fmla="*/ 116299 h 1106373"/>
                  <a:gd name="connsiteX15" fmla="*/ 119818 w 2134792"/>
                  <a:gd name="connsiteY15" fmla="*/ 97380 h 1106373"/>
                  <a:gd name="connsiteX16" fmla="*/ 69369 w 2134792"/>
                  <a:gd name="connsiteY16" fmla="*/ 59543 h 1106373"/>
                  <a:gd name="connsiteX0" fmla="*/ 958543 w 2065423"/>
                  <a:gd name="connsiteY0" fmla="*/ 0 h 1103586"/>
                  <a:gd name="connsiteX1" fmla="*/ 1986455 w 2065423"/>
                  <a:gd name="connsiteY1" fmla="*/ 81981 h 1103586"/>
                  <a:gd name="connsiteX2" fmla="*/ 1992761 w 2065423"/>
                  <a:gd name="connsiteY2" fmla="*/ 100899 h 1103586"/>
                  <a:gd name="connsiteX3" fmla="*/ 1967536 w 2065423"/>
                  <a:gd name="connsiteY3" fmla="*/ 119818 h 1103586"/>
                  <a:gd name="connsiteX4" fmla="*/ 1898168 w 2065423"/>
                  <a:gd name="connsiteY4" fmla="*/ 189186 h 1103586"/>
                  <a:gd name="connsiteX5" fmla="*/ 1753125 w 2065423"/>
                  <a:gd name="connsiteY5" fmla="*/ 435128 h 1103586"/>
                  <a:gd name="connsiteX6" fmla="*/ 1721594 w 2065423"/>
                  <a:gd name="connsiteY6" fmla="*/ 510803 h 1103586"/>
                  <a:gd name="connsiteX7" fmla="*/ 1620695 w 2065423"/>
                  <a:gd name="connsiteY7" fmla="*/ 794582 h 1103586"/>
                  <a:gd name="connsiteX8" fmla="*/ 1614389 w 2065423"/>
                  <a:gd name="connsiteY8" fmla="*/ 826113 h 1103586"/>
                  <a:gd name="connsiteX9" fmla="*/ 1456734 w 2065423"/>
                  <a:gd name="connsiteY9" fmla="*/ 1078362 h 1103586"/>
                  <a:gd name="connsiteX10" fmla="*/ 1412590 w 2065423"/>
                  <a:gd name="connsiteY10" fmla="*/ 1103586 h 1103586"/>
                  <a:gd name="connsiteX11" fmla="*/ 1305385 w 2065423"/>
                  <a:gd name="connsiteY11" fmla="*/ 990075 h 1103586"/>
                  <a:gd name="connsiteX12" fmla="*/ 630620 w 2065423"/>
                  <a:gd name="connsiteY12" fmla="*/ 428822 h 1103586"/>
                  <a:gd name="connsiteX13" fmla="*/ 88287 w 2065423"/>
                  <a:gd name="connsiteY13" fmla="*/ 113512 h 1103586"/>
                  <a:gd name="connsiteX14" fmla="*/ 50449 w 2065423"/>
                  <a:gd name="connsiteY14" fmla="*/ 94593 h 1103586"/>
                  <a:gd name="connsiteX15" fmla="*/ 0 w 2065423"/>
                  <a:gd name="connsiteY15" fmla="*/ 56756 h 1103586"/>
                  <a:gd name="connsiteX0" fmla="*/ 1027912 w 2134792"/>
                  <a:gd name="connsiteY0" fmla="*/ 0 h 1103586"/>
                  <a:gd name="connsiteX1" fmla="*/ 2055824 w 2134792"/>
                  <a:gd name="connsiteY1" fmla="*/ 81981 h 1103586"/>
                  <a:gd name="connsiteX2" fmla="*/ 2062130 w 2134792"/>
                  <a:gd name="connsiteY2" fmla="*/ 100899 h 1103586"/>
                  <a:gd name="connsiteX3" fmla="*/ 2036905 w 2134792"/>
                  <a:gd name="connsiteY3" fmla="*/ 119818 h 1103586"/>
                  <a:gd name="connsiteX4" fmla="*/ 1967537 w 2134792"/>
                  <a:gd name="connsiteY4" fmla="*/ 189186 h 1103586"/>
                  <a:gd name="connsiteX5" fmla="*/ 1822494 w 2134792"/>
                  <a:gd name="connsiteY5" fmla="*/ 435128 h 1103586"/>
                  <a:gd name="connsiteX6" fmla="*/ 1790963 w 2134792"/>
                  <a:gd name="connsiteY6" fmla="*/ 510803 h 1103586"/>
                  <a:gd name="connsiteX7" fmla="*/ 1690064 w 2134792"/>
                  <a:gd name="connsiteY7" fmla="*/ 794582 h 1103586"/>
                  <a:gd name="connsiteX8" fmla="*/ 1683758 w 2134792"/>
                  <a:gd name="connsiteY8" fmla="*/ 826113 h 1103586"/>
                  <a:gd name="connsiteX9" fmla="*/ 1526103 w 2134792"/>
                  <a:gd name="connsiteY9" fmla="*/ 1078362 h 1103586"/>
                  <a:gd name="connsiteX10" fmla="*/ 1481959 w 2134792"/>
                  <a:gd name="connsiteY10" fmla="*/ 1103586 h 1103586"/>
                  <a:gd name="connsiteX11" fmla="*/ 1374754 w 2134792"/>
                  <a:gd name="connsiteY11" fmla="*/ 990075 h 1103586"/>
                  <a:gd name="connsiteX12" fmla="*/ 699989 w 2134792"/>
                  <a:gd name="connsiteY12" fmla="*/ 428822 h 1103586"/>
                  <a:gd name="connsiteX13" fmla="*/ 157656 w 2134792"/>
                  <a:gd name="connsiteY13" fmla="*/ 113512 h 1103586"/>
                  <a:gd name="connsiteX14" fmla="*/ 119818 w 2134792"/>
                  <a:gd name="connsiteY14" fmla="*/ 94593 h 1103586"/>
                  <a:gd name="connsiteX15" fmla="*/ 0 w 2134792"/>
                  <a:gd name="connsiteY15" fmla="*/ 94593 h 1103586"/>
                  <a:gd name="connsiteX0" fmla="*/ 0 w 2800174"/>
                  <a:gd name="connsiteY0" fmla="*/ 0 h 1154036"/>
                  <a:gd name="connsiteX1" fmla="*/ 2604464 w 2800174"/>
                  <a:gd name="connsiteY1" fmla="*/ 132431 h 1154036"/>
                  <a:gd name="connsiteX2" fmla="*/ 2610770 w 2800174"/>
                  <a:gd name="connsiteY2" fmla="*/ 151349 h 1154036"/>
                  <a:gd name="connsiteX3" fmla="*/ 2585545 w 2800174"/>
                  <a:gd name="connsiteY3" fmla="*/ 170268 h 1154036"/>
                  <a:gd name="connsiteX4" fmla="*/ 2516177 w 2800174"/>
                  <a:gd name="connsiteY4" fmla="*/ 239636 h 1154036"/>
                  <a:gd name="connsiteX5" fmla="*/ 2371134 w 2800174"/>
                  <a:gd name="connsiteY5" fmla="*/ 485578 h 1154036"/>
                  <a:gd name="connsiteX6" fmla="*/ 2339603 w 2800174"/>
                  <a:gd name="connsiteY6" fmla="*/ 561253 h 1154036"/>
                  <a:gd name="connsiteX7" fmla="*/ 2238704 w 2800174"/>
                  <a:gd name="connsiteY7" fmla="*/ 845032 h 1154036"/>
                  <a:gd name="connsiteX8" fmla="*/ 2232398 w 2800174"/>
                  <a:gd name="connsiteY8" fmla="*/ 876563 h 1154036"/>
                  <a:gd name="connsiteX9" fmla="*/ 2074743 w 2800174"/>
                  <a:gd name="connsiteY9" fmla="*/ 1128812 h 1154036"/>
                  <a:gd name="connsiteX10" fmla="*/ 2030599 w 2800174"/>
                  <a:gd name="connsiteY10" fmla="*/ 1154036 h 1154036"/>
                  <a:gd name="connsiteX11" fmla="*/ 1923394 w 2800174"/>
                  <a:gd name="connsiteY11" fmla="*/ 1040525 h 1154036"/>
                  <a:gd name="connsiteX12" fmla="*/ 1248629 w 2800174"/>
                  <a:gd name="connsiteY12" fmla="*/ 479272 h 1154036"/>
                  <a:gd name="connsiteX13" fmla="*/ 706296 w 2800174"/>
                  <a:gd name="connsiteY13" fmla="*/ 163962 h 1154036"/>
                  <a:gd name="connsiteX14" fmla="*/ 668458 w 2800174"/>
                  <a:gd name="connsiteY14" fmla="*/ 145043 h 1154036"/>
                  <a:gd name="connsiteX15" fmla="*/ 548640 w 2800174"/>
                  <a:gd name="connsiteY15" fmla="*/ 145043 h 1154036"/>
                  <a:gd name="connsiteX0" fmla="*/ 296392 w 2188952"/>
                  <a:gd name="connsiteY0" fmla="*/ 0 h 1109892"/>
                  <a:gd name="connsiteX1" fmla="*/ 2055824 w 2188952"/>
                  <a:gd name="connsiteY1" fmla="*/ 88287 h 1109892"/>
                  <a:gd name="connsiteX2" fmla="*/ 2062130 w 2188952"/>
                  <a:gd name="connsiteY2" fmla="*/ 107205 h 1109892"/>
                  <a:gd name="connsiteX3" fmla="*/ 2036905 w 2188952"/>
                  <a:gd name="connsiteY3" fmla="*/ 126124 h 1109892"/>
                  <a:gd name="connsiteX4" fmla="*/ 1967537 w 2188952"/>
                  <a:gd name="connsiteY4" fmla="*/ 195492 h 1109892"/>
                  <a:gd name="connsiteX5" fmla="*/ 1822494 w 2188952"/>
                  <a:gd name="connsiteY5" fmla="*/ 441434 h 1109892"/>
                  <a:gd name="connsiteX6" fmla="*/ 1790963 w 2188952"/>
                  <a:gd name="connsiteY6" fmla="*/ 517109 h 1109892"/>
                  <a:gd name="connsiteX7" fmla="*/ 1690064 w 2188952"/>
                  <a:gd name="connsiteY7" fmla="*/ 800888 h 1109892"/>
                  <a:gd name="connsiteX8" fmla="*/ 1683758 w 2188952"/>
                  <a:gd name="connsiteY8" fmla="*/ 832419 h 1109892"/>
                  <a:gd name="connsiteX9" fmla="*/ 1526103 w 2188952"/>
                  <a:gd name="connsiteY9" fmla="*/ 1084668 h 1109892"/>
                  <a:gd name="connsiteX10" fmla="*/ 1481959 w 2188952"/>
                  <a:gd name="connsiteY10" fmla="*/ 1109892 h 1109892"/>
                  <a:gd name="connsiteX11" fmla="*/ 1374754 w 2188952"/>
                  <a:gd name="connsiteY11" fmla="*/ 996381 h 1109892"/>
                  <a:gd name="connsiteX12" fmla="*/ 699989 w 2188952"/>
                  <a:gd name="connsiteY12" fmla="*/ 435128 h 1109892"/>
                  <a:gd name="connsiteX13" fmla="*/ 157656 w 2188952"/>
                  <a:gd name="connsiteY13" fmla="*/ 119818 h 1109892"/>
                  <a:gd name="connsiteX14" fmla="*/ 119818 w 2188952"/>
                  <a:gd name="connsiteY14" fmla="*/ 100899 h 1109892"/>
                  <a:gd name="connsiteX15" fmla="*/ 0 w 2188952"/>
                  <a:gd name="connsiteY15" fmla="*/ 100899 h 1109892"/>
                  <a:gd name="connsiteX0" fmla="*/ 296392 w 2188952"/>
                  <a:gd name="connsiteY0" fmla="*/ 0 h 1109892"/>
                  <a:gd name="connsiteX1" fmla="*/ 2055824 w 2188952"/>
                  <a:gd name="connsiteY1" fmla="*/ 88287 h 1109892"/>
                  <a:gd name="connsiteX2" fmla="*/ 2062130 w 2188952"/>
                  <a:gd name="connsiteY2" fmla="*/ 107205 h 1109892"/>
                  <a:gd name="connsiteX3" fmla="*/ 2036905 w 2188952"/>
                  <a:gd name="connsiteY3" fmla="*/ 126124 h 1109892"/>
                  <a:gd name="connsiteX4" fmla="*/ 1967537 w 2188952"/>
                  <a:gd name="connsiteY4" fmla="*/ 195492 h 1109892"/>
                  <a:gd name="connsiteX5" fmla="*/ 1822494 w 2188952"/>
                  <a:gd name="connsiteY5" fmla="*/ 441434 h 1109892"/>
                  <a:gd name="connsiteX6" fmla="*/ 1790963 w 2188952"/>
                  <a:gd name="connsiteY6" fmla="*/ 517109 h 1109892"/>
                  <a:gd name="connsiteX7" fmla="*/ 1690064 w 2188952"/>
                  <a:gd name="connsiteY7" fmla="*/ 800888 h 1109892"/>
                  <a:gd name="connsiteX8" fmla="*/ 1683758 w 2188952"/>
                  <a:gd name="connsiteY8" fmla="*/ 832419 h 1109892"/>
                  <a:gd name="connsiteX9" fmla="*/ 1526103 w 2188952"/>
                  <a:gd name="connsiteY9" fmla="*/ 1084668 h 1109892"/>
                  <a:gd name="connsiteX10" fmla="*/ 1481959 w 2188952"/>
                  <a:gd name="connsiteY10" fmla="*/ 1109892 h 1109892"/>
                  <a:gd name="connsiteX11" fmla="*/ 1374754 w 2188952"/>
                  <a:gd name="connsiteY11" fmla="*/ 996381 h 1109892"/>
                  <a:gd name="connsiteX12" fmla="*/ 699989 w 2188952"/>
                  <a:gd name="connsiteY12" fmla="*/ 435128 h 1109892"/>
                  <a:gd name="connsiteX13" fmla="*/ 157656 w 2188952"/>
                  <a:gd name="connsiteY13" fmla="*/ 119818 h 1109892"/>
                  <a:gd name="connsiteX14" fmla="*/ 119818 w 2188952"/>
                  <a:gd name="connsiteY14" fmla="*/ 100899 h 1109892"/>
                  <a:gd name="connsiteX15" fmla="*/ 0 w 2188952"/>
                  <a:gd name="connsiteY15" fmla="*/ 100899 h 1109892"/>
                  <a:gd name="connsiteX0" fmla="*/ 296392 w 2188952"/>
                  <a:gd name="connsiteY0" fmla="*/ 0 h 1116198"/>
                  <a:gd name="connsiteX1" fmla="*/ 2055824 w 2188952"/>
                  <a:gd name="connsiteY1" fmla="*/ 94593 h 1116198"/>
                  <a:gd name="connsiteX2" fmla="*/ 2062130 w 2188952"/>
                  <a:gd name="connsiteY2" fmla="*/ 113511 h 1116198"/>
                  <a:gd name="connsiteX3" fmla="*/ 2036905 w 2188952"/>
                  <a:gd name="connsiteY3" fmla="*/ 132430 h 1116198"/>
                  <a:gd name="connsiteX4" fmla="*/ 1967537 w 2188952"/>
                  <a:gd name="connsiteY4" fmla="*/ 201798 h 1116198"/>
                  <a:gd name="connsiteX5" fmla="*/ 1822494 w 2188952"/>
                  <a:gd name="connsiteY5" fmla="*/ 447740 h 1116198"/>
                  <a:gd name="connsiteX6" fmla="*/ 1790963 w 2188952"/>
                  <a:gd name="connsiteY6" fmla="*/ 523415 h 1116198"/>
                  <a:gd name="connsiteX7" fmla="*/ 1690064 w 2188952"/>
                  <a:gd name="connsiteY7" fmla="*/ 807194 h 1116198"/>
                  <a:gd name="connsiteX8" fmla="*/ 1683758 w 2188952"/>
                  <a:gd name="connsiteY8" fmla="*/ 838725 h 1116198"/>
                  <a:gd name="connsiteX9" fmla="*/ 1526103 w 2188952"/>
                  <a:gd name="connsiteY9" fmla="*/ 1090974 h 1116198"/>
                  <a:gd name="connsiteX10" fmla="*/ 1481959 w 2188952"/>
                  <a:gd name="connsiteY10" fmla="*/ 1116198 h 1116198"/>
                  <a:gd name="connsiteX11" fmla="*/ 1374754 w 2188952"/>
                  <a:gd name="connsiteY11" fmla="*/ 1002687 h 1116198"/>
                  <a:gd name="connsiteX12" fmla="*/ 699989 w 2188952"/>
                  <a:gd name="connsiteY12" fmla="*/ 441434 h 1116198"/>
                  <a:gd name="connsiteX13" fmla="*/ 157656 w 2188952"/>
                  <a:gd name="connsiteY13" fmla="*/ 126124 h 1116198"/>
                  <a:gd name="connsiteX14" fmla="*/ 119818 w 2188952"/>
                  <a:gd name="connsiteY14" fmla="*/ 107205 h 1116198"/>
                  <a:gd name="connsiteX15" fmla="*/ 0 w 2188952"/>
                  <a:gd name="connsiteY15" fmla="*/ 107205 h 1116198"/>
                  <a:gd name="connsiteX0" fmla="*/ 296392 w 2191678"/>
                  <a:gd name="connsiteY0" fmla="*/ 0 h 1116198"/>
                  <a:gd name="connsiteX1" fmla="*/ 2055824 w 2191678"/>
                  <a:gd name="connsiteY1" fmla="*/ 94593 h 1116198"/>
                  <a:gd name="connsiteX2" fmla="*/ 2062130 w 2191678"/>
                  <a:gd name="connsiteY2" fmla="*/ 113511 h 1116198"/>
                  <a:gd name="connsiteX3" fmla="*/ 1967537 w 2191678"/>
                  <a:gd name="connsiteY3" fmla="*/ 201798 h 1116198"/>
                  <a:gd name="connsiteX4" fmla="*/ 1822494 w 2191678"/>
                  <a:gd name="connsiteY4" fmla="*/ 447740 h 1116198"/>
                  <a:gd name="connsiteX5" fmla="*/ 1790963 w 2191678"/>
                  <a:gd name="connsiteY5" fmla="*/ 523415 h 1116198"/>
                  <a:gd name="connsiteX6" fmla="*/ 1690064 w 2191678"/>
                  <a:gd name="connsiteY6" fmla="*/ 807194 h 1116198"/>
                  <a:gd name="connsiteX7" fmla="*/ 1683758 w 2191678"/>
                  <a:gd name="connsiteY7" fmla="*/ 838725 h 1116198"/>
                  <a:gd name="connsiteX8" fmla="*/ 1526103 w 2191678"/>
                  <a:gd name="connsiteY8" fmla="*/ 1090974 h 1116198"/>
                  <a:gd name="connsiteX9" fmla="*/ 1481959 w 2191678"/>
                  <a:gd name="connsiteY9" fmla="*/ 1116198 h 1116198"/>
                  <a:gd name="connsiteX10" fmla="*/ 1374754 w 2191678"/>
                  <a:gd name="connsiteY10" fmla="*/ 1002687 h 1116198"/>
                  <a:gd name="connsiteX11" fmla="*/ 699989 w 2191678"/>
                  <a:gd name="connsiteY11" fmla="*/ 441434 h 1116198"/>
                  <a:gd name="connsiteX12" fmla="*/ 157656 w 2191678"/>
                  <a:gd name="connsiteY12" fmla="*/ 126124 h 1116198"/>
                  <a:gd name="connsiteX13" fmla="*/ 119818 w 2191678"/>
                  <a:gd name="connsiteY13" fmla="*/ 107205 h 1116198"/>
                  <a:gd name="connsiteX14" fmla="*/ 0 w 2191678"/>
                  <a:gd name="connsiteY14" fmla="*/ 107205 h 1116198"/>
                  <a:gd name="connsiteX0" fmla="*/ 296392 w 2166982"/>
                  <a:gd name="connsiteY0" fmla="*/ 0 h 1116198"/>
                  <a:gd name="connsiteX1" fmla="*/ 2055824 w 2166982"/>
                  <a:gd name="connsiteY1" fmla="*/ 94593 h 1116198"/>
                  <a:gd name="connsiteX2" fmla="*/ 1967537 w 2166982"/>
                  <a:gd name="connsiteY2" fmla="*/ 201798 h 1116198"/>
                  <a:gd name="connsiteX3" fmla="*/ 1822494 w 2166982"/>
                  <a:gd name="connsiteY3" fmla="*/ 447740 h 1116198"/>
                  <a:gd name="connsiteX4" fmla="*/ 1790963 w 2166982"/>
                  <a:gd name="connsiteY4" fmla="*/ 523415 h 1116198"/>
                  <a:gd name="connsiteX5" fmla="*/ 1690064 w 2166982"/>
                  <a:gd name="connsiteY5" fmla="*/ 807194 h 1116198"/>
                  <a:gd name="connsiteX6" fmla="*/ 1683758 w 2166982"/>
                  <a:gd name="connsiteY6" fmla="*/ 838725 h 1116198"/>
                  <a:gd name="connsiteX7" fmla="*/ 1526103 w 2166982"/>
                  <a:gd name="connsiteY7" fmla="*/ 1090974 h 1116198"/>
                  <a:gd name="connsiteX8" fmla="*/ 1481959 w 2166982"/>
                  <a:gd name="connsiteY8" fmla="*/ 1116198 h 1116198"/>
                  <a:gd name="connsiteX9" fmla="*/ 1374754 w 2166982"/>
                  <a:gd name="connsiteY9" fmla="*/ 1002687 h 1116198"/>
                  <a:gd name="connsiteX10" fmla="*/ 699989 w 2166982"/>
                  <a:gd name="connsiteY10" fmla="*/ 441434 h 1116198"/>
                  <a:gd name="connsiteX11" fmla="*/ 157656 w 2166982"/>
                  <a:gd name="connsiteY11" fmla="*/ 126124 h 1116198"/>
                  <a:gd name="connsiteX12" fmla="*/ 119818 w 2166982"/>
                  <a:gd name="connsiteY12" fmla="*/ 107205 h 1116198"/>
                  <a:gd name="connsiteX13" fmla="*/ 0 w 2166982"/>
                  <a:gd name="connsiteY13" fmla="*/ 107205 h 1116198"/>
                  <a:gd name="connsiteX0" fmla="*/ 296392 w 2058734"/>
                  <a:gd name="connsiteY0" fmla="*/ 0 h 1116198"/>
                  <a:gd name="connsiteX1" fmla="*/ 1967537 w 2058734"/>
                  <a:gd name="connsiteY1" fmla="*/ 201798 h 1116198"/>
                  <a:gd name="connsiteX2" fmla="*/ 1822494 w 2058734"/>
                  <a:gd name="connsiteY2" fmla="*/ 447740 h 1116198"/>
                  <a:gd name="connsiteX3" fmla="*/ 1790963 w 2058734"/>
                  <a:gd name="connsiteY3" fmla="*/ 523415 h 1116198"/>
                  <a:gd name="connsiteX4" fmla="*/ 1690064 w 2058734"/>
                  <a:gd name="connsiteY4" fmla="*/ 807194 h 1116198"/>
                  <a:gd name="connsiteX5" fmla="*/ 1683758 w 2058734"/>
                  <a:gd name="connsiteY5" fmla="*/ 838725 h 1116198"/>
                  <a:gd name="connsiteX6" fmla="*/ 1526103 w 2058734"/>
                  <a:gd name="connsiteY6" fmla="*/ 1090974 h 1116198"/>
                  <a:gd name="connsiteX7" fmla="*/ 1481959 w 2058734"/>
                  <a:gd name="connsiteY7" fmla="*/ 1116198 h 1116198"/>
                  <a:gd name="connsiteX8" fmla="*/ 1374754 w 2058734"/>
                  <a:gd name="connsiteY8" fmla="*/ 1002687 h 1116198"/>
                  <a:gd name="connsiteX9" fmla="*/ 699989 w 2058734"/>
                  <a:gd name="connsiteY9" fmla="*/ 441434 h 1116198"/>
                  <a:gd name="connsiteX10" fmla="*/ 157656 w 2058734"/>
                  <a:gd name="connsiteY10" fmla="*/ 126124 h 1116198"/>
                  <a:gd name="connsiteX11" fmla="*/ 119818 w 2058734"/>
                  <a:gd name="connsiteY11" fmla="*/ 107205 h 1116198"/>
                  <a:gd name="connsiteX12" fmla="*/ 0 w 2058734"/>
                  <a:gd name="connsiteY12" fmla="*/ 107205 h 1116198"/>
                  <a:gd name="connsiteX0" fmla="*/ 296392 w 2078251"/>
                  <a:gd name="connsiteY0" fmla="*/ 0 h 1116198"/>
                  <a:gd name="connsiteX1" fmla="*/ 1992762 w 2078251"/>
                  <a:gd name="connsiteY1" fmla="*/ 94593 h 1116198"/>
                  <a:gd name="connsiteX2" fmla="*/ 1822494 w 2078251"/>
                  <a:gd name="connsiteY2" fmla="*/ 447740 h 1116198"/>
                  <a:gd name="connsiteX3" fmla="*/ 1790963 w 2078251"/>
                  <a:gd name="connsiteY3" fmla="*/ 523415 h 1116198"/>
                  <a:gd name="connsiteX4" fmla="*/ 1690064 w 2078251"/>
                  <a:gd name="connsiteY4" fmla="*/ 807194 h 1116198"/>
                  <a:gd name="connsiteX5" fmla="*/ 1683758 w 2078251"/>
                  <a:gd name="connsiteY5" fmla="*/ 838725 h 1116198"/>
                  <a:gd name="connsiteX6" fmla="*/ 1526103 w 2078251"/>
                  <a:gd name="connsiteY6" fmla="*/ 1090974 h 1116198"/>
                  <a:gd name="connsiteX7" fmla="*/ 1481959 w 2078251"/>
                  <a:gd name="connsiteY7" fmla="*/ 1116198 h 1116198"/>
                  <a:gd name="connsiteX8" fmla="*/ 1374754 w 2078251"/>
                  <a:gd name="connsiteY8" fmla="*/ 1002687 h 1116198"/>
                  <a:gd name="connsiteX9" fmla="*/ 699989 w 2078251"/>
                  <a:gd name="connsiteY9" fmla="*/ 441434 h 1116198"/>
                  <a:gd name="connsiteX10" fmla="*/ 157656 w 2078251"/>
                  <a:gd name="connsiteY10" fmla="*/ 126124 h 1116198"/>
                  <a:gd name="connsiteX11" fmla="*/ 119818 w 2078251"/>
                  <a:gd name="connsiteY11" fmla="*/ 107205 h 1116198"/>
                  <a:gd name="connsiteX12" fmla="*/ 0 w 2078251"/>
                  <a:gd name="connsiteY12" fmla="*/ 107205 h 1116198"/>
                  <a:gd name="connsiteX0" fmla="*/ 296392 w 2047223"/>
                  <a:gd name="connsiteY0" fmla="*/ 0 h 1116198"/>
                  <a:gd name="connsiteX1" fmla="*/ 1992762 w 2047223"/>
                  <a:gd name="connsiteY1" fmla="*/ 94593 h 1116198"/>
                  <a:gd name="connsiteX2" fmla="*/ 1822494 w 2047223"/>
                  <a:gd name="connsiteY2" fmla="*/ 447740 h 1116198"/>
                  <a:gd name="connsiteX3" fmla="*/ 1790963 w 2047223"/>
                  <a:gd name="connsiteY3" fmla="*/ 523415 h 1116198"/>
                  <a:gd name="connsiteX4" fmla="*/ 1690064 w 2047223"/>
                  <a:gd name="connsiteY4" fmla="*/ 807194 h 1116198"/>
                  <a:gd name="connsiteX5" fmla="*/ 1683758 w 2047223"/>
                  <a:gd name="connsiteY5" fmla="*/ 838725 h 1116198"/>
                  <a:gd name="connsiteX6" fmla="*/ 1526103 w 2047223"/>
                  <a:gd name="connsiteY6" fmla="*/ 1090974 h 1116198"/>
                  <a:gd name="connsiteX7" fmla="*/ 1481959 w 2047223"/>
                  <a:gd name="connsiteY7" fmla="*/ 1116198 h 1116198"/>
                  <a:gd name="connsiteX8" fmla="*/ 1374754 w 2047223"/>
                  <a:gd name="connsiteY8" fmla="*/ 1002687 h 1116198"/>
                  <a:gd name="connsiteX9" fmla="*/ 699989 w 2047223"/>
                  <a:gd name="connsiteY9" fmla="*/ 441434 h 1116198"/>
                  <a:gd name="connsiteX10" fmla="*/ 157656 w 2047223"/>
                  <a:gd name="connsiteY10" fmla="*/ 126124 h 1116198"/>
                  <a:gd name="connsiteX11" fmla="*/ 119818 w 2047223"/>
                  <a:gd name="connsiteY11" fmla="*/ 107205 h 1116198"/>
                  <a:gd name="connsiteX12" fmla="*/ 0 w 2047223"/>
                  <a:gd name="connsiteY12" fmla="*/ 107205 h 1116198"/>
                  <a:gd name="connsiteX0" fmla="*/ 296392 w 2048583"/>
                  <a:gd name="connsiteY0" fmla="*/ 0 h 1116198"/>
                  <a:gd name="connsiteX1" fmla="*/ 1992762 w 2048583"/>
                  <a:gd name="connsiteY1" fmla="*/ 94593 h 1116198"/>
                  <a:gd name="connsiteX2" fmla="*/ 1822494 w 2048583"/>
                  <a:gd name="connsiteY2" fmla="*/ 447740 h 1116198"/>
                  <a:gd name="connsiteX3" fmla="*/ 1790963 w 2048583"/>
                  <a:gd name="connsiteY3" fmla="*/ 523415 h 1116198"/>
                  <a:gd name="connsiteX4" fmla="*/ 1690064 w 2048583"/>
                  <a:gd name="connsiteY4" fmla="*/ 807194 h 1116198"/>
                  <a:gd name="connsiteX5" fmla="*/ 1683758 w 2048583"/>
                  <a:gd name="connsiteY5" fmla="*/ 838725 h 1116198"/>
                  <a:gd name="connsiteX6" fmla="*/ 1526103 w 2048583"/>
                  <a:gd name="connsiteY6" fmla="*/ 1090974 h 1116198"/>
                  <a:gd name="connsiteX7" fmla="*/ 1481959 w 2048583"/>
                  <a:gd name="connsiteY7" fmla="*/ 1116198 h 1116198"/>
                  <a:gd name="connsiteX8" fmla="*/ 1374754 w 2048583"/>
                  <a:gd name="connsiteY8" fmla="*/ 1002687 h 1116198"/>
                  <a:gd name="connsiteX9" fmla="*/ 699989 w 2048583"/>
                  <a:gd name="connsiteY9" fmla="*/ 441434 h 1116198"/>
                  <a:gd name="connsiteX10" fmla="*/ 157656 w 2048583"/>
                  <a:gd name="connsiteY10" fmla="*/ 126124 h 1116198"/>
                  <a:gd name="connsiteX11" fmla="*/ 119818 w 2048583"/>
                  <a:gd name="connsiteY11" fmla="*/ 107205 h 1116198"/>
                  <a:gd name="connsiteX12" fmla="*/ 0 w 2048583"/>
                  <a:gd name="connsiteY12" fmla="*/ 107205 h 1116198"/>
                  <a:gd name="connsiteX0" fmla="*/ 264861 w 2080448"/>
                  <a:gd name="connsiteY0" fmla="*/ 0 h 1097279"/>
                  <a:gd name="connsiteX1" fmla="*/ 1992762 w 2080448"/>
                  <a:gd name="connsiteY1" fmla="*/ 75674 h 1097279"/>
                  <a:gd name="connsiteX2" fmla="*/ 1822494 w 2080448"/>
                  <a:gd name="connsiteY2" fmla="*/ 428821 h 1097279"/>
                  <a:gd name="connsiteX3" fmla="*/ 1790963 w 2080448"/>
                  <a:gd name="connsiteY3" fmla="*/ 504496 h 1097279"/>
                  <a:gd name="connsiteX4" fmla="*/ 1690064 w 2080448"/>
                  <a:gd name="connsiteY4" fmla="*/ 788275 h 1097279"/>
                  <a:gd name="connsiteX5" fmla="*/ 1683758 w 2080448"/>
                  <a:gd name="connsiteY5" fmla="*/ 819806 h 1097279"/>
                  <a:gd name="connsiteX6" fmla="*/ 1526103 w 2080448"/>
                  <a:gd name="connsiteY6" fmla="*/ 1072055 h 1097279"/>
                  <a:gd name="connsiteX7" fmla="*/ 1481959 w 2080448"/>
                  <a:gd name="connsiteY7" fmla="*/ 1097279 h 1097279"/>
                  <a:gd name="connsiteX8" fmla="*/ 1374754 w 2080448"/>
                  <a:gd name="connsiteY8" fmla="*/ 983768 h 1097279"/>
                  <a:gd name="connsiteX9" fmla="*/ 699989 w 2080448"/>
                  <a:gd name="connsiteY9" fmla="*/ 422515 h 1097279"/>
                  <a:gd name="connsiteX10" fmla="*/ 157656 w 2080448"/>
                  <a:gd name="connsiteY10" fmla="*/ 107205 h 1097279"/>
                  <a:gd name="connsiteX11" fmla="*/ 119818 w 2080448"/>
                  <a:gd name="connsiteY11" fmla="*/ 88286 h 1097279"/>
                  <a:gd name="connsiteX12" fmla="*/ 0 w 2080448"/>
                  <a:gd name="connsiteY12" fmla="*/ 88286 h 1097279"/>
                  <a:gd name="connsiteX0" fmla="*/ 264861 w 2080448"/>
                  <a:gd name="connsiteY0" fmla="*/ 9767 h 1107046"/>
                  <a:gd name="connsiteX1" fmla="*/ 1992762 w 2080448"/>
                  <a:gd name="connsiteY1" fmla="*/ 85441 h 1107046"/>
                  <a:gd name="connsiteX2" fmla="*/ 1822494 w 2080448"/>
                  <a:gd name="connsiteY2" fmla="*/ 438588 h 1107046"/>
                  <a:gd name="connsiteX3" fmla="*/ 1790963 w 2080448"/>
                  <a:gd name="connsiteY3" fmla="*/ 514263 h 1107046"/>
                  <a:gd name="connsiteX4" fmla="*/ 1690064 w 2080448"/>
                  <a:gd name="connsiteY4" fmla="*/ 798042 h 1107046"/>
                  <a:gd name="connsiteX5" fmla="*/ 1683758 w 2080448"/>
                  <a:gd name="connsiteY5" fmla="*/ 829573 h 1107046"/>
                  <a:gd name="connsiteX6" fmla="*/ 1526103 w 2080448"/>
                  <a:gd name="connsiteY6" fmla="*/ 1081822 h 1107046"/>
                  <a:gd name="connsiteX7" fmla="*/ 1481959 w 2080448"/>
                  <a:gd name="connsiteY7" fmla="*/ 1107046 h 1107046"/>
                  <a:gd name="connsiteX8" fmla="*/ 1374754 w 2080448"/>
                  <a:gd name="connsiteY8" fmla="*/ 993535 h 1107046"/>
                  <a:gd name="connsiteX9" fmla="*/ 699989 w 2080448"/>
                  <a:gd name="connsiteY9" fmla="*/ 432282 h 1107046"/>
                  <a:gd name="connsiteX10" fmla="*/ 157656 w 2080448"/>
                  <a:gd name="connsiteY10" fmla="*/ 116972 h 1107046"/>
                  <a:gd name="connsiteX11" fmla="*/ 119818 w 2080448"/>
                  <a:gd name="connsiteY11" fmla="*/ 98053 h 1107046"/>
                  <a:gd name="connsiteX12" fmla="*/ 0 w 2080448"/>
                  <a:gd name="connsiteY12" fmla="*/ 98053 h 1107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80448" h="1107046">
                    <a:moveTo>
                      <a:pt x="264861" y="9767"/>
                    </a:moveTo>
                    <a:cubicBezTo>
                      <a:pt x="1029226" y="-17561"/>
                      <a:pt x="1733157" y="13971"/>
                      <a:pt x="1992762" y="85441"/>
                    </a:cubicBezTo>
                    <a:cubicBezTo>
                      <a:pt x="2252367" y="156911"/>
                      <a:pt x="1856127" y="367118"/>
                      <a:pt x="1822494" y="438588"/>
                    </a:cubicBezTo>
                    <a:cubicBezTo>
                      <a:pt x="1788861" y="510058"/>
                      <a:pt x="1800410" y="488621"/>
                      <a:pt x="1790963" y="514263"/>
                    </a:cubicBezTo>
                    <a:cubicBezTo>
                      <a:pt x="1756256" y="608467"/>
                      <a:pt x="1722381" y="702991"/>
                      <a:pt x="1690064" y="798042"/>
                    </a:cubicBezTo>
                    <a:cubicBezTo>
                      <a:pt x="1686614" y="808190"/>
                      <a:pt x="1688740" y="820083"/>
                      <a:pt x="1683758" y="829573"/>
                    </a:cubicBezTo>
                    <a:cubicBezTo>
                      <a:pt x="1681024" y="834781"/>
                      <a:pt x="1594615" y="1030439"/>
                      <a:pt x="1526103" y="1081822"/>
                    </a:cubicBezTo>
                    <a:cubicBezTo>
                      <a:pt x="1512545" y="1091990"/>
                      <a:pt x="1496674" y="1098638"/>
                      <a:pt x="1481959" y="1107046"/>
                    </a:cubicBezTo>
                    <a:cubicBezTo>
                      <a:pt x="1446224" y="1069209"/>
                      <a:pt x="1412498" y="1029368"/>
                      <a:pt x="1374754" y="993535"/>
                    </a:cubicBezTo>
                    <a:cubicBezTo>
                      <a:pt x="1114441" y="746402"/>
                      <a:pt x="986349" y="611530"/>
                      <a:pt x="699989" y="432282"/>
                    </a:cubicBezTo>
                    <a:cubicBezTo>
                      <a:pt x="522740" y="321332"/>
                      <a:pt x="344690" y="210489"/>
                      <a:pt x="157656" y="116972"/>
                    </a:cubicBezTo>
                    <a:cubicBezTo>
                      <a:pt x="145043" y="110666"/>
                      <a:pt x="146094" y="101206"/>
                      <a:pt x="119818" y="98053"/>
                    </a:cubicBezTo>
                    <a:cubicBezTo>
                      <a:pt x="93542" y="94900"/>
                      <a:pt x="19517" y="105860"/>
                      <a:pt x="0" y="98053"/>
                    </a:cubicBezTo>
                  </a:path>
                </a:pathLst>
              </a:cu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3200"/>
              </a:p>
            </p:txBody>
          </p:sp>
          <p:sp>
            <p:nvSpPr>
              <p:cNvPr id="8" name="Freihandform 7"/>
              <p:cNvSpPr/>
              <p:nvPr/>
            </p:nvSpPr>
            <p:spPr>
              <a:xfrm>
                <a:off x="479271" y="2417761"/>
                <a:ext cx="3512581" cy="3520754"/>
              </a:xfrm>
              <a:custGeom>
                <a:avLst/>
                <a:gdLst>
                  <a:gd name="connsiteX0" fmla="*/ 1021606 w 3558511"/>
                  <a:gd name="connsiteY0" fmla="*/ 290086 h 3323371"/>
                  <a:gd name="connsiteX1" fmla="*/ 1021606 w 3558511"/>
                  <a:gd name="connsiteY1" fmla="*/ 290086 h 3323371"/>
                  <a:gd name="connsiteX2" fmla="*/ 1027912 w 3558511"/>
                  <a:gd name="connsiteY2" fmla="*/ 1027912 h 3323371"/>
                  <a:gd name="connsiteX3" fmla="*/ 1015300 w 3558511"/>
                  <a:gd name="connsiteY3" fmla="*/ 1128811 h 3323371"/>
                  <a:gd name="connsiteX4" fmla="*/ 882869 w 3558511"/>
                  <a:gd name="connsiteY4" fmla="*/ 1696370 h 3323371"/>
                  <a:gd name="connsiteX5" fmla="*/ 618009 w 3558511"/>
                  <a:gd name="connsiteY5" fmla="*/ 2345909 h 3323371"/>
                  <a:gd name="connsiteX6" fmla="*/ 554947 w 3558511"/>
                  <a:gd name="connsiteY6" fmla="*/ 2484646 h 3323371"/>
                  <a:gd name="connsiteX7" fmla="*/ 18919 w 3558511"/>
                  <a:gd name="connsiteY7" fmla="*/ 3241391 h 3323371"/>
                  <a:gd name="connsiteX8" fmla="*/ 0 w 3558511"/>
                  <a:gd name="connsiteY8" fmla="*/ 3254003 h 3323371"/>
                  <a:gd name="connsiteX9" fmla="*/ 176574 w 3558511"/>
                  <a:gd name="connsiteY9" fmla="*/ 3279228 h 3323371"/>
                  <a:gd name="connsiteX10" fmla="*/ 1040524 w 3558511"/>
                  <a:gd name="connsiteY10" fmla="*/ 3310759 h 3323371"/>
                  <a:gd name="connsiteX11" fmla="*/ 2011680 w 3558511"/>
                  <a:gd name="connsiteY11" fmla="*/ 3317065 h 3323371"/>
                  <a:gd name="connsiteX12" fmla="*/ 2787344 w 3558511"/>
                  <a:gd name="connsiteY12" fmla="*/ 3323371 h 3323371"/>
                  <a:gd name="connsiteX13" fmla="*/ 2837793 w 3558511"/>
                  <a:gd name="connsiteY13" fmla="*/ 3317065 h 3323371"/>
                  <a:gd name="connsiteX14" fmla="*/ 2869324 w 3558511"/>
                  <a:gd name="connsiteY14" fmla="*/ 3291840 h 3323371"/>
                  <a:gd name="connsiteX15" fmla="*/ 2976530 w 3558511"/>
                  <a:gd name="connsiteY15" fmla="*/ 3172022 h 3323371"/>
                  <a:gd name="connsiteX16" fmla="*/ 3247697 w 3558511"/>
                  <a:gd name="connsiteY16" fmla="*/ 2635995 h 3323371"/>
                  <a:gd name="connsiteX17" fmla="*/ 3392740 w 3558511"/>
                  <a:gd name="connsiteY17" fmla="*/ 2245010 h 3323371"/>
                  <a:gd name="connsiteX18" fmla="*/ 3499945 w 3558511"/>
                  <a:gd name="connsiteY18" fmla="*/ 1809882 h 3323371"/>
                  <a:gd name="connsiteX19" fmla="*/ 3531476 w 3558511"/>
                  <a:gd name="connsiteY19" fmla="*/ 245942 h 3323371"/>
                  <a:gd name="connsiteX20" fmla="*/ 3499945 w 3558511"/>
                  <a:gd name="connsiteY20" fmla="*/ 94593 h 3323371"/>
                  <a:gd name="connsiteX21" fmla="*/ 3481027 w 3558511"/>
                  <a:gd name="connsiteY21" fmla="*/ 37838 h 3323371"/>
                  <a:gd name="connsiteX22" fmla="*/ 3436883 w 3558511"/>
                  <a:gd name="connsiteY22" fmla="*/ 12613 h 3323371"/>
                  <a:gd name="connsiteX23" fmla="*/ 3354902 w 3558511"/>
                  <a:gd name="connsiteY23" fmla="*/ 0 h 3323371"/>
                  <a:gd name="connsiteX24" fmla="*/ 3235084 w 3558511"/>
                  <a:gd name="connsiteY24" fmla="*/ 6307 h 3323371"/>
                  <a:gd name="connsiteX25" fmla="*/ 3165716 w 3558511"/>
                  <a:gd name="connsiteY25" fmla="*/ 18919 h 3323371"/>
                  <a:gd name="connsiteX26" fmla="*/ 2995449 w 3558511"/>
                  <a:gd name="connsiteY26" fmla="*/ 138737 h 3323371"/>
                  <a:gd name="connsiteX27" fmla="*/ 2888243 w 3558511"/>
                  <a:gd name="connsiteY27" fmla="*/ 245942 h 3323371"/>
                  <a:gd name="connsiteX28" fmla="*/ 2806262 w 3558511"/>
                  <a:gd name="connsiteY28" fmla="*/ 346842 h 3323371"/>
                  <a:gd name="connsiteX29" fmla="*/ 2812569 w 3558511"/>
                  <a:gd name="connsiteY29" fmla="*/ 309004 h 3323371"/>
                  <a:gd name="connsiteX30" fmla="*/ 2799956 w 3558511"/>
                  <a:gd name="connsiteY30" fmla="*/ 163962 h 3323371"/>
                  <a:gd name="connsiteX31" fmla="*/ 2793650 w 3558511"/>
                  <a:gd name="connsiteY31" fmla="*/ 145043 h 3323371"/>
                  <a:gd name="connsiteX32" fmla="*/ 2768425 w 3558511"/>
                  <a:gd name="connsiteY32" fmla="*/ 107206 h 3323371"/>
                  <a:gd name="connsiteX33" fmla="*/ 2717976 w 3558511"/>
                  <a:gd name="connsiteY33" fmla="*/ 56756 h 3323371"/>
                  <a:gd name="connsiteX34" fmla="*/ 2572933 w 3558511"/>
                  <a:gd name="connsiteY34" fmla="*/ 18919 h 3323371"/>
                  <a:gd name="connsiteX35" fmla="*/ 983769 w 3558511"/>
                  <a:gd name="connsiteY35" fmla="*/ 31531 h 3323371"/>
                  <a:gd name="connsiteX36" fmla="*/ 939625 w 3558511"/>
                  <a:gd name="connsiteY36" fmla="*/ 69369 h 3323371"/>
                  <a:gd name="connsiteX37" fmla="*/ 945931 w 3558511"/>
                  <a:gd name="connsiteY37" fmla="*/ 88287 h 3323371"/>
                  <a:gd name="connsiteX38" fmla="*/ 958544 w 3558511"/>
                  <a:gd name="connsiteY38" fmla="*/ 119818 h 3323371"/>
                  <a:gd name="connsiteX39" fmla="*/ 983769 w 3558511"/>
                  <a:gd name="connsiteY39" fmla="*/ 208105 h 3323371"/>
                  <a:gd name="connsiteX40" fmla="*/ 1021606 w 3558511"/>
                  <a:gd name="connsiteY40" fmla="*/ 290086 h 3323371"/>
                  <a:gd name="connsiteX0" fmla="*/ 983769 w 3558511"/>
                  <a:gd name="connsiteY0" fmla="*/ 208105 h 3323371"/>
                  <a:gd name="connsiteX1" fmla="*/ 1021606 w 3558511"/>
                  <a:gd name="connsiteY1" fmla="*/ 290086 h 3323371"/>
                  <a:gd name="connsiteX2" fmla="*/ 1027912 w 3558511"/>
                  <a:gd name="connsiteY2" fmla="*/ 1027912 h 3323371"/>
                  <a:gd name="connsiteX3" fmla="*/ 1015300 w 3558511"/>
                  <a:gd name="connsiteY3" fmla="*/ 1128811 h 3323371"/>
                  <a:gd name="connsiteX4" fmla="*/ 882869 w 3558511"/>
                  <a:gd name="connsiteY4" fmla="*/ 1696370 h 3323371"/>
                  <a:gd name="connsiteX5" fmla="*/ 618009 w 3558511"/>
                  <a:gd name="connsiteY5" fmla="*/ 2345909 h 3323371"/>
                  <a:gd name="connsiteX6" fmla="*/ 554947 w 3558511"/>
                  <a:gd name="connsiteY6" fmla="*/ 2484646 h 3323371"/>
                  <a:gd name="connsiteX7" fmla="*/ 18919 w 3558511"/>
                  <a:gd name="connsiteY7" fmla="*/ 3241391 h 3323371"/>
                  <a:gd name="connsiteX8" fmla="*/ 0 w 3558511"/>
                  <a:gd name="connsiteY8" fmla="*/ 3254003 h 3323371"/>
                  <a:gd name="connsiteX9" fmla="*/ 176574 w 3558511"/>
                  <a:gd name="connsiteY9" fmla="*/ 3279228 h 3323371"/>
                  <a:gd name="connsiteX10" fmla="*/ 1040524 w 3558511"/>
                  <a:gd name="connsiteY10" fmla="*/ 3310759 h 3323371"/>
                  <a:gd name="connsiteX11" fmla="*/ 2011680 w 3558511"/>
                  <a:gd name="connsiteY11" fmla="*/ 3317065 h 3323371"/>
                  <a:gd name="connsiteX12" fmla="*/ 2787344 w 3558511"/>
                  <a:gd name="connsiteY12" fmla="*/ 3323371 h 3323371"/>
                  <a:gd name="connsiteX13" fmla="*/ 2837793 w 3558511"/>
                  <a:gd name="connsiteY13" fmla="*/ 3317065 h 3323371"/>
                  <a:gd name="connsiteX14" fmla="*/ 2869324 w 3558511"/>
                  <a:gd name="connsiteY14" fmla="*/ 3291840 h 3323371"/>
                  <a:gd name="connsiteX15" fmla="*/ 2976530 w 3558511"/>
                  <a:gd name="connsiteY15" fmla="*/ 3172022 h 3323371"/>
                  <a:gd name="connsiteX16" fmla="*/ 3247697 w 3558511"/>
                  <a:gd name="connsiteY16" fmla="*/ 2635995 h 3323371"/>
                  <a:gd name="connsiteX17" fmla="*/ 3392740 w 3558511"/>
                  <a:gd name="connsiteY17" fmla="*/ 2245010 h 3323371"/>
                  <a:gd name="connsiteX18" fmla="*/ 3499945 w 3558511"/>
                  <a:gd name="connsiteY18" fmla="*/ 1809882 h 3323371"/>
                  <a:gd name="connsiteX19" fmla="*/ 3531476 w 3558511"/>
                  <a:gd name="connsiteY19" fmla="*/ 245942 h 3323371"/>
                  <a:gd name="connsiteX20" fmla="*/ 3499945 w 3558511"/>
                  <a:gd name="connsiteY20" fmla="*/ 94593 h 3323371"/>
                  <a:gd name="connsiteX21" fmla="*/ 3481027 w 3558511"/>
                  <a:gd name="connsiteY21" fmla="*/ 37838 h 3323371"/>
                  <a:gd name="connsiteX22" fmla="*/ 3436883 w 3558511"/>
                  <a:gd name="connsiteY22" fmla="*/ 12613 h 3323371"/>
                  <a:gd name="connsiteX23" fmla="*/ 3354902 w 3558511"/>
                  <a:gd name="connsiteY23" fmla="*/ 0 h 3323371"/>
                  <a:gd name="connsiteX24" fmla="*/ 3235084 w 3558511"/>
                  <a:gd name="connsiteY24" fmla="*/ 6307 h 3323371"/>
                  <a:gd name="connsiteX25" fmla="*/ 3165716 w 3558511"/>
                  <a:gd name="connsiteY25" fmla="*/ 18919 h 3323371"/>
                  <a:gd name="connsiteX26" fmla="*/ 2995449 w 3558511"/>
                  <a:gd name="connsiteY26" fmla="*/ 138737 h 3323371"/>
                  <a:gd name="connsiteX27" fmla="*/ 2888243 w 3558511"/>
                  <a:gd name="connsiteY27" fmla="*/ 245942 h 3323371"/>
                  <a:gd name="connsiteX28" fmla="*/ 2806262 w 3558511"/>
                  <a:gd name="connsiteY28" fmla="*/ 346842 h 3323371"/>
                  <a:gd name="connsiteX29" fmla="*/ 2812569 w 3558511"/>
                  <a:gd name="connsiteY29" fmla="*/ 309004 h 3323371"/>
                  <a:gd name="connsiteX30" fmla="*/ 2799956 w 3558511"/>
                  <a:gd name="connsiteY30" fmla="*/ 163962 h 3323371"/>
                  <a:gd name="connsiteX31" fmla="*/ 2793650 w 3558511"/>
                  <a:gd name="connsiteY31" fmla="*/ 145043 h 3323371"/>
                  <a:gd name="connsiteX32" fmla="*/ 2768425 w 3558511"/>
                  <a:gd name="connsiteY32" fmla="*/ 107206 h 3323371"/>
                  <a:gd name="connsiteX33" fmla="*/ 2717976 w 3558511"/>
                  <a:gd name="connsiteY33" fmla="*/ 56756 h 3323371"/>
                  <a:gd name="connsiteX34" fmla="*/ 2572933 w 3558511"/>
                  <a:gd name="connsiteY34" fmla="*/ 18919 h 3323371"/>
                  <a:gd name="connsiteX35" fmla="*/ 983769 w 3558511"/>
                  <a:gd name="connsiteY35" fmla="*/ 31531 h 3323371"/>
                  <a:gd name="connsiteX36" fmla="*/ 939625 w 3558511"/>
                  <a:gd name="connsiteY36" fmla="*/ 69369 h 3323371"/>
                  <a:gd name="connsiteX37" fmla="*/ 945931 w 3558511"/>
                  <a:gd name="connsiteY37" fmla="*/ 88287 h 3323371"/>
                  <a:gd name="connsiteX38" fmla="*/ 958544 w 3558511"/>
                  <a:gd name="connsiteY38" fmla="*/ 119818 h 3323371"/>
                  <a:gd name="connsiteX39" fmla="*/ 983769 w 3558511"/>
                  <a:gd name="connsiteY39" fmla="*/ 208105 h 3323371"/>
                  <a:gd name="connsiteX0" fmla="*/ 983769 w 3558511"/>
                  <a:gd name="connsiteY0" fmla="*/ 208105 h 3323371"/>
                  <a:gd name="connsiteX1" fmla="*/ 1027912 w 3558511"/>
                  <a:gd name="connsiteY1" fmla="*/ 1027912 h 3323371"/>
                  <a:gd name="connsiteX2" fmla="*/ 1015300 w 3558511"/>
                  <a:gd name="connsiteY2" fmla="*/ 1128811 h 3323371"/>
                  <a:gd name="connsiteX3" fmla="*/ 882869 w 3558511"/>
                  <a:gd name="connsiteY3" fmla="*/ 1696370 h 3323371"/>
                  <a:gd name="connsiteX4" fmla="*/ 618009 w 3558511"/>
                  <a:gd name="connsiteY4" fmla="*/ 2345909 h 3323371"/>
                  <a:gd name="connsiteX5" fmla="*/ 554947 w 3558511"/>
                  <a:gd name="connsiteY5" fmla="*/ 2484646 h 3323371"/>
                  <a:gd name="connsiteX6" fmla="*/ 18919 w 3558511"/>
                  <a:gd name="connsiteY6" fmla="*/ 3241391 h 3323371"/>
                  <a:gd name="connsiteX7" fmla="*/ 0 w 3558511"/>
                  <a:gd name="connsiteY7" fmla="*/ 3254003 h 3323371"/>
                  <a:gd name="connsiteX8" fmla="*/ 176574 w 3558511"/>
                  <a:gd name="connsiteY8" fmla="*/ 3279228 h 3323371"/>
                  <a:gd name="connsiteX9" fmla="*/ 1040524 w 3558511"/>
                  <a:gd name="connsiteY9" fmla="*/ 3310759 h 3323371"/>
                  <a:gd name="connsiteX10" fmla="*/ 2011680 w 3558511"/>
                  <a:gd name="connsiteY10" fmla="*/ 3317065 h 3323371"/>
                  <a:gd name="connsiteX11" fmla="*/ 2787344 w 3558511"/>
                  <a:gd name="connsiteY11" fmla="*/ 3323371 h 3323371"/>
                  <a:gd name="connsiteX12" fmla="*/ 2837793 w 3558511"/>
                  <a:gd name="connsiteY12" fmla="*/ 3317065 h 3323371"/>
                  <a:gd name="connsiteX13" fmla="*/ 2869324 w 3558511"/>
                  <a:gd name="connsiteY13" fmla="*/ 3291840 h 3323371"/>
                  <a:gd name="connsiteX14" fmla="*/ 2976530 w 3558511"/>
                  <a:gd name="connsiteY14" fmla="*/ 3172022 h 3323371"/>
                  <a:gd name="connsiteX15" fmla="*/ 3247697 w 3558511"/>
                  <a:gd name="connsiteY15" fmla="*/ 2635995 h 3323371"/>
                  <a:gd name="connsiteX16" fmla="*/ 3392740 w 3558511"/>
                  <a:gd name="connsiteY16" fmla="*/ 2245010 h 3323371"/>
                  <a:gd name="connsiteX17" fmla="*/ 3499945 w 3558511"/>
                  <a:gd name="connsiteY17" fmla="*/ 1809882 h 3323371"/>
                  <a:gd name="connsiteX18" fmla="*/ 3531476 w 3558511"/>
                  <a:gd name="connsiteY18" fmla="*/ 245942 h 3323371"/>
                  <a:gd name="connsiteX19" fmla="*/ 3499945 w 3558511"/>
                  <a:gd name="connsiteY19" fmla="*/ 94593 h 3323371"/>
                  <a:gd name="connsiteX20" fmla="*/ 3481027 w 3558511"/>
                  <a:gd name="connsiteY20" fmla="*/ 37838 h 3323371"/>
                  <a:gd name="connsiteX21" fmla="*/ 3436883 w 3558511"/>
                  <a:gd name="connsiteY21" fmla="*/ 12613 h 3323371"/>
                  <a:gd name="connsiteX22" fmla="*/ 3354902 w 3558511"/>
                  <a:gd name="connsiteY22" fmla="*/ 0 h 3323371"/>
                  <a:gd name="connsiteX23" fmla="*/ 3235084 w 3558511"/>
                  <a:gd name="connsiteY23" fmla="*/ 6307 h 3323371"/>
                  <a:gd name="connsiteX24" fmla="*/ 3165716 w 3558511"/>
                  <a:gd name="connsiteY24" fmla="*/ 18919 h 3323371"/>
                  <a:gd name="connsiteX25" fmla="*/ 2995449 w 3558511"/>
                  <a:gd name="connsiteY25" fmla="*/ 138737 h 3323371"/>
                  <a:gd name="connsiteX26" fmla="*/ 2888243 w 3558511"/>
                  <a:gd name="connsiteY26" fmla="*/ 245942 h 3323371"/>
                  <a:gd name="connsiteX27" fmla="*/ 2806262 w 3558511"/>
                  <a:gd name="connsiteY27" fmla="*/ 346842 h 3323371"/>
                  <a:gd name="connsiteX28" fmla="*/ 2812569 w 3558511"/>
                  <a:gd name="connsiteY28" fmla="*/ 309004 h 3323371"/>
                  <a:gd name="connsiteX29" fmla="*/ 2799956 w 3558511"/>
                  <a:gd name="connsiteY29" fmla="*/ 163962 h 3323371"/>
                  <a:gd name="connsiteX30" fmla="*/ 2793650 w 3558511"/>
                  <a:gd name="connsiteY30" fmla="*/ 145043 h 3323371"/>
                  <a:gd name="connsiteX31" fmla="*/ 2768425 w 3558511"/>
                  <a:gd name="connsiteY31" fmla="*/ 107206 h 3323371"/>
                  <a:gd name="connsiteX32" fmla="*/ 2717976 w 3558511"/>
                  <a:gd name="connsiteY32" fmla="*/ 56756 h 3323371"/>
                  <a:gd name="connsiteX33" fmla="*/ 2572933 w 3558511"/>
                  <a:gd name="connsiteY33" fmla="*/ 18919 h 3323371"/>
                  <a:gd name="connsiteX34" fmla="*/ 983769 w 3558511"/>
                  <a:gd name="connsiteY34" fmla="*/ 31531 h 3323371"/>
                  <a:gd name="connsiteX35" fmla="*/ 939625 w 3558511"/>
                  <a:gd name="connsiteY35" fmla="*/ 69369 h 3323371"/>
                  <a:gd name="connsiteX36" fmla="*/ 945931 w 3558511"/>
                  <a:gd name="connsiteY36" fmla="*/ 88287 h 3323371"/>
                  <a:gd name="connsiteX37" fmla="*/ 958544 w 3558511"/>
                  <a:gd name="connsiteY37" fmla="*/ 119818 h 3323371"/>
                  <a:gd name="connsiteX38" fmla="*/ 983769 w 3558511"/>
                  <a:gd name="connsiteY38" fmla="*/ 208105 h 3323371"/>
                  <a:gd name="connsiteX0" fmla="*/ 958544 w 3558511"/>
                  <a:gd name="connsiteY0" fmla="*/ 119818 h 3323371"/>
                  <a:gd name="connsiteX1" fmla="*/ 1027912 w 3558511"/>
                  <a:gd name="connsiteY1" fmla="*/ 1027912 h 3323371"/>
                  <a:gd name="connsiteX2" fmla="*/ 1015300 w 3558511"/>
                  <a:gd name="connsiteY2" fmla="*/ 1128811 h 3323371"/>
                  <a:gd name="connsiteX3" fmla="*/ 882869 w 3558511"/>
                  <a:gd name="connsiteY3" fmla="*/ 1696370 h 3323371"/>
                  <a:gd name="connsiteX4" fmla="*/ 618009 w 3558511"/>
                  <a:gd name="connsiteY4" fmla="*/ 2345909 h 3323371"/>
                  <a:gd name="connsiteX5" fmla="*/ 554947 w 3558511"/>
                  <a:gd name="connsiteY5" fmla="*/ 2484646 h 3323371"/>
                  <a:gd name="connsiteX6" fmla="*/ 18919 w 3558511"/>
                  <a:gd name="connsiteY6" fmla="*/ 3241391 h 3323371"/>
                  <a:gd name="connsiteX7" fmla="*/ 0 w 3558511"/>
                  <a:gd name="connsiteY7" fmla="*/ 3254003 h 3323371"/>
                  <a:gd name="connsiteX8" fmla="*/ 176574 w 3558511"/>
                  <a:gd name="connsiteY8" fmla="*/ 3279228 h 3323371"/>
                  <a:gd name="connsiteX9" fmla="*/ 1040524 w 3558511"/>
                  <a:gd name="connsiteY9" fmla="*/ 3310759 h 3323371"/>
                  <a:gd name="connsiteX10" fmla="*/ 2011680 w 3558511"/>
                  <a:gd name="connsiteY10" fmla="*/ 3317065 h 3323371"/>
                  <a:gd name="connsiteX11" fmla="*/ 2787344 w 3558511"/>
                  <a:gd name="connsiteY11" fmla="*/ 3323371 h 3323371"/>
                  <a:gd name="connsiteX12" fmla="*/ 2837793 w 3558511"/>
                  <a:gd name="connsiteY12" fmla="*/ 3317065 h 3323371"/>
                  <a:gd name="connsiteX13" fmla="*/ 2869324 w 3558511"/>
                  <a:gd name="connsiteY13" fmla="*/ 3291840 h 3323371"/>
                  <a:gd name="connsiteX14" fmla="*/ 2976530 w 3558511"/>
                  <a:gd name="connsiteY14" fmla="*/ 3172022 h 3323371"/>
                  <a:gd name="connsiteX15" fmla="*/ 3247697 w 3558511"/>
                  <a:gd name="connsiteY15" fmla="*/ 2635995 h 3323371"/>
                  <a:gd name="connsiteX16" fmla="*/ 3392740 w 3558511"/>
                  <a:gd name="connsiteY16" fmla="*/ 2245010 h 3323371"/>
                  <a:gd name="connsiteX17" fmla="*/ 3499945 w 3558511"/>
                  <a:gd name="connsiteY17" fmla="*/ 1809882 h 3323371"/>
                  <a:gd name="connsiteX18" fmla="*/ 3531476 w 3558511"/>
                  <a:gd name="connsiteY18" fmla="*/ 245942 h 3323371"/>
                  <a:gd name="connsiteX19" fmla="*/ 3499945 w 3558511"/>
                  <a:gd name="connsiteY19" fmla="*/ 94593 h 3323371"/>
                  <a:gd name="connsiteX20" fmla="*/ 3481027 w 3558511"/>
                  <a:gd name="connsiteY20" fmla="*/ 37838 h 3323371"/>
                  <a:gd name="connsiteX21" fmla="*/ 3436883 w 3558511"/>
                  <a:gd name="connsiteY21" fmla="*/ 12613 h 3323371"/>
                  <a:gd name="connsiteX22" fmla="*/ 3354902 w 3558511"/>
                  <a:gd name="connsiteY22" fmla="*/ 0 h 3323371"/>
                  <a:gd name="connsiteX23" fmla="*/ 3235084 w 3558511"/>
                  <a:gd name="connsiteY23" fmla="*/ 6307 h 3323371"/>
                  <a:gd name="connsiteX24" fmla="*/ 3165716 w 3558511"/>
                  <a:gd name="connsiteY24" fmla="*/ 18919 h 3323371"/>
                  <a:gd name="connsiteX25" fmla="*/ 2995449 w 3558511"/>
                  <a:gd name="connsiteY25" fmla="*/ 138737 h 3323371"/>
                  <a:gd name="connsiteX26" fmla="*/ 2888243 w 3558511"/>
                  <a:gd name="connsiteY26" fmla="*/ 245942 h 3323371"/>
                  <a:gd name="connsiteX27" fmla="*/ 2806262 w 3558511"/>
                  <a:gd name="connsiteY27" fmla="*/ 346842 h 3323371"/>
                  <a:gd name="connsiteX28" fmla="*/ 2812569 w 3558511"/>
                  <a:gd name="connsiteY28" fmla="*/ 309004 h 3323371"/>
                  <a:gd name="connsiteX29" fmla="*/ 2799956 w 3558511"/>
                  <a:gd name="connsiteY29" fmla="*/ 163962 h 3323371"/>
                  <a:gd name="connsiteX30" fmla="*/ 2793650 w 3558511"/>
                  <a:gd name="connsiteY30" fmla="*/ 145043 h 3323371"/>
                  <a:gd name="connsiteX31" fmla="*/ 2768425 w 3558511"/>
                  <a:gd name="connsiteY31" fmla="*/ 107206 h 3323371"/>
                  <a:gd name="connsiteX32" fmla="*/ 2717976 w 3558511"/>
                  <a:gd name="connsiteY32" fmla="*/ 56756 h 3323371"/>
                  <a:gd name="connsiteX33" fmla="*/ 2572933 w 3558511"/>
                  <a:gd name="connsiteY33" fmla="*/ 18919 h 3323371"/>
                  <a:gd name="connsiteX34" fmla="*/ 983769 w 3558511"/>
                  <a:gd name="connsiteY34" fmla="*/ 31531 h 3323371"/>
                  <a:gd name="connsiteX35" fmla="*/ 939625 w 3558511"/>
                  <a:gd name="connsiteY35" fmla="*/ 69369 h 3323371"/>
                  <a:gd name="connsiteX36" fmla="*/ 945931 w 3558511"/>
                  <a:gd name="connsiteY36" fmla="*/ 88287 h 3323371"/>
                  <a:gd name="connsiteX37" fmla="*/ 958544 w 3558511"/>
                  <a:gd name="connsiteY37" fmla="*/ 119818 h 3323371"/>
                  <a:gd name="connsiteX0" fmla="*/ 958544 w 3558511"/>
                  <a:gd name="connsiteY0" fmla="*/ 119818 h 3323371"/>
                  <a:gd name="connsiteX1" fmla="*/ 1015300 w 3558511"/>
                  <a:gd name="connsiteY1" fmla="*/ 1128811 h 3323371"/>
                  <a:gd name="connsiteX2" fmla="*/ 882869 w 3558511"/>
                  <a:gd name="connsiteY2" fmla="*/ 1696370 h 3323371"/>
                  <a:gd name="connsiteX3" fmla="*/ 618009 w 3558511"/>
                  <a:gd name="connsiteY3" fmla="*/ 2345909 h 3323371"/>
                  <a:gd name="connsiteX4" fmla="*/ 554947 w 3558511"/>
                  <a:gd name="connsiteY4" fmla="*/ 2484646 h 3323371"/>
                  <a:gd name="connsiteX5" fmla="*/ 18919 w 3558511"/>
                  <a:gd name="connsiteY5" fmla="*/ 3241391 h 3323371"/>
                  <a:gd name="connsiteX6" fmla="*/ 0 w 3558511"/>
                  <a:gd name="connsiteY6" fmla="*/ 3254003 h 3323371"/>
                  <a:gd name="connsiteX7" fmla="*/ 176574 w 3558511"/>
                  <a:gd name="connsiteY7" fmla="*/ 3279228 h 3323371"/>
                  <a:gd name="connsiteX8" fmla="*/ 1040524 w 3558511"/>
                  <a:gd name="connsiteY8" fmla="*/ 3310759 h 3323371"/>
                  <a:gd name="connsiteX9" fmla="*/ 2011680 w 3558511"/>
                  <a:gd name="connsiteY9" fmla="*/ 3317065 h 3323371"/>
                  <a:gd name="connsiteX10" fmla="*/ 2787344 w 3558511"/>
                  <a:gd name="connsiteY10" fmla="*/ 3323371 h 3323371"/>
                  <a:gd name="connsiteX11" fmla="*/ 2837793 w 3558511"/>
                  <a:gd name="connsiteY11" fmla="*/ 3317065 h 3323371"/>
                  <a:gd name="connsiteX12" fmla="*/ 2869324 w 3558511"/>
                  <a:gd name="connsiteY12" fmla="*/ 3291840 h 3323371"/>
                  <a:gd name="connsiteX13" fmla="*/ 2976530 w 3558511"/>
                  <a:gd name="connsiteY13" fmla="*/ 3172022 h 3323371"/>
                  <a:gd name="connsiteX14" fmla="*/ 3247697 w 3558511"/>
                  <a:gd name="connsiteY14" fmla="*/ 2635995 h 3323371"/>
                  <a:gd name="connsiteX15" fmla="*/ 3392740 w 3558511"/>
                  <a:gd name="connsiteY15" fmla="*/ 2245010 h 3323371"/>
                  <a:gd name="connsiteX16" fmla="*/ 3499945 w 3558511"/>
                  <a:gd name="connsiteY16" fmla="*/ 1809882 h 3323371"/>
                  <a:gd name="connsiteX17" fmla="*/ 3531476 w 3558511"/>
                  <a:gd name="connsiteY17" fmla="*/ 245942 h 3323371"/>
                  <a:gd name="connsiteX18" fmla="*/ 3499945 w 3558511"/>
                  <a:gd name="connsiteY18" fmla="*/ 94593 h 3323371"/>
                  <a:gd name="connsiteX19" fmla="*/ 3481027 w 3558511"/>
                  <a:gd name="connsiteY19" fmla="*/ 37838 h 3323371"/>
                  <a:gd name="connsiteX20" fmla="*/ 3436883 w 3558511"/>
                  <a:gd name="connsiteY20" fmla="*/ 12613 h 3323371"/>
                  <a:gd name="connsiteX21" fmla="*/ 3354902 w 3558511"/>
                  <a:gd name="connsiteY21" fmla="*/ 0 h 3323371"/>
                  <a:gd name="connsiteX22" fmla="*/ 3235084 w 3558511"/>
                  <a:gd name="connsiteY22" fmla="*/ 6307 h 3323371"/>
                  <a:gd name="connsiteX23" fmla="*/ 3165716 w 3558511"/>
                  <a:gd name="connsiteY23" fmla="*/ 18919 h 3323371"/>
                  <a:gd name="connsiteX24" fmla="*/ 2995449 w 3558511"/>
                  <a:gd name="connsiteY24" fmla="*/ 138737 h 3323371"/>
                  <a:gd name="connsiteX25" fmla="*/ 2888243 w 3558511"/>
                  <a:gd name="connsiteY25" fmla="*/ 245942 h 3323371"/>
                  <a:gd name="connsiteX26" fmla="*/ 2806262 w 3558511"/>
                  <a:gd name="connsiteY26" fmla="*/ 346842 h 3323371"/>
                  <a:gd name="connsiteX27" fmla="*/ 2812569 w 3558511"/>
                  <a:gd name="connsiteY27" fmla="*/ 309004 h 3323371"/>
                  <a:gd name="connsiteX28" fmla="*/ 2799956 w 3558511"/>
                  <a:gd name="connsiteY28" fmla="*/ 163962 h 3323371"/>
                  <a:gd name="connsiteX29" fmla="*/ 2793650 w 3558511"/>
                  <a:gd name="connsiteY29" fmla="*/ 145043 h 3323371"/>
                  <a:gd name="connsiteX30" fmla="*/ 2768425 w 3558511"/>
                  <a:gd name="connsiteY30" fmla="*/ 107206 h 3323371"/>
                  <a:gd name="connsiteX31" fmla="*/ 2717976 w 3558511"/>
                  <a:gd name="connsiteY31" fmla="*/ 56756 h 3323371"/>
                  <a:gd name="connsiteX32" fmla="*/ 2572933 w 3558511"/>
                  <a:gd name="connsiteY32" fmla="*/ 18919 h 3323371"/>
                  <a:gd name="connsiteX33" fmla="*/ 983769 w 3558511"/>
                  <a:gd name="connsiteY33" fmla="*/ 31531 h 3323371"/>
                  <a:gd name="connsiteX34" fmla="*/ 939625 w 3558511"/>
                  <a:gd name="connsiteY34" fmla="*/ 69369 h 3323371"/>
                  <a:gd name="connsiteX35" fmla="*/ 945931 w 3558511"/>
                  <a:gd name="connsiteY35" fmla="*/ 88287 h 3323371"/>
                  <a:gd name="connsiteX36" fmla="*/ 958544 w 3558511"/>
                  <a:gd name="connsiteY36" fmla="*/ 119818 h 3323371"/>
                  <a:gd name="connsiteX0" fmla="*/ 958544 w 3558511"/>
                  <a:gd name="connsiteY0" fmla="*/ 119818 h 3323371"/>
                  <a:gd name="connsiteX1" fmla="*/ 882869 w 3558511"/>
                  <a:gd name="connsiteY1" fmla="*/ 1696370 h 3323371"/>
                  <a:gd name="connsiteX2" fmla="*/ 618009 w 3558511"/>
                  <a:gd name="connsiteY2" fmla="*/ 2345909 h 3323371"/>
                  <a:gd name="connsiteX3" fmla="*/ 554947 w 3558511"/>
                  <a:gd name="connsiteY3" fmla="*/ 2484646 h 3323371"/>
                  <a:gd name="connsiteX4" fmla="*/ 18919 w 3558511"/>
                  <a:gd name="connsiteY4" fmla="*/ 3241391 h 3323371"/>
                  <a:gd name="connsiteX5" fmla="*/ 0 w 3558511"/>
                  <a:gd name="connsiteY5" fmla="*/ 3254003 h 3323371"/>
                  <a:gd name="connsiteX6" fmla="*/ 176574 w 3558511"/>
                  <a:gd name="connsiteY6" fmla="*/ 3279228 h 3323371"/>
                  <a:gd name="connsiteX7" fmla="*/ 1040524 w 3558511"/>
                  <a:gd name="connsiteY7" fmla="*/ 3310759 h 3323371"/>
                  <a:gd name="connsiteX8" fmla="*/ 2011680 w 3558511"/>
                  <a:gd name="connsiteY8" fmla="*/ 3317065 h 3323371"/>
                  <a:gd name="connsiteX9" fmla="*/ 2787344 w 3558511"/>
                  <a:gd name="connsiteY9" fmla="*/ 3323371 h 3323371"/>
                  <a:gd name="connsiteX10" fmla="*/ 2837793 w 3558511"/>
                  <a:gd name="connsiteY10" fmla="*/ 3317065 h 3323371"/>
                  <a:gd name="connsiteX11" fmla="*/ 2869324 w 3558511"/>
                  <a:gd name="connsiteY11" fmla="*/ 3291840 h 3323371"/>
                  <a:gd name="connsiteX12" fmla="*/ 2976530 w 3558511"/>
                  <a:gd name="connsiteY12" fmla="*/ 3172022 h 3323371"/>
                  <a:gd name="connsiteX13" fmla="*/ 3247697 w 3558511"/>
                  <a:gd name="connsiteY13" fmla="*/ 2635995 h 3323371"/>
                  <a:gd name="connsiteX14" fmla="*/ 3392740 w 3558511"/>
                  <a:gd name="connsiteY14" fmla="*/ 2245010 h 3323371"/>
                  <a:gd name="connsiteX15" fmla="*/ 3499945 w 3558511"/>
                  <a:gd name="connsiteY15" fmla="*/ 1809882 h 3323371"/>
                  <a:gd name="connsiteX16" fmla="*/ 3531476 w 3558511"/>
                  <a:gd name="connsiteY16" fmla="*/ 245942 h 3323371"/>
                  <a:gd name="connsiteX17" fmla="*/ 3499945 w 3558511"/>
                  <a:gd name="connsiteY17" fmla="*/ 94593 h 3323371"/>
                  <a:gd name="connsiteX18" fmla="*/ 3481027 w 3558511"/>
                  <a:gd name="connsiteY18" fmla="*/ 37838 h 3323371"/>
                  <a:gd name="connsiteX19" fmla="*/ 3436883 w 3558511"/>
                  <a:gd name="connsiteY19" fmla="*/ 12613 h 3323371"/>
                  <a:gd name="connsiteX20" fmla="*/ 3354902 w 3558511"/>
                  <a:gd name="connsiteY20" fmla="*/ 0 h 3323371"/>
                  <a:gd name="connsiteX21" fmla="*/ 3235084 w 3558511"/>
                  <a:gd name="connsiteY21" fmla="*/ 6307 h 3323371"/>
                  <a:gd name="connsiteX22" fmla="*/ 3165716 w 3558511"/>
                  <a:gd name="connsiteY22" fmla="*/ 18919 h 3323371"/>
                  <a:gd name="connsiteX23" fmla="*/ 2995449 w 3558511"/>
                  <a:gd name="connsiteY23" fmla="*/ 138737 h 3323371"/>
                  <a:gd name="connsiteX24" fmla="*/ 2888243 w 3558511"/>
                  <a:gd name="connsiteY24" fmla="*/ 245942 h 3323371"/>
                  <a:gd name="connsiteX25" fmla="*/ 2806262 w 3558511"/>
                  <a:gd name="connsiteY25" fmla="*/ 346842 h 3323371"/>
                  <a:gd name="connsiteX26" fmla="*/ 2812569 w 3558511"/>
                  <a:gd name="connsiteY26" fmla="*/ 309004 h 3323371"/>
                  <a:gd name="connsiteX27" fmla="*/ 2799956 w 3558511"/>
                  <a:gd name="connsiteY27" fmla="*/ 163962 h 3323371"/>
                  <a:gd name="connsiteX28" fmla="*/ 2793650 w 3558511"/>
                  <a:gd name="connsiteY28" fmla="*/ 145043 h 3323371"/>
                  <a:gd name="connsiteX29" fmla="*/ 2768425 w 3558511"/>
                  <a:gd name="connsiteY29" fmla="*/ 107206 h 3323371"/>
                  <a:gd name="connsiteX30" fmla="*/ 2717976 w 3558511"/>
                  <a:gd name="connsiteY30" fmla="*/ 56756 h 3323371"/>
                  <a:gd name="connsiteX31" fmla="*/ 2572933 w 3558511"/>
                  <a:gd name="connsiteY31" fmla="*/ 18919 h 3323371"/>
                  <a:gd name="connsiteX32" fmla="*/ 983769 w 3558511"/>
                  <a:gd name="connsiteY32" fmla="*/ 31531 h 3323371"/>
                  <a:gd name="connsiteX33" fmla="*/ 939625 w 3558511"/>
                  <a:gd name="connsiteY33" fmla="*/ 69369 h 3323371"/>
                  <a:gd name="connsiteX34" fmla="*/ 945931 w 3558511"/>
                  <a:gd name="connsiteY34" fmla="*/ 88287 h 3323371"/>
                  <a:gd name="connsiteX35" fmla="*/ 958544 w 3558511"/>
                  <a:gd name="connsiteY35" fmla="*/ 119818 h 3323371"/>
                  <a:gd name="connsiteX0" fmla="*/ 958544 w 3558511"/>
                  <a:gd name="connsiteY0" fmla="*/ 119818 h 3323371"/>
                  <a:gd name="connsiteX1" fmla="*/ 882869 w 3558511"/>
                  <a:gd name="connsiteY1" fmla="*/ 1696370 h 3323371"/>
                  <a:gd name="connsiteX2" fmla="*/ 554947 w 3558511"/>
                  <a:gd name="connsiteY2" fmla="*/ 2484646 h 3323371"/>
                  <a:gd name="connsiteX3" fmla="*/ 18919 w 3558511"/>
                  <a:gd name="connsiteY3" fmla="*/ 3241391 h 3323371"/>
                  <a:gd name="connsiteX4" fmla="*/ 0 w 3558511"/>
                  <a:gd name="connsiteY4" fmla="*/ 3254003 h 3323371"/>
                  <a:gd name="connsiteX5" fmla="*/ 176574 w 3558511"/>
                  <a:gd name="connsiteY5" fmla="*/ 3279228 h 3323371"/>
                  <a:gd name="connsiteX6" fmla="*/ 1040524 w 3558511"/>
                  <a:gd name="connsiteY6" fmla="*/ 3310759 h 3323371"/>
                  <a:gd name="connsiteX7" fmla="*/ 2011680 w 3558511"/>
                  <a:gd name="connsiteY7" fmla="*/ 3317065 h 3323371"/>
                  <a:gd name="connsiteX8" fmla="*/ 2787344 w 3558511"/>
                  <a:gd name="connsiteY8" fmla="*/ 3323371 h 3323371"/>
                  <a:gd name="connsiteX9" fmla="*/ 2837793 w 3558511"/>
                  <a:gd name="connsiteY9" fmla="*/ 3317065 h 3323371"/>
                  <a:gd name="connsiteX10" fmla="*/ 2869324 w 3558511"/>
                  <a:gd name="connsiteY10" fmla="*/ 3291840 h 3323371"/>
                  <a:gd name="connsiteX11" fmla="*/ 2976530 w 3558511"/>
                  <a:gd name="connsiteY11" fmla="*/ 3172022 h 3323371"/>
                  <a:gd name="connsiteX12" fmla="*/ 3247697 w 3558511"/>
                  <a:gd name="connsiteY12" fmla="*/ 2635995 h 3323371"/>
                  <a:gd name="connsiteX13" fmla="*/ 3392740 w 3558511"/>
                  <a:gd name="connsiteY13" fmla="*/ 2245010 h 3323371"/>
                  <a:gd name="connsiteX14" fmla="*/ 3499945 w 3558511"/>
                  <a:gd name="connsiteY14" fmla="*/ 1809882 h 3323371"/>
                  <a:gd name="connsiteX15" fmla="*/ 3531476 w 3558511"/>
                  <a:gd name="connsiteY15" fmla="*/ 245942 h 3323371"/>
                  <a:gd name="connsiteX16" fmla="*/ 3499945 w 3558511"/>
                  <a:gd name="connsiteY16" fmla="*/ 94593 h 3323371"/>
                  <a:gd name="connsiteX17" fmla="*/ 3481027 w 3558511"/>
                  <a:gd name="connsiteY17" fmla="*/ 37838 h 3323371"/>
                  <a:gd name="connsiteX18" fmla="*/ 3436883 w 3558511"/>
                  <a:gd name="connsiteY18" fmla="*/ 12613 h 3323371"/>
                  <a:gd name="connsiteX19" fmla="*/ 3354902 w 3558511"/>
                  <a:gd name="connsiteY19" fmla="*/ 0 h 3323371"/>
                  <a:gd name="connsiteX20" fmla="*/ 3235084 w 3558511"/>
                  <a:gd name="connsiteY20" fmla="*/ 6307 h 3323371"/>
                  <a:gd name="connsiteX21" fmla="*/ 3165716 w 3558511"/>
                  <a:gd name="connsiteY21" fmla="*/ 18919 h 3323371"/>
                  <a:gd name="connsiteX22" fmla="*/ 2995449 w 3558511"/>
                  <a:gd name="connsiteY22" fmla="*/ 138737 h 3323371"/>
                  <a:gd name="connsiteX23" fmla="*/ 2888243 w 3558511"/>
                  <a:gd name="connsiteY23" fmla="*/ 245942 h 3323371"/>
                  <a:gd name="connsiteX24" fmla="*/ 2806262 w 3558511"/>
                  <a:gd name="connsiteY24" fmla="*/ 346842 h 3323371"/>
                  <a:gd name="connsiteX25" fmla="*/ 2812569 w 3558511"/>
                  <a:gd name="connsiteY25" fmla="*/ 309004 h 3323371"/>
                  <a:gd name="connsiteX26" fmla="*/ 2799956 w 3558511"/>
                  <a:gd name="connsiteY26" fmla="*/ 163962 h 3323371"/>
                  <a:gd name="connsiteX27" fmla="*/ 2793650 w 3558511"/>
                  <a:gd name="connsiteY27" fmla="*/ 145043 h 3323371"/>
                  <a:gd name="connsiteX28" fmla="*/ 2768425 w 3558511"/>
                  <a:gd name="connsiteY28" fmla="*/ 107206 h 3323371"/>
                  <a:gd name="connsiteX29" fmla="*/ 2717976 w 3558511"/>
                  <a:gd name="connsiteY29" fmla="*/ 56756 h 3323371"/>
                  <a:gd name="connsiteX30" fmla="*/ 2572933 w 3558511"/>
                  <a:gd name="connsiteY30" fmla="*/ 18919 h 3323371"/>
                  <a:gd name="connsiteX31" fmla="*/ 983769 w 3558511"/>
                  <a:gd name="connsiteY31" fmla="*/ 31531 h 3323371"/>
                  <a:gd name="connsiteX32" fmla="*/ 939625 w 3558511"/>
                  <a:gd name="connsiteY32" fmla="*/ 69369 h 3323371"/>
                  <a:gd name="connsiteX33" fmla="*/ 945931 w 3558511"/>
                  <a:gd name="connsiteY33" fmla="*/ 88287 h 3323371"/>
                  <a:gd name="connsiteX34" fmla="*/ 958544 w 3558511"/>
                  <a:gd name="connsiteY34" fmla="*/ 119818 h 3323371"/>
                  <a:gd name="connsiteX0" fmla="*/ 958544 w 3558511"/>
                  <a:gd name="connsiteY0" fmla="*/ 119818 h 3323371"/>
                  <a:gd name="connsiteX1" fmla="*/ 882869 w 3558511"/>
                  <a:gd name="connsiteY1" fmla="*/ 1696370 h 3323371"/>
                  <a:gd name="connsiteX2" fmla="*/ 554947 w 3558511"/>
                  <a:gd name="connsiteY2" fmla="*/ 2484646 h 3323371"/>
                  <a:gd name="connsiteX3" fmla="*/ 554946 w 3558511"/>
                  <a:gd name="connsiteY3" fmla="*/ 2509597 h 3323371"/>
                  <a:gd name="connsiteX4" fmla="*/ 18919 w 3558511"/>
                  <a:gd name="connsiteY4" fmla="*/ 3241391 h 3323371"/>
                  <a:gd name="connsiteX5" fmla="*/ 0 w 3558511"/>
                  <a:gd name="connsiteY5" fmla="*/ 3254003 h 3323371"/>
                  <a:gd name="connsiteX6" fmla="*/ 176574 w 3558511"/>
                  <a:gd name="connsiteY6" fmla="*/ 3279228 h 3323371"/>
                  <a:gd name="connsiteX7" fmla="*/ 1040524 w 3558511"/>
                  <a:gd name="connsiteY7" fmla="*/ 3310759 h 3323371"/>
                  <a:gd name="connsiteX8" fmla="*/ 2011680 w 3558511"/>
                  <a:gd name="connsiteY8" fmla="*/ 3317065 h 3323371"/>
                  <a:gd name="connsiteX9" fmla="*/ 2787344 w 3558511"/>
                  <a:gd name="connsiteY9" fmla="*/ 3323371 h 3323371"/>
                  <a:gd name="connsiteX10" fmla="*/ 2837793 w 3558511"/>
                  <a:gd name="connsiteY10" fmla="*/ 3317065 h 3323371"/>
                  <a:gd name="connsiteX11" fmla="*/ 2869324 w 3558511"/>
                  <a:gd name="connsiteY11" fmla="*/ 3291840 h 3323371"/>
                  <a:gd name="connsiteX12" fmla="*/ 2976530 w 3558511"/>
                  <a:gd name="connsiteY12" fmla="*/ 3172022 h 3323371"/>
                  <a:gd name="connsiteX13" fmla="*/ 3247697 w 3558511"/>
                  <a:gd name="connsiteY13" fmla="*/ 2635995 h 3323371"/>
                  <a:gd name="connsiteX14" fmla="*/ 3392740 w 3558511"/>
                  <a:gd name="connsiteY14" fmla="*/ 2245010 h 3323371"/>
                  <a:gd name="connsiteX15" fmla="*/ 3499945 w 3558511"/>
                  <a:gd name="connsiteY15" fmla="*/ 1809882 h 3323371"/>
                  <a:gd name="connsiteX16" fmla="*/ 3531476 w 3558511"/>
                  <a:gd name="connsiteY16" fmla="*/ 245942 h 3323371"/>
                  <a:gd name="connsiteX17" fmla="*/ 3499945 w 3558511"/>
                  <a:gd name="connsiteY17" fmla="*/ 94593 h 3323371"/>
                  <a:gd name="connsiteX18" fmla="*/ 3481027 w 3558511"/>
                  <a:gd name="connsiteY18" fmla="*/ 37838 h 3323371"/>
                  <a:gd name="connsiteX19" fmla="*/ 3436883 w 3558511"/>
                  <a:gd name="connsiteY19" fmla="*/ 12613 h 3323371"/>
                  <a:gd name="connsiteX20" fmla="*/ 3354902 w 3558511"/>
                  <a:gd name="connsiteY20" fmla="*/ 0 h 3323371"/>
                  <a:gd name="connsiteX21" fmla="*/ 3235084 w 3558511"/>
                  <a:gd name="connsiteY21" fmla="*/ 6307 h 3323371"/>
                  <a:gd name="connsiteX22" fmla="*/ 3165716 w 3558511"/>
                  <a:gd name="connsiteY22" fmla="*/ 18919 h 3323371"/>
                  <a:gd name="connsiteX23" fmla="*/ 2995449 w 3558511"/>
                  <a:gd name="connsiteY23" fmla="*/ 138737 h 3323371"/>
                  <a:gd name="connsiteX24" fmla="*/ 2888243 w 3558511"/>
                  <a:gd name="connsiteY24" fmla="*/ 245942 h 3323371"/>
                  <a:gd name="connsiteX25" fmla="*/ 2806262 w 3558511"/>
                  <a:gd name="connsiteY25" fmla="*/ 346842 h 3323371"/>
                  <a:gd name="connsiteX26" fmla="*/ 2812569 w 3558511"/>
                  <a:gd name="connsiteY26" fmla="*/ 309004 h 3323371"/>
                  <a:gd name="connsiteX27" fmla="*/ 2799956 w 3558511"/>
                  <a:gd name="connsiteY27" fmla="*/ 163962 h 3323371"/>
                  <a:gd name="connsiteX28" fmla="*/ 2793650 w 3558511"/>
                  <a:gd name="connsiteY28" fmla="*/ 145043 h 3323371"/>
                  <a:gd name="connsiteX29" fmla="*/ 2768425 w 3558511"/>
                  <a:gd name="connsiteY29" fmla="*/ 107206 h 3323371"/>
                  <a:gd name="connsiteX30" fmla="*/ 2717976 w 3558511"/>
                  <a:gd name="connsiteY30" fmla="*/ 56756 h 3323371"/>
                  <a:gd name="connsiteX31" fmla="*/ 2572933 w 3558511"/>
                  <a:gd name="connsiteY31" fmla="*/ 18919 h 3323371"/>
                  <a:gd name="connsiteX32" fmla="*/ 983769 w 3558511"/>
                  <a:gd name="connsiteY32" fmla="*/ 31531 h 3323371"/>
                  <a:gd name="connsiteX33" fmla="*/ 939625 w 3558511"/>
                  <a:gd name="connsiteY33" fmla="*/ 69369 h 3323371"/>
                  <a:gd name="connsiteX34" fmla="*/ 945931 w 3558511"/>
                  <a:gd name="connsiteY34" fmla="*/ 88287 h 3323371"/>
                  <a:gd name="connsiteX35" fmla="*/ 958544 w 3558511"/>
                  <a:gd name="connsiteY35" fmla="*/ 119818 h 3323371"/>
                  <a:gd name="connsiteX0" fmla="*/ 984595 w 3584562"/>
                  <a:gd name="connsiteY0" fmla="*/ 119818 h 3323371"/>
                  <a:gd name="connsiteX1" fmla="*/ 908920 w 3584562"/>
                  <a:gd name="connsiteY1" fmla="*/ 1696370 h 3323371"/>
                  <a:gd name="connsiteX2" fmla="*/ 580998 w 3584562"/>
                  <a:gd name="connsiteY2" fmla="*/ 2484646 h 3323371"/>
                  <a:gd name="connsiteX3" fmla="*/ 44970 w 3584562"/>
                  <a:gd name="connsiteY3" fmla="*/ 3241391 h 3323371"/>
                  <a:gd name="connsiteX4" fmla="*/ 26051 w 3584562"/>
                  <a:gd name="connsiteY4" fmla="*/ 3254003 h 3323371"/>
                  <a:gd name="connsiteX5" fmla="*/ 202625 w 3584562"/>
                  <a:gd name="connsiteY5" fmla="*/ 3279228 h 3323371"/>
                  <a:gd name="connsiteX6" fmla="*/ 1066575 w 3584562"/>
                  <a:gd name="connsiteY6" fmla="*/ 3310759 h 3323371"/>
                  <a:gd name="connsiteX7" fmla="*/ 2037731 w 3584562"/>
                  <a:gd name="connsiteY7" fmla="*/ 3317065 h 3323371"/>
                  <a:gd name="connsiteX8" fmla="*/ 2813395 w 3584562"/>
                  <a:gd name="connsiteY8" fmla="*/ 3323371 h 3323371"/>
                  <a:gd name="connsiteX9" fmla="*/ 2863844 w 3584562"/>
                  <a:gd name="connsiteY9" fmla="*/ 3317065 h 3323371"/>
                  <a:gd name="connsiteX10" fmla="*/ 2895375 w 3584562"/>
                  <a:gd name="connsiteY10" fmla="*/ 3291840 h 3323371"/>
                  <a:gd name="connsiteX11" fmla="*/ 3002581 w 3584562"/>
                  <a:gd name="connsiteY11" fmla="*/ 3172022 h 3323371"/>
                  <a:gd name="connsiteX12" fmla="*/ 3273748 w 3584562"/>
                  <a:gd name="connsiteY12" fmla="*/ 2635995 h 3323371"/>
                  <a:gd name="connsiteX13" fmla="*/ 3418791 w 3584562"/>
                  <a:gd name="connsiteY13" fmla="*/ 2245010 h 3323371"/>
                  <a:gd name="connsiteX14" fmla="*/ 3525996 w 3584562"/>
                  <a:gd name="connsiteY14" fmla="*/ 1809882 h 3323371"/>
                  <a:gd name="connsiteX15" fmla="*/ 3557527 w 3584562"/>
                  <a:gd name="connsiteY15" fmla="*/ 245942 h 3323371"/>
                  <a:gd name="connsiteX16" fmla="*/ 3525996 w 3584562"/>
                  <a:gd name="connsiteY16" fmla="*/ 94593 h 3323371"/>
                  <a:gd name="connsiteX17" fmla="*/ 3507078 w 3584562"/>
                  <a:gd name="connsiteY17" fmla="*/ 37838 h 3323371"/>
                  <a:gd name="connsiteX18" fmla="*/ 3462934 w 3584562"/>
                  <a:gd name="connsiteY18" fmla="*/ 12613 h 3323371"/>
                  <a:gd name="connsiteX19" fmla="*/ 3380953 w 3584562"/>
                  <a:gd name="connsiteY19" fmla="*/ 0 h 3323371"/>
                  <a:gd name="connsiteX20" fmla="*/ 3261135 w 3584562"/>
                  <a:gd name="connsiteY20" fmla="*/ 6307 h 3323371"/>
                  <a:gd name="connsiteX21" fmla="*/ 3191767 w 3584562"/>
                  <a:gd name="connsiteY21" fmla="*/ 18919 h 3323371"/>
                  <a:gd name="connsiteX22" fmla="*/ 3021500 w 3584562"/>
                  <a:gd name="connsiteY22" fmla="*/ 138737 h 3323371"/>
                  <a:gd name="connsiteX23" fmla="*/ 2914294 w 3584562"/>
                  <a:gd name="connsiteY23" fmla="*/ 245942 h 3323371"/>
                  <a:gd name="connsiteX24" fmla="*/ 2832313 w 3584562"/>
                  <a:gd name="connsiteY24" fmla="*/ 346842 h 3323371"/>
                  <a:gd name="connsiteX25" fmla="*/ 2838620 w 3584562"/>
                  <a:gd name="connsiteY25" fmla="*/ 309004 h 3323371"/>
                  <a:gd name="connsiteX26" fmla="*/ 2826007 w 3584562"/>
                  <a:gd name="connsiteY26" fmla="*/ 163962 h 3323371"/>
                  <a:gd name="connsiteX27" fmla="*/ 2819701 w 3584562"/>
                  <a:gd name="connsiteY27" fmla="*/ 145043 h 3323371"/>
                  <a:gd name="connsiteX28" fmla="*/ 2794476 w 3584562"/>
                  <a:gd name="connsiteY28" fmla="*/ 107206 h 3323371"/>
                  <a:gd name="connsiteX29" fmla="*/ 2744027 w 3584562"/>
                  <a:gd name="connsiteY29" fmla="*/ 56756 h 3323371"/>
                  <a:gd name="connsiteX30" fmla="*/ 2598984 w 3584562"/>
                  <a:gd name="connsiteY30" fmla="*/ 18919 h 3323371"/>
                  <a:gd name="connsiteX31" fmla="*/ 1009820 w 3584562"/>
                  <a:gd name="connsiteY31" fmla="*/ 31531 h 3323371"/>
                  <a:gd name="connsiteX32" fmla="*/ 965676 w 3584562"/>
                  <a:gd name="connsiteY32" fmla="*/ 69369 h 3323371"/>
                  <a:gd name="connsiteX33" fmla="*/ 971982 w 3584562"/>
                  <a:gd name="connsiteY33" fmla="*/ 88287 h 3323371"/>
                  <a:gd name="connsiteX34" fmla="*/ 984595 w 3584562"/>
                  <a:gd name="connsiteY34" fmla="*/ 119818 h 3323371"/>
                  <a:gd name="connsiteX0" fmla="*/ 1008743 w 3608710"/>
                  <a:gd name="connsiteY0" fmla="*/ 119818 h 3359159"/>
                  <a:gd name="connsiteX1" fmla="*/ 933068 w 3608710"/>
                  <a:gd name="connsiteY1" fmla="*/ 1696370 h 3359159"/>
                  <a:gd name="connsiteX2" fmla="*/ 69118 w 3608710"/>
                  <a:gd name="connsiteY2" fmla="*/ 3241391 h 3359159"/>
                  <a:gd name="connsiteX3" fmla="*/ 50199 w 3608710"/>
                  <a:gd name="connsiteY3" fmla="*/ 3254003 h 3359159"/>
                  <a:gd name="connsiteX4" fmla="*/ 226773 w 3608710"/>
                  <a:gd name="connsiteY4" fmla="*/ 3279228 h 3359159"/>
                  <a:gd name="connsiteX5" fmla="*/ 1090723 w 3608710"/>
                  <a:gd name="connsiteY5" fmla="*/ 3310759 h 3359159"/>
                  <a:gd name="connsiteX6" fmla="*/ 2061879 w 3608710"/>
                  <a:gd name="connsiteY6" fmla="*/ 3317065 h 3359159"/>
                  <a:gd name="connsiteX7" fmla="*/ 2837543 w 3608710"/>
                  <a:gd name="connsiteY7" fmla="*/ 3323371 h 3359159"/>
                  <a:gd name="connsiteX8" fmla="*/ 2887992 w 3608710"/>
                  <a:gd name="connsiteY8" fmla="*/ 3317065 h 3359159"/>
                  <a:gd name="connsiteX9" fmla="*/ 2919523 w 3608710"/>
                  <a:gd name="connsiteY9" fmla="*/ 3291840 h 3359159"/>
                  <a:gd name="connsiteX10" fmla="*/ 3026729 w 3608710"/>
                  <a:gd name="connsiteY10" fmla="*/ 3172022 h 3359159"/>
                  <a:gd name="connsiteX11" fmla="*/ 3297896 w 3608710"/>
                  <a:gd name="connsiteY11" fmla="*/ 2635995 h 3359159"/>
                  <a:gd name="connsiteX12" fmla="*/ 3442939 w 3608710"/>
                  <a:gd name="connsiteY12" fmla="*/ 2245010 h 3359159"/>
                  <a:gd name="connsiteX13" fmla="*/ 3550144 w 3608710"/>
                  <a:gd name="connsiteY13" fmla="*/ 1809882 h 3359159"/>
                  <a:gd name="connsiteX14" fmla="*/ 3581675 w 3608710"/>
                  <a:gd name="connsiteY14" fmla="*/ 245942 h 3359159"/>
                  <a:gd name="connsiteX15" fmla="*/ 3550144 w 3608710"/>
                  <a:gd name="connsiteY15" fmla="*/ 94593 h 3359159"/>
                  <a:gd name="connsiteX16" fmla="*/ 3531226 w 3608710"/>
                  <a:gd name="connsiteY16" fmla="*/ 37838 h 3359159"/>
                  <a:gd name="connsiteX17" fmla="*/ 3487082 w 3608710"/>
                  <a:gd name="connsiteY17" fmla="*/ 12613 h 3359159"/>
                  <a:gd name="connsiteX18" fmla="*/ 3405101 w 3608710"/>
                  <a:gd name="connsiteY18" fmla="*/ 0 h 3359159"/>
                  <a:gd name="connsiteX19" fmla="*/ 3285283 w 3608710"/>
                  <a:gd name="connsiteY19" fmla="*/ 6307 h 3359159"/>
                  <a:gd name="connsiteX20" fmla="*/ 3215915 w 3608710"/>
                  <a:gd name="connsiteY20" fmla="*/ 18919 h 3359159"/>
                  <a:gd name="connsiteX21" fmla="*/ 3045648 w 3608710"/>
                  <a:gd name="connsiteY21" fmla="*/ 138737 h 3359159"/>
                  <a:gd name="connsiteX22" fmla="*/ 2938442 w 3608710"/>
                  <a:gd name="connsiteY22" fmla="*/ 245942 h 3359159"/>
                  <a:gd name="connsiteX23" fmla="*/ 2856461 w 3608710"/>
                  <a:gd name="connsiteY23" fmla="*/ 346842 h 3359159"/>
                  <a:gd name="connsiteX24" fmla="*/ 2862768 w 3608710"/>
                  <a:gd name="connsiteY24" fmla="*/ 309004 h 3359159"/>
                  <a:gd name="connsiteX25" fmla="*/ 2850155 w 3608710"/>
                  <a:gd name="connsiteY25" fmla="*/ 163962 h 3359159"/>
                  <a:gd name="connsiteX26" fmla="*/ 2843849 w 3608710"/>
                  <a:gd name="connsiteY26" fmla="*/ 145043 h 3359159"/>
                  <a:gd name="connsiteX27" fmla="*/ 2818624 w 3608710"/>
                  <a:gd name="connsiteY27" fmla="*/ 107206 h 3359159"/>
                  <a:gd name="connsiteX28" fmla="*/ 2768175 w 3608710"/>
                  <a:gd name="connsiteY28" fmla="*/ 56756 h 3359159"/>
                  <a:gd name="connsiteX29" fmla="*/ 2623132 w 3608710"/>
                  <a:gd name="connsiteY29" fmla="*/ 18919 h 3359159"/>
                  <a:gd name="connsiteX30" fmla="*/ 1033968 w 3608710"/>
                  <a:gd name="connsiteY30" fmla="*/ 31531 h 3359159"/>
                  <a:gd name="connsiteX31" fmla="*/ 989824 w 3608710"/>
                  <a:gd name="connsiteY31" fmla="*/ 69369 h 3359159"/>
                  <a:gd name="connsiteX32" fmla="*/ 996130 w 3608710"/>
                  <a:gd name="connsiteY32" fmla="*/ 88287 h 3359159"/>
                  <a:gd name="connsiteX33" fmla="*/ 1008743 w 3608710"/>
                  <a:gd name="connsiteY33" fmla="*/ 119818 h 3359159"/>
                  <a:gd name="connsiteX0" fmla="*/ 989679 w 3589646"/>
                  <a:gd name="connsiteY0" fmla="*/ 119818 h 3366395"/>
                  <a:gd name="connsiteX1" fmla="*/ 914004 w 3589646"/>
                  <a:gd name="connsiteY1" fmla="*/ 1696370 h 3366395"/>
                  <a:gd name="connsiteX2" fmla="*/ 50054 w 3589646"/>
                  <a:gd name="connsiteY2" fmla="*/ 3241391 h 3366395"/>
                  <a:gd name="connsiteX3" fmla="*/ 207709 w 3589646"/>
                  <a:gd name="connsiteY3" fmla="*/ 3279228 h 3366395"/>
                  <a:gd name="connsiteX4" fmla="*/ 1071659 w 3589646"/>
                  <a:gd name="connsiteY4" fmla="*/ 3310759 h 3366395"/>
                  <a:gd name="connsiteX5" fmla="*/ 2042815 w 3589646"/>
                  <a:gd name="connsiteY5" fmla="*/ 3317065 h 3366395"/>
                  <a:gd name="connsiteX6" fmla="*/ 2818479 w 3589646"/>
                  <a:gd name="connsiteY6" fmla="*/ 3323371 h 3366395"/>
                  <a:gd name="connsiteX7" fmla="*/ 2868928 w 3589646"/>
                  <a:gd name="connsiteY7" fmla="*/ 3317065 h 3366395"/>
                  <a:gd name="connsiteX8" fmla="*/ 2900459 w 3589646"/>
                  <a:gd name="connsiteY8" fmla="*/ 3291840 h 3366395"/>
                  <a:gd name="connsiteX9" fmla="*/ 3007665 w 3589646"/>
                  <a:gd name="connsiteY9" fmla="*/ 3172022 h 3366395"/>
                  <a:gd name="connsiteX10" fmla="*/ 3278832 w 3589646"/>
                  <a:gd name="connsiteY10" fmla="*/ 2635995 h 3366395"/>
                  <a:gd name="connsiteX11" fmla="*/ 3423875 w 3589646"/>
                  <a:gd name="connsiteY11" fmla="*/ 2245010 h 3366395"/>
                  <a:gd name="connsiteX12" fmla="*/ 3531080 w 3589646"/>
                  <a:gd name="connsiteY12" fmla="*/ 1809882 h 3366395"/>
                  <a:gd name="connsiteX13" fmla="*/ 3562611 w 3589646"/>
                  <a:gd name="connsiteY13" fmla="*/ 245942 h 3366395"/>
                  <a:gd name="connsiteX14" fmla="*/ 3531080 w 3589646"/>
                  <a:gd name="connsiteY14" fmla="*/ 94593 h 3366395"/>
                  <a:gd name="connsiteX15" fmla="*/ 3512162 w 3589646"/>
                  <a:gd name="connsiteY15" fmla="*/ 37838 h 3366395"/>
                  <a:gd name="connsiteX16" fmla="*/ 3468018 w 3589646"/>
                  <a:gd name="connsiteY16" fmla="*/ 12613 h 3366395"/>
                  <a:gd name="connsiteX17" fmla="*/ 3386037 w 3589646"/>
                  <a:gd name="connsiteY17" fmla="*/ 0 h 3366395"/>
                  <a:gd name="connsiteX18" fmla="*/ 3266219 w 3589646"/>
                  <a:gd name="connsiteY18" fmla="*/ 6307 h 3366395"/>
                  <a:gd name="connsiteX19" fmla="*/ 3196851 w 3589646"/>
                  <a:gd name="connsiteY19" fmla="*/ 18919 h 3366395"/>
                  <a:gd name="connsiteX20" fmla="*/ 3026584 w 3589646"/>
                  <a:gd name="connsiteY20" fmla="*/ 138737 h 3366395"/>
                  <a:gd name="connsiteX21" fmla="*/ 2919378 w 3589646"/>
                  <a:gd name="connsiteY21" fmla="*/ 245942 h 3366395"/>
                  <a:gd name="connsiteX22" fmla="*/ 2837397 w 3589646"/>
                  <a:gd name="connsiteY22" fmla="*/ 346842 h 3366395"/>
                  <a:gd name="connsiteX23" fmla="*/ 2843704 w 3589646"/>
                  <a:gd name="connsiteY23" fmla="*/ 309004 h 3366395"/>
                  <a:gd name="connsiteX24" fmla="*/ 2831091 w 3589646"/>
                  <a:gd name="connsiteY24" fmla="*/ 163962 h 3366395"/>
                  <a:gd name="connsiteX25" fmla="*/ 2824785 w 3589646"/>
                  <a:gd name="connsiteY25" fmla="*/ 145043 h 3366395"/>
                  <a:gd name="connsiteX26" fmla="*/ 2799560 w 3589646"/>
                  <a:gd name="connsiteY26" fmla="*/ 107206 h 3366395"/>
                  <a:gd name="connsiteX27" fmla="*/ 2749111 w 3589646"/>
                  <a:gd name="connsiteY27" fmla="*/ 56756 h 3366395"/>
                  <a:gd name="connsiteX28" fmla="*/ 2604068 w 3589646"/>
                  <a:gd name="connsiteY28" fmla="*/ 18919 h 3366395"/>
                  <a:gd name="connsiteX29" fmla="*/ 1014904 w 3589646"/>
                  <a:gd name="connsiteY29" fmla="*/ 31531 h 3366395"/>
                  <a:gd name="connsiteX30" fmla="*/ 970760 w 3589646"/>
                  <a:gd name="connsiteY30" fmla="*/ 69369 h 3366395"/>
                  <a:gd name="connsiteX31" fmla="*/ 977066 w 3589646"/>
                  <a:gd name="connsiteY31" fmla="*/ 88287 h 3366395"/>
                  <a:gd name="connsiteX32" fmla="*/ 989679 w 3589646"/>
                  <a:gd name="connsiteY32" fmla="*/ 119818 h 3366395"/>
                  <a:gd name="connsiteX0" fmla="*/ 940314 w 3540281"/>
                  <a:gd name="connsiteY0" fmla="*/ 119818 h 3378446"/>
                  <a:gd name="connsiteX1" fmla="*/ 864639 w 3540281"/>
                  <a:gd name="connsiteY1" fmla="*/ 1696370 h 3378446"/>
                  <a:gd name="connsiteX2" fmla="*/ 689 w 3540281"/>
                  <a:gd name="connsiteY2" fmla="*/ 3241391 h 3378446"/>
                  <a:gd name="connsiteX3" fmla="*/ 1022294 w 3540281"/>
                  <a:gd name="connsiteY3" fmla="*/ 3310759 h 3378446"/>
                  <a:gd name="connsiteX4" fmla="*/ 1993450 w 3540281"/>
                  <a:gd name="connsiteY4" fmla="*/ 3317065 h 3378446"/>
                  <a:gd name="connsiteX5" fmla="*/ 2769114 w 3540281"/>
                  <a:gd name="connsiteY5" fmla="*/ 3323371 h 3378446"/>
                  <a:gd name="connsiteX6" fmla="*/ 2819563 w 3540281"/>
                  <a:gd name="connsiteY6" fmla="*/ 3317065 h 3378446"/>
                  <a:gd name="connsiteX7" fmla="*/ 2851094 w 3540281"/>
                  <a:gd name="connsiteY7" fmla="*/ 3291840 h 3378446"/>
                  <a:gd name="connsiteX8" fmla="*/ 2958300 w 3540281"/>
                  <a:gd name="connsiteY8" fmla="*/ 3172022 h 3378446"/>
                  <a:gd name="connsiteX9" fmla="*/ 3229467 w 3540281"/>
                  <a:gd name="connsiteY9" fmla="*/ 2635995 h 3378446"/>
                  <a:gd name="connsiteX10" fmla="*/ 3374510 w 3540281"/>
                  <a:gd name="connsiteY10" fmla="*/ 2245010 h 3378446"/>
                  <a:gd name="connsiteX11" fmla="*/ 3481715 w 3540281"/>
                  <a:gd name="connsiteY11" fmla="*/ 1809882 h 3378446"/>
                  <a:gd name="connsiteX12" fmla="*/ 3513246 w 3540281"/>
                  <a:gd name="connsiteY12" fmla="*/ 245942 h 3378446"/>
                  <a:gd name="connsiteX13" fmla="*/ 3481715 w 3540281"/>
                  <a:gd name="connsiteY13" fmla="*/ 94593 h 3378446"/>
                  <a:gd name="connsiteX14" fmla="*/ 3462797 w 3540281"/>
                  <a:gd name="connsiteY14" fmla="*/ 37838 h 3378446"/>
                  <a:gd name="connsiteX15" fmla="*/ 3418653 w 3540281"/>
                  <a:gd name="connsiteY15" fmla="*/ 12613 h 3378446"/>
                  <a:gd name="connsiteX16" fmla="*/ 3336672 w 3540281"/>
                  <a:gd name="connsiteY16" fmla="*/ 0 h 3378446"/>
                  <a:gd name="connsiteX17" fmla="*/ 3216854 w 3540281"/>
                  <a:gd name="connsiteY17" fmla="*/ 6307 h 3378446"/>
                  <a:gd name="connsiteX18" fmla="*/ 3147486 w 3540281"/>
                  <a:gd name="connsiteY18" fmla="*/ 18919 h 3378446"/>
                  <a:gd name="connsiteX19" fmla="*/ 2977219 w 3540281"/>
                  <a:gd name="connsiteY19" fmla="*/ 138737 h 3378446"/>
                  <a:gd name="connsiteX20" fmla="*/ 2870013 w 3540281"/>
                  <a:gd name="connsiteY20" fmla="*/ 245942 h 3378446"/>
                  <a:gd name="connsiteX21" fmla="*/ 2788032 w 3540281"/>
                  <a:gd name="connsiteY21" fmla="*/ 346842 h 3378446"/>
                  <a:gd name="connsiteX22" fmla="*/ 2794339 w 3540281"/>
                  <a:gd name="connsiteY22" fmla="*/ 309004 h 3378446"/>
                  <a:gd name="connsiteX23" fmla="*/ 2781726 w 3540281"/>
                  <a:gd name="connsiteY23" fmla="*/ 163962 h 3378446"/>
                  <a:gd name="connsiteX24" fmla="*/ 2775420 w 3540281"/>
                  <a:gd name="connsiteY24" fmla="*/ 145043 h 3378446"/>
                  <a:gd name="connsiteX25" fmla="*/ 2750195 w 3540281"/>
                  <a:gd name="connsiteY25" fmla="*/ 107206 h 3378446"/>
                  <a:gd name="connsiteX26" fmla="*/ 2699746 w 3540281"/>
                  <a:gd name="connsiteY26" fmla="*/ 56756 h 3378446"/>
                  <a:gd name="connsiteX27" fmla="*/ 2554703 w 3540281"/>
                  <a:gd name="connsiteY27" fmla="*/ 18919 h 3378446"/>
                  <a:gd name="connsiteX28" fmla="*/ 965539 w 3540281"/>
                  <a:gd name="connsiteY28" fmla="*/ 31531 h 3378446"/>
                  <a:gd name="connsiteX29" fmla="*/ 921395 w 3540281"/>
                  <a:gd name="connsiteY29" fmla="*/ 69369 h 3378446"/>
                  <a:gd name="connsiteX30" fmla="*/ 927701 w 3540281"/>
                  <a:gd name="connsiteY30" fmla="*/ 88287 h 3378446"/>
                  <a:gd name="connsiteX31" fmla="*/ 940314 w 3540281"/>
                  <a:gd name="connsiteY31" fmla="*/ 119818 h 3378446"/>
                  <a:gd name="connsiteX0" fmla="*/ 965468 w 3565435"/>
                  <a:gd name="connsiteY0" fmla="*/ 119818 h 3380784"/>
                  <a:gd name="connsiteX1" fmla="*/ 889793 w 3565435"/>
                  <a:gd name="connsiteY1" fmla="*/ 1696370 h 3380784"/>
                  <a:gd name="connsiteX2" fmla="*/ 25843 w 3565435"/>
                  <a:gd name="connsiteY2" fmla="*/ 3241391 h 3380784"/>
                  <a:gd name="connsiteX3" fmla="*/ 2018604 w 3565435"/>
                  <a:gd name="connsiteY3" fmla="*/ 3317065 h 3380784"/>
                  <a:gd name="connsiteX4" fmla="*/ 2794268 w 3565435"/>
                  <a:gd name="connsiteY4" fmla="*/ 3323371 h 3380784"/>
                  <a:gd name="connsiteX5" fmla="*/ 2844717 w 3565435"/>
                  <a:gd name="connsiteY5" fmla="*/ 3317065 h 3380784"/>
                  <a:gd name="connsiteX6" fmla="*/ 2876248 w 3565435"/>
                  <a:gd name="connsiteY6" fmla="*/ 3291840 h 3380784"/>
                  <a:gd name="connsiteX7" fmla="*/ 2983454 w 3565435"/>
                  <a:gd name="connsiteY7" fmla="*/ 3172022 h 3380784"/>
                  <a:gd name="connsiteX8" fmla="*/ 3254621 w 3565435"/>
                  <a:gd name="connsiteY8" fmla="*/ 2635995 h 3380784"/>
                  <a:gd name="connsiteX9" fmla="*/ 3399664 w 3565435"/>
                  <a:gd name="connsiteY9" fmla="*/ 2245010 h 3380784"/>
                  <a:gd name="connsiteX10" fmla="*/ 3506869 w 3565435"/>
                  <a:gd name="connsiteY10" fmla="*/ 1809882 h 3380784"/>
                  <a:gd name="connsiteX11" fmla="*/ 3538400 w 3565435"/>
                  <a:gd name="connsiteY11" fmla="*/ 245942 h 3380784"/>
                  <a:gd name="connsiteX12" fmla="*/ 3506869 w 3565435"/>
                  <a:gd name="connsiteY12" fmla="*/ 94593 h 3380784"/>
                  <a:gd name="connsiteX13" fmla="*/ 3487951 w 3565435"/>
                  <a:gd name="connsiteY13" fmla="*/ 37838 h 3380784"/>
                  <a:gd name="connsiteX14" fmla="*/ 3443807 w 3565435"/>
                  <a:gd name="connsiteY14" fmla="*/ 12613 h 3380784"/>
                  <a:gd name="connsiteX15" fmla="*/ 3361826 w 3565435"/>
                  <a:gd name="connsiteY15" fmla="*/ 0 h 3380784"/>
                  <a:gd name="connsiteX16" fmla="*/ 3242008 w 3565435"/>
                  <a:gd name="connsiteY16" fmla="*/ 6307 h 3380784"/>
                  <a:gd name="connsiteX17" fmla="*/ 3172640 w 3565435"/>
                  <a:gd name="connsiteY17" fmla="*/ 18919 h 3380784"/>
                  <a:gd name="connsiteX18" fmla="*/ 3002373 w 3565435"/>
                  <a:gd name="connsiteY18" fmla="*/ 138737 h 3380784"/>
                  <a:gd name="connsiteX19" fmla="*/ 2895167 w 3565435"/>
                  <a:gd name="connsiteY19" fmla="*/ 245942 h 3380784"/>
                  <a:gd name="connsiteX20" fmla="*/ 2813186 w 3565435"/>
                  <a:gd name="connsiteY20" fmla="*/ 346842 h 3380784"/>
                  <a:gd name="connsiteX21" fmla="*/ 2819493 w 3565435"/>
                  <a:gd name="connsiteY21" fmla="*/ 309004 h 3380784"/>
                  <a:gd name="connsiteX22" fmla="*/ 2806880 w 3565435"/>
                  <a:gd name="connsiteY22" fmla="*/ 163962 h 3380784"/>
                  <a:gd name="connsiteX23" fmla="*/ 2800574 w 3565435"/>
                  <a:gd name="connsiteY23" fmla="*/ 145043 h 3380784"/>
                  <a:gd name="connsiteX24" fmla="*/ 2775349 w 3565435"/>
                  <a:gd name="connsiteY24" fmla="*/ 107206 h 3380784"/>
                  <a:gd name="connsiteX25" fmla="*/ 2724900 w 3565435"/>
                  <a:gd name="connsiteY25" fmla="*/ 56756 h 3380784"/>
                  <a:gd name="connsiteX26" fmla="*/ 2579857 w 3565435"/>
                  <a:gd name="connsiteY26" fmla="*/ 18919 h 3380784"/>
                  <a:gd name="connsiteX27" fmla="*/ 990693 w 3565435"/>
                  <a:gd name="connsiteY27" fmla="*/ 31531 h 3380784"/>
                  <a:gd name="connsiteX28" fmla="*/ 946549 w 3565435"/>
                  <a:gd name="connsiteY28" fmla="*/ 69369 h 3380784"/>
                  <a:gd name="connsiteX29" fmla="*/ 952855 w 3565435"/>
                  <a:gd name="connsiteY29" fmla="*/ 88287 h 3380784"/>
                  <a:gd name="connsiteX30" fmla="*/ 965468 w 3565435"/>
                  <a:gd name="connsiteY30" fmla="*/ 119818 h 3380784"/>
                  <a:gd name="connsiteX0" fmla="*/ 965468 w 3565435"/>
                  <a:gd name="connsiteY0" fmla="*/ 119818 h 3380784"/>
                  <a:gd name="connsiteX1" fmla="*/ 889793 w 3565435"/>
                  <a:gd name="connsiteY1" fmla="*/ 1696370 h 3380784"/>
                  <a:gd name="connsiteX2" fmla="*/ 25843 w 3565435"/>
                  <a:gd name="connsiteY2" fmla="*/ 3241391 h 3380784"/>
                  <a:gd name="connsiteX3" fmla="*/ 2018604 w 3565435"/>
                  <a:gd name="connsiteY3" fmla="*/ 3317065 h 3380784"/>
                  <a:gd name="connsiteX4" fmla="*/ 2794268 w 3565435"/>
                  <a:gd name="connsiteY4" fmla="*/ 3323371 h 3380784"/>
                  <a:gd name="connsiteX5" fmla="*/ 2844717 w 3565435"/>
                  <a:gd name="connsiteY5" fmla="*/ 3317065 h 3380784"/>
                  <a:gd name="connsiteX6" fmla="*/ 2876248 w 3565435"/>
                  <a:gd name="connsiteY6" fmla="*/ 3291840 h 3380784"/>
                  <a:gd name="connsiteX7" fmla="*/ 2983454 w 3565435"/>
                  <a:gd name="connsiteY7" fmla="*/ 3172022 h 3380784"/>
                  <a:gd name="connsiteX8" fmla="*/ 3254621 w 3565435"/>
                  <a:gd name="connsiteY8" fmla="*/ 2635995 h 3380784"/>
                  <a:gd name="connsiteX9" fmla="*/ 3399664 w 3565435"/>
                  <a:gd name="connsiteY9" fmla="*/ 2245010 h 3380784"/>
                  <a:gd name="connsiteX10" fmla="*/ 3506869 w 3565435"/>
                  <a:gd name="connsiteY10" fmla="*/ 1809882 h 3380784"/>
                  <a:gd name="connsiteX11" fmla="*/ 3538400 w 3565435"/>
                  <a:gd name="connsiteY11" fmla="*/ 245942 h 3380784"/>
                  <a:gd name="connsiteX12" fmla="*/ 3506869 w 3565435"/>
                  <a:gd name="connsiteY12" fmla="*/ 94593 h 3380784"/>
                  <a:gd name="connsiteX13" fmla="*/ 3487951 w 3565435"/>
                  <a:gd name="connsiteY13" fmla="*/ 37838 h 3380784"/>
                  <a:gd name="connsiteX14" fmla="*/ 3443807 w 3565435"/>
                  <a:gd name="connsiteY14" fmla="*/ 12613 h 3380784"/>
                  <a:gd name="connsiteX15" fmla="*/ 3361826 w 3565435"/>
                  <a:gd name="connsiteY15" fmla="*/ 0 h 3380784"/>
                  <a:gd name="connsiteX16" fmla="*/ 3242008 w 3565435"/>
                  <a:gd name="connsiteY16" fmla="*/ 6307 h 3380784"/>
                  <a:gd name="connsiteX17" fmla="*/ 3172640 w 3565435"/>
                  <a:gd name="connsiteY17" fmla="*/ 18919 h 3380784"/>
                  <a:gd name="connsiteX18" fmla="*/ 3002373 w 3565435"/>
                  <a:gd name="connsiteY18" fmla="*/ 138737 h 3380784"/>
                  <a:gd name="connsiteX19" fmla="*/ 2895167 w 3565435"/>
                  <a:gd name="connsiteY19" fmla="*/ 245942 h 3380784"/>
                  <a:gd name="connsiteX20" fmla="*/ 2813186 w 3565435"/>
                  <a:gd name="connsiteY20" fmla="*/ 346842 h 3380784"/>
                  <a:gd name="connsiteX21" fmla="*/ 2819493 w 3565435"/>
                  <a:gd name="connsiteY21" fmla="*/ 309004 h 3380784"/>
                  <a:gd name="connsiteX22" fmla="*/ 2806880 w 3565435"/>
                  <a:gd name="connsiteY22" fmla="*/ 163962 h 3380784"/>
                  <a:gd name="connsiteX23" fmla="*/ 2800574 w 3565435"/>
                  <a:gd name="connsiteY23" fmla="*/ 145043 h 3380784"/>
                  <a:gd name="connsiteX24" fmla="*/ 2775349 w 3565435"/>
                  <a:gd name="connsiteY24" fmla="*/ 107206 h 3380784"/>
                  <a:gd name="connsiteX25" fmla="*/ 2724900 w 3565435"/>
                  <a:gd name="connsiteY25" fmla="*/ 56756 h 3380784"/>
                  <a:gd name="connsiteX26" fmla="*/ 2579857 w 3565435"/>
                  <a:gd name="connsiteY26" fmla="*/ 18919 h 3380784"/>
                  <a:gd name="connsiteX27" fmla="*/ 990693 w 3565435"/>
                  <a:gd name="connsiteY27" fmla="*/ 31531 h 3380784"/>
                  <a:gd name="connsiteX28" fmla="*/ 946549 w 3565435"/>
                  <a:gd name="connsiteY28" fmla="*/ 69369 h 3380784"/>
                  <a:gd name="connsiteX29" fmla="*/ 952855 w 3565435"/>
                  <a:gd name="connsiteY29" fmla="*/ 88287 h 3380784"/>
                  <a:gd name="connsiteX30" fmla="*/ 965468 w 3565435"/>
                  <a:gd name="connsiteY30" fmla="*/ 119818 h 3380784"/>
                  <a:gd name="connsiteX0" fmla="*/ 965468 w 3565435"/>
                  <a:gd name="connsiteY0" fmla="*/ 119818 h 3324625"/>
                  <a:gd name="connsiteX1" fmla="*/ 889793 w 3565435"/>
                  <a:gd name="connsiteY1" fmla="*/ 1696370 h 3324625"/>
                  <a:gd name="connsiteX2" fmla="*/ 25843 w 3565435"/>
                  <a:gd name="connsiteY2" fmla="*/ 3241391 h 3324625"/>
                  <a:gd name="connsiteX3" fmla="*/ 2018604 w 3565435"/>
                  <a:gd name="connsiteY3" fmla="*/ 3317065 h 3324625"/>
                  <a:gd name="connsiteX4" fmla="*/ 2794268 w 3565435"/>
                  <a:gd name="connsiteY4" fmla="*/ 3323371 h 3324625"/>
                  <a:gd name="connsiteX5" fmla="*/ 2844717 w 3565435"/>
                  <a:gd name="connsiteY5" fmla="*/ 3317065 h 3324625"/>
                  <a:gd name="connsiteX6" fmla="*/ 2876248 w 3565435"/>
                  <a:gd name="connsiteY6" fmla="*/ 3291840 h 3324625"/>
                  <a:gd name="connsiteX7" fmla="*/ 2983454 w 3565435"/>
                  <a:gd name="connsiteY7" fmla="*/ 3172022 h 3324625"/>
                  <a:gd name="connsiteX8" fmla="*/ 3254621 w 3565435"/>
                  <a:gd name="connsiteY8" fmla="*/ 2635995 h 3324625"/>
                  <a:gd name="connsiteX9" fmla="*/ 3399664 w 3565435"/>
                  <a:gd name="connsiteY9" fmla="*/ 2245010 h 3324625"/>
                  <a:gd name="connsiteX10" fmla="*/ 3506869 w 3565435"/>
                  <a:gd name="connsiteY10" fmla="*/ 1809882 h 3324625"/>
                  <a:gd name="connsiteX11" fmla="*/ 3538400 w 3565435"/>
                  <a:gd name="connsiteY11" fmla="*/ 245942 h 3324625"/>
                  <a:gd name="connsiteX12" fmla="*/ 3506869 w 3565435"/>
                  <a:gd name="connsiteY12" fmla="*/ 94593 h 3324625"/>
                  <a:gd name="connsiteX13" fmla="*/ 3487951 w 3565435"/>
                  <a:gd name="connsiteY13" fmla="*/ 37838 h 3324625"/>
                  <a:gd name="connsiteX14" fmla="*/ 3443807 w 3565435"/>
                  <a:gd name="connsiteY14" fmla="*/ 12613 h 3324625"/>
                  <a:gd name="connsiteX15" fmla="*/ 3361826 w 3565435"/>
                  <a:gd name="connsiteY15" fmla="*/ 0 h 3324625"/>
                  <a:gd name="connsiteX16" fmla="*/ 3242008 w 3565435"/>
                  <a:gd name="connsiteY16" fmla="*/ 6307 h 3324625"/>
                  <a:gd name="connsiteX17" fmla="*/ 3172640 w 3565435"/>
                  <a:gd name="connsiteY17" fmla="*/ 18919 h 3324625"/>
                  <a:gd name="connsiteX18" fmla="*/ 3002373 w 3565435"/>
                  <a:gd name="connsiteY18" fmla="*/ 138737 h 3324625"/>
                  <a:gd name="connsiteX19" fmla="*/ 2895167 w 3565435"/>
                  <a:gd name="connsiteY19" fmla="*/ 245942 h 3324625"/>
                  <a:gd name="connsiteX20" fmla="*/ 2813186 w 3565435"/>
                  <a:gd name="connsiteY20" fmla="*/ 346842 h 3324625"/>
                  <a:gd name="connsiteX21" fmla="*/ 2819493 w 3565435"/>
                  <a:gd name="connsiteY21" fmla="*/ 309004 h 3324625"/>
                  <a:gd name="connsiteX22" fmla="*/ 2806880 w 3565435"/>
                  <a:gd name="connsiteY22" fmla="*/ 163962 h 3324625"/>
                  <a:gd name="connsiteX23" fmla="*/ 2800574 w 3565435"/>
                  <a:gd name="connsiteY23" fmla="*/ 145043 h 3324625"/>
                  <a:gd name="connsiteX24" fmla="*/ 2775349 w 3565435"/>
                  <a:gd name="connsiteY24" fmla="*/ 107206 h 3324625"/>
                  <a:gd name="connsiteX25" fmla="*/ 2724900 w 3565435"/>
                  <a:gd name="connsiteY25" fmla="*/ 56756 h 3324625"/>
                  <a:gd name="connsiteX26" fmla="*/ 2579857 w 3565435"/>
                  <a:gd name="connsiteY26" fmla="*/ 18919 h 3324625"/>
                  <a:gd name="connsiteX27" fmla="*/ 990693 w 3565435"/>
                  <a:gd name="connsiteY27" fmla="*/ 31531 h 3324625"/>
                  <a:gd name="connsiteX28" fmla="*/ 946549 w 3565435"/>
                  <a:gd name="connsiteY28" fmla="*/ 69369 h 3324625"/>
                  <a:gd name="connsiteX29" fmla="*/ 952855 w 3565435"/>
                  <a:gd name="connsiteY29" fmla="*/ 88287 h 3324625"/>
                  <a:gd name="connsiteX30" fmla="*/ 965468 w 3565435"/>
                  <a:gd name="connsiteY30" fmla="*/ 119818 h 3324625"/>
                  <a:gd name="connsiteX0" fmla="*/ 939625 w 3539592"/>
                  <a:gd name="connsiteY0" fmla="*/ 119818 h 3324625"/>
                  <a:gd name="connsiteX1" fmla="*/ 863950 w 3539592"/>
                  <a:gd name="connsiteY1" fmla="*/ 1696370 h 3324625"/>
                  <a:gd name="connsiteX2" fmla="*/ 0 w 3539592"/>
                  <a:gd name="connsiteY2" fmla="*/ 3241391 h 3324625"/>
                  <a:gd name="connsiteX3" fmla="*/ 1992761 w 3539592"/>
                  <a:gd name="connsiteY3" fmla="*/ 3317065 h 3324625"/>
                  <a:gd name="connsiteX4" fmla="*/ 2768425 w 3539592"/>
                  <a:gd name="connsiteY4" fmla="*/ 3323371 h 3324625"/>
                  <a:gd name="connsiteX5" fmla="*/ 2818874 w 3539592"/>
                  <a:gd name="connsiteY5" fmla="*/ 3317065 h 3324625"/>
                  <a:gd name="connsiteX6" fmla="*/ 2850405 w 3539592"/>
                  <a:gd name="connsiteY6" fmla="*/ 3291840 h 3324625"/>
                  <a:gd name="connsiteX7" fmla="*/ 2957611 w 3539592"/>
                  <a:gd name="connsiteY7" fmla="*/ 3172022 h 3324625"/>
                  <a:gd name="connsiteX8" fmla="*/ 3228778 w 3539592"/>
                  <a:gd name="connsiteY8" fmla="*/ 2635995 h 3324625"/>
                  <a:gd name="connsiteX9" fmla="*/ 3373821 w 3539592"/>
                  <a:gd name="connsiteY9" fmla="*/ 2245010 h 3324625"/>
                  <a:gd name="connsiteX10" fmla="*/ 3481026 w 3539592"/>
                  <a:gd name="connsiteY10" fmla="*/ 1809882 h 3324625"/>
                  <a:gd name="connsiteX11" fmla="*/ 3512557 w 3539592"/>
                  <a:gd name="connsiteY11" fmla="*/ 245942 h 3324625"/>
                  <a:gd name="connsiteX12" fmla="*/ 3481026 w 3539592"/>
                  <a:gd name="connsiteY12" fmla="*/ 94593 h 3324625"/>
                  <a:gd name="connsiteX13" fmla="*/ 3462108 w 3539592"/>
                  <a:gd name="connsiteY13" fmla="*/ 37838 h 3324625"/>
                  <a:gd name="connsiteX14" fmla="*/ 3417964 w 3539592"/>
                  <a:gd name="connsiteY14" fmla="*/ 12613 h 3324625"/>
                  <a:gd name="connsiteX15" fmla="*/ 3335983 w 3539592"/>
                  <a:gd name="connsiteY15" fmla="*/ 0 h 3324625"/>
                  <a:gd name="connsiteX16" fmla="*/ 3216165 w 3539592"/>
                  <a:gd name="connsiteY16" fmla="*/ 6307 h 3324625"/>
                  <a:gd name="connsiteX17" fmla="*/ 3146797 w 3539592"/>
                  <a:gd name="connsiteY17" fmla="*/ 18919 h 3324625"/>
                  <a:gd name="connsiteX18" fmla="*/ 2976530 w 3539592"/>
                  <a:gd name="connsiteY18" fmla="*/ 138737 h 3324625"/>
                  <a:gd name="connsiteX19" fmla="*/ 2869324 w 3539592"/>
                  <a:gd name="connsiteY19" fmla="*/ 245942 h 3324625"/>
                  <a:gd name="connsiteX20" fmla="*/ 2787343 w 3539592"/>
                  <a:gd name="connsiteY20" fmla="*/ 346842 h 3324625"/>
                  <a:gd name="connsiteX21" fmla="*/ 2793650 w 3539592"/>
                  <a:gd name="connsiteY21" fmla="*/ 309004 h 3324625"/>
                  <a:gd name="connsiteX22" fmla="*/ 2781037 w 3539592"/>
                  <a:gd name="connsiteY22" fmla="*/ 163962 h 3324625"/>
                  <a:gd name="connsiteX23" fmla="*/ 2774731 w 3539592"/>
                  <a:gd name="connsiteY23" fmla="*/ 145043 h 3324625"/>
                  <a:gd name="connsiteX24" fmla="*/ 2749506 w 3539592"/>
                  <a:gd name="connsiteY24" fmla="*/ 107206 h 3324625"/>
                  <a:gd name="connsiteX25" fmla="*/ 2699057 w 3539592"/>
                  <a:gd name="connsiteY25" fmla="*/ 56756 h 3324625"/>
                  <a:gd name="connsiteX26" fmla="*/ 2554014 w 3539592"/>
                  <a:gd name="connsiteY26" fmla="*/ 18919 h 3324625"/>
                  <a:gd name="connsiteX27" fmla="*/ 964850 w 3539592"/>
                  <a:gd name="connsiteY27" fmla="*/ 31531 h 3324625"/>
                  <a:gd name="connsiteX28" fmla="*/ 920706 w 3539592"/>
                  <a:gd name="connsiteY28" fmla="*/ 69369 h 3324625"/>
                  <a:gd name="connsiteX29" fmla="*/ 927012 w 3539592"/>
                  <a:gd name="connsiteY29" fmla="*/ 88287 h 3324625"/>
                  <a:gd name="connsiteX30" fmla="*/ 939625 w 3539592"/>
                  <a:gd name="connsiteY30" fmla="*/ 119818 h 3324625"/>
                  <a:gd name="connsiteX0" fmla="*/ 960959 w 3560926"/>
                  <a:gd name="connsiteY0" fmla="*/ 119818 h 3496093"/>
                  <a:gd name="connsiteX1" fmla="*/ 21334 w 3560926"/>
                  <a:gd name="connsiteY1" fmla="*/ 3241391 h 3496093"/>
                  <a:gd name="connsiteX2" fmla="*/ 2014095 w 3560926"/>
                  <a:gd name="connsiteY2" fmla="*/ 3317065 h 3496093"/>
                  <a:gd name="connsiteX3" fmla="*/ 2789759 w 3560926"/>
                  <a:gd name="connsiteY3" fmla="*/ 3323371 h 3496093"/>
                  <a:gd name="connsiteX4" fmla="*/ 2840208 w 3560926"/>
                  <a:gd name="connsiteY4" fmla="*/ 3317065 h 3496093"/>
                  <a:gd name="connsiteX5" fmla="*/ 2871739 w 3560926"/>
                  <a:gd name="connsiteY5" fmla="*/ 3291840 h 3496093"/>
                  <a:gd name="connsiteX6" fmla="*/ 2978945 w 3560926"/>
                  <a:gd name="connsiteY6" fmla="*/ 3172022 h 3496093"/>
                  <a:gd name="connsiteX7" fmla="*/ 3250112 w 3560926"/>
                  <a:gd name="connsiteY7" fmla="*/ 2635995 h 3496093"/>
                  <a:gd name="connsiteX8" fmla="*/ 3395155 w 3560926"/>
                  <a:gd name="connsiteY8" fmla="*/ 2245010 h 3496093"/>
                  <a:gd name="connsiteX9" fmla="*/ 3502360 w 3560926"/>
                  <a:gd name="connsiteY9" fmla="*/ 1809882 h 3496093"/>
                  <a:gd name="connsiteX10" fmla="*/ 3533891 w 3560926"/>
                  <a:gd name="connsiteY10" fmla="*/ 245942 h 3496093"/>
                  <a:gd name="connsiteX11" fmla="*/ 3502360 w 3560926"/>
                  <a:gd name="connsiteY11" fmla="*/ 94593 h 3496093"/>
                  <a:gd name="connsiteX12" fmla="*/ 3483442 w 3560926"/>
                  <a:gd name="connsiteY12" fmla="*/ 37838 h 3496093"/>
                  <a:gd name="connsiteX13" fmla="*/ 3439298 w 3560926"/>
                  <a:gd name="connsiteY13" fmla="*/ 12613 h 3496093"/>
                  <a:gd name="connsiteX14" fmla="*/ 3357317 w 3560926"/>
                  <a:gd name="connsiteY14" fmla="*/ 0 h 3496093"/>
                  <a:gd name="connsiteX15" fmla="*/ 3237499 w 3560926"/>
                  <a:gd name="connsiteY15" fmla="*/ 6307 h 3496093"/>
                  <a:gd name="connsiteX16" fmla="*/ 3168131 w 3560926"/>
                  <a:gd name="connsiteY16" fmla="*/ 18919 h 3496093"/>
                  <a:gd name="connsiteX17" fmla="*/ 2997864 w 3560926"/>
                  <a:gd name="connsiteY17" fmla="*/ 138737 h 3496093"/>
                  <a:gd name="connsiteX18" fmla="*/ 2890658 w 3560926"/>
                  <a:gd name="connsiteY18" fmla="*/ 245942 h 3496093"/>
                  <a:gd name="connsiteX19" fmla="*/ 2808677 w 3560926"/>
                  <a:gd name="connsiteY19" fmla="*/ 346842 h 3496093"/>
                  <a:gd name="connsiteX20" fmla="*/ 2814984 w 3560926"/>
                  <a:gd name="connsiteY20" fmla="*/ 309004 h 3496093"/>
                  <a:gd name="connsiteX21" fmla="*/ 2802371 w 3560926"/>
                  <a:gd name="connsiteY21" fmla="*/ 163962 h 3496093"/>
                  <a:gd name="connsiteX22" fmla="*/ 2796065 w 3560926"/>
                  <a:gd name="connsiteY22" fmla="*/ 145043 h 3496093"/>
                  <a:gd name="connsiteX23" fmla="*/ 2770840 w 3560926"/>
                  <a:gd name="connsiteY23" fmla="*/ 107206 h 3496093"/>
                  <a:gd name="connsiteX24" fmla="*/ 2720391 w 3560926"/>
                  <a:gd name="connsiteY24" fmla="*/ 56756 h 3496093"/>
                  <a:gd name="connsiteX25" fmla="*/ 2575348 w 3560926"/>
                  <a:gd name="connsiteY25" fmla="*/ 18919 h 3496093"/>
                  <a:gd name="connsiteX26" fmla="*/ 986184 w 3560926"/>
                  <a:gd name="connsiteY26" fmla="*/ 31531 h 3496093"/>
                  <a:gd name="connsiteX27" fmla="*/ 942040 w 3560926"/>
                  <a:gd name="connsiteY27" fmla="*/ 69369 h 3496093"/>
                  <a:gd name="connsiteX28" fmla="*/ 948346 w 3560926"/>
                  <a:gd name="connsiteY28" fmla="*/ 88287 h 3496093"/>
                  <a:gd name="connsiteX29" fmla="*/ 960959 w 3560926"/>
                  <a:gd name="connsiteY29" fmla="*/ 119818 h 3496093"/>
                  <a:gd name="connsiteX0" fmla="*/ 949022 w 3561602"/>
                  <a:gd name="connsiteY0" fmla="*/ 238525 h 3648653"/>
                  <a:gd name="connsiteX1" fmla="*/ 22010 w 3561602"/>
                  <a:gd name="connsiteY1" fmla="*/ 3391629 h 3648653"/>
                  <a:gd name="connsiteX2" fmla="*/ 2014771 w 3561602"/>
                  <a:gd name="connsiteY2" fmla="*/ 3467303 h 3648653"/>
                  <a:gd name="connsiteX3" fmla="*/ 2790435 w 3561602"/>
                  <a:gd name="connsiteY3" fmla="*/ 3473609 h 3648653"/>
                  <a:gd name="connsiteX4" fmla="*/ 2840884 w 3561602"/>
                  <a:gd name="connsiteY4" fmla="*/ 3467303 h 3648653"/>
                  <a:gd name="connsiteX5" fmla="*/ 2872415 w 3561602"/>
                  <a:gd name="connsiteY5" fmla="*/ 3442078 h 3648653"/>
                  <a:gd name="connsiteX6" fmla="*/ 2979621 w 3561602"/>
                  <a:gd name="connsiteY6" fmla="*/ 3322260 h 3648653"/>
                  <a:gd name="connsiteX7" fmla="*/ 3250788 w 3561602"/>
                  <a:gd name="connsiteY7" fmla="*/ 2786233 h 3648653"/>
                  <a:gd name="connsiteX8" fmla="*/ 3395831 w 3561602"/>
                  <a:gd name="connsiteY8" fmla="*/ 2395248 h 3648653"/>
                  <a:gd name="connsiteX9" fmla="*/ 3503036 w 3561602"/>
                  <a:gd name="connsiteY9" fmla="*/ 1960120 h 3648653"/>
                  <a:gd name="connsiteX10" fmla="*/ 3534567 w 3561602"/>
                  <a:gd name="connsiteY10" fmla="*/ 396180 h 3648653"/>
                  <a:gd name="connsiteX11" fmla="*/ 3503036 w 3561602"/>
                  <a:gd name="connsiteY11" fmla="*/ 244831 h 3648653"/>
                  <a:gd name="connsiteX12" fmla="*/ 3484118 w 3561602"/>
                  <a:gd name="connsiteY12" fmla="*/ 188076 h 3648653"/>
                  <a:gd name="connsiteX13" fmla="*/ 3439974 w 3561602"/>
                  <a:gd name="connsiteY13" fmla="*/ 162851 h 3648653"/>
                  <a:gd name="connsiteX14" fmla="*/ 3357993 w 3561602"/>
                  <a:gd name="connsiteY14" fmla="*/ 150238 h 3648653"/>
                  <a:gd name="connsiteX15" fmla="*/ 3238175 w 3561602"/>
                  <a:gd name="connsiteY15" fmla="*/ 156545 h 3648653"/>
                  <a:gd name="connsiteX16" fmla="*/ 3168807 w 3561602"/>
                  <a:gd name="connsiteY16" fmla="*/ 169157 h 3648653"/>
                  <a:gd name="connsiteX17" fmla="*/ 2998540 w 3561602"/>
                  <a:gd name="connsiteY17" fmla="*/ 288975 h 3648653"/>
                  <a:gd name="connsiteX18" fmla="*/ 2891334 w 3561602"/>
                  <a:gd name="connsiteY18" fmla="*/ 396180 h 3648653"/>
                  <a:gd name="connsiteX19" fmla="*/ 2809353 w 3561602"/>
                  <a:gd name="connsiteY19" fmla="*/ 497080 h 3648653"/>
                  <a:gd name="connsiteX20" fmla="*/ 2815660 w 3561602"/>
                  <a:gd name="connsiteY20" fmla="*/ 459242 h 3648653"/>
                  <a:gd name="connsiteX21" fmla="*/ 2803047 w 3561602"/>
                  <a:gd name="connsiteY21" fmla="*/ 314200 h 3648653"/>
                  <a:gd name="connsiteX22" fmla="*/ 2796741 w 3561602"/>
                  <a:gd name="connsiteY22" fmla="*/ 295281 h 3648653"/>
                  <a:gd name="connsiteX23" fmla="*/ 2771516 w 3561602"/>
                  <a:gd name="connsiteY23" fmla="*/ 257444 h 3648653"/>
                  <a:gd name="connsiteX24" fmla="*/ 2721067 w 3561602"/>
                  <a:gd name="connsiteY24" fmla="*/ 206994 h 3648653"/>
                  <a:gd name="connsiteX25" fmla="*/ 2576024 w 3561602"/>
                  <a:gd name="connsiteY25" fmla="*/ 169157 h 3648653"/>
                  <a:gd name="connsiteX26" fmla="*/ 986860 w 3561602"/>
                  <a:gd name="connsiteY26" fmla="*/ 181769 h 3648653"/>
                  <a:gd name="connsiteX27" fmla="*/ 942716 w 3561602"/>
                  <a:gd name="connsiteY27" fmla="*/ 219607 h 3648653"/>
                  <a:gd name="connsiteX28" fmla="*/ 949022 w 3561602"/>
                  <a:gd name="connsiteY28" fmla="*/ 238525 h 3648653"/>
                  <a:gd name="connsiteX0" fmla="*/ 943220 w 3562106"/>
                  <a:gd name="connsiteY0" fmla="*/ 69369 h 3499809"/>
                  <a:gd name="connsiteX1" fmla="*/ 22514 w 3562106"/>
                  <a:gd name="connsiteY1" fmla="*/ 3241391 h 3499809"/>
                  <a:gd name="connsiteX2" fmla="*/ 2015275 w 3562106"/>
                  <a:gd name="connsiteY2" fmla="*/ 3317065 h 3499809"/>
                  <a:gd name="connsiteX3" fmla="*/ 2790939 w 3562106"/>
                  <a:gd name="connsiteY3" fmla="*/ 3323371 h 3499809"/>
                  <a:gd name="connsiteX4" fmla="*/ 2841388 w 3562106"/>
                  <a:gd name="connsiteY4" fmla="*/ 3317065 h 3499809"/>
                  <a:gd name="connsiteX5" fmla="*/ 2872919 w 3562106"/>
                  <a:gd name="connsiteY5" fmla="*/ 3291840 h 3499809"/>
                  <a:gd name="connsiteX6" fmla="*/ 2980125 w 3562106"/>
                  <a:gd name="connsiteY6" fmla="*/ 3172022 h 3499809"/>
                  <a:gd name="connsiteX7" fmla="*/ 3251292 w 3562106"/>
                  <a:gd name="connsiteY7" fmla="*/ 2635995 h 3499809"/>
                  <a:gd name="connsiteX8" fmla="*/ 3396335 w 3562106"/>
                  <a:gd name="connsiteY8" fmla="*/ 2245010 h 3499809"/>
                  <a:gd name="connsiteX9" fmla="*/ 3503540 w 3562106"/>
                  <a:gd name="connsiteY9" fmla="*/ 1809882 h 3499809"/>
                  <a:gd name="connsiteX10" fmla="*/ 3535071 w 3562106"/>
                  <a:gd name="connsiteY10" fmla="*/ 245942 h 3499809"/>
                  <a:gd name="connsiteX11" fmla="*/ 3503540 w 3562106"/>
                  <a:gd name="connsiteY11" fmla="*/ 94593 h 3499809"/>
                  <a:gd name="connsiteX12" fmla="*/ 3484622 w 3562106"/>
                  <a:gd name="connsiteY12" fmla="*/ 37838 h 3499809"/>
                  <a:gd name="connsiteX13" fmla="*/ 3440478 w 3562106"/>
                  <a:gd name="connsiteY13" fmla="*/ 12613 h 3499809"/>
                  <a:gd name="connsiteX14" fmla="*/ 3358497 w 3562106"/>
                  <a:gd name="connsiteY14" fmla="*/ 0 h 3499809"/>
                  <a:gd name="connsiteX15" fmla="*/ 3238679 w 3562106"/>
                  <a:gd name="connsiteY15" fmla="*/ 6307 h 3499809"/>
                  <a:gd name="connsiteX16" fmla="*/ 3169311 w 3562106"/>
                  <a:gd name="connsiteY16" fmla="*/ 18919 h 3499809"/>
                  <a:gd name="connsiteX17" fmla="*/ 2999044 w 3562106"/>
                  <a:gd name="connsiteY17" fmla="*/ 138737 h 3499809"/>
                  <a:gd name="connsiteX18" fmla="*/ 2891838 w 3562106"/>
                  <a:gd name="connsiteY18" fmla="*/ 245942 h 3499809"/>
                  <a:gd name="connsiteX19" fmla="*/ 2809857 w 3562106"/>
                  <a:gd name="connsiteY19" fmla="*/ 346842 h 3499809"/>
                  <a:gd name="connsiteX20" fmla="*/ 2816164 w 3562106"/>
                  <a:gd name="connsiteY20" fmla="*/ 309004 h 3499809"/>
                  <a:gd name="connsiteX21" fmla="*/ 2803551 w 3562106"/>
                  <a:gd name="connsiteY21" fmla="*/ 163962 h 3499809"/>
                  <a:gd name="connsiteX22" fmla="*/ 2797245 w 3562106"/>
                  <a:gd name="connsiteY22" fmla="*/ 145043 h 3499809"/>
                  <a:gd name="connsiteX23" fmla="*/ 2772020 w 3562106"/>
                  <a:gd name="connsiteY23" fmla="*/ 107206 h 3499809"/>
                  <a:gd name="connsiteX24" fmla="*/ 2721571 w 3562106"/>
                  <a:gd name="connsiteY24" fmla="*/ 56756 h 3499809"/>
                  <a:gd name="connsiteX25" fmla="*/ 2576528 w 3562106"/>
                  <a:gd name="connsiteY25" fmla="*/ 18919 h 3499809"/>
                  <a:gd name="connsiteX26" fmla="*/ 987364 w 3562106"/>
                  <a:gd name="connsiteY26" fmla="*/ 31531 h 3499809"/>
                  <a:gd name="connsiteX27" fmla="*/ 943220 w 3562106"/>
                  <a:gd name="connsiteY27" fmla="*/ 69369 h 3499809"/>
                  <a:gd name="connsiteX0" fmla="*/ 991000 w 3565742"/>
                  <a:gd name="connsiteY0" fmla="*/ 241062 h 3712127"/>
                  <a:gd name="connsiteX1" fmla="*/ 26150 w 3565742"/>
                  <a:gd name="connsiteY1" fmla="*/ 3450922 h 3712127"/>
                  <a:gd name="connsiteX2" fmla="*/ 2018911 w 3565742"/>
                  <a:gd name="connsiteY2" fmla="*/ 3526596 h 3712127"/>
                  <a:gd name="connsiteX3" fmla="*/ 2794575 w 3565742"/>
                  <a:gd name="connsiteY3" fmla="*/ 3532902 h 3712127"/>
                  <a:gd name="connsiteX4" fmla="*/ 2845024 w 3565742"/>
                  <a:gd name="connsiteY4" fmla="*/ 3526596 h 3712127"/>
                  <a:gd name="connsiteX5" fmla="*/ 2876555 w 3565742"/>
                  <a:gd name="connsiteY5" fmla="*/ 3501371 h 3712127"/>
                  <a:gd name="connsiteX6" fmla="*/ 2983761 w 3565742"/>
                  <a:gd name="connsiteY6" fmla="*/ 3381553 h 3712127"/>
                  <a:gd name="connsiteX7" fmla="*/ 3254928 w 3565742"/>
                  <a:gd name="connsiteY7" fmla="*/ 2845526 h 3712127"/>
                  <a:gd name="connsiteX8" fmla="*/ 3399971 w 3565742"/>
                  <a:gd name="connsiteY8" fmla="*/ 2454541 h 3712127"/>
                  <a:gd name="connsiteX9" fmla="*/ 3507176 w 3565742"/>
                  <a:gd name="connsiteY9" fmla="*/ 2019413 h 3712127"/>
                  <a:gd name="connsiteX10" fmla="*/ 3538707 w 3565742"/>
                  <a:gd name="connsiteY10" fmla="*/ 455473 h 3712127"/>
                  <a:gd name="connsiteX11" fmla="*/ 3507176 w 3565742"/>
                  <a:gd name="connsiteY11" fmla="*/ 304124 h 3712127"/>
                  <a:gd name="connsiteX12" fmla="*/ 3488258 w 3565742"/>
                  <a:gd name="connsiteY12" fmla="*/ 247369 h 3712127"/>
                  <a:gd name="connsiteX13" fmla="*/ 3444114 w 3565742"/>
                  <a:gd name="connsiteY13" fmla="*/ 222144 h 3712127"/>
                  <a:gd name="connsiteX14" fmla="*/ 3362133 w 3565742"/>
                  <a:gd name="connsiteY14" fmla="*/ 209531 h 3712127"/>
                  <a:gd name="connsiteX15" fmla="*/ 3242315 w 3565742"/>
                  <a:gd name="connsiteY15" fmla="*/ 215838 h 3712127"/>
                  <a:gd name="connsiteX16" fmla="*/ 3172947 w 3565742"/>
                  <a:gd name="connsiteY16" fmla="*/ 228450 h 3712127"/>
                  <a:gd name="connsiteX17" fmla="*/ 3002680 w 3565742"/>
                  <a:gd name="connsiteY17" fmla="*/ 348268 h 3712127"/>
                  <a:gd name="connsiteX18" fmla="*/ 2895474 w 3565742"/>
                  <a:gd name="connsiteY18" fmla="*/ 455473 h 3712127"/>
                  <a:gd name="connsiteX19" fmla="*/ 2813493 w 3565742"/>
                  <a:gd name="connsiteY19" fmla="*/ 556373 h 3712127"/>
                  <a:gd name="connsiteX20" fmla="*/ 2819800 w 3565742"/>
                  <a:gd name="connsiteY20" fmla="*/ 518535 h 3712127"/>
                  <a:gd name="connsiteX21" fmla="*/ 2807187 w 3565742"/>
                  <a:gd name="connsiteY21" fmla="*/ 373493 h 3712127"/>
                  <a:gd name="connsiteX22" fmla="*/ 2800881 w 3565742"/>
                  <a:gd name="connsiteY22" fmla="*/ 354574 h 3712127"/>
                  <a:gd name="connsiteX23" fmla="*/ 2775656 w 3565742"/>
                  <a:gd name="connsiteY23" fmla="*/ 316737 h 3712127"/>
                  <a:gd name="connsiteX24" fmla="*/ 2725207 w 3565742"/>
                  <a:gd name="connsiteY24" fmla="*/ 266287 h 3712127"/>
                  <a:gd name="connsiteX25" fmla="*/ 2580164 w 3565742"/>
                  <a:gd name="connsiteY25" fmla="*/ 228450 h 3712127"/>
                  <a:gd name="connsiteX26" fmla="*/ 991000 w 3565742"/>
                  <a:gd name="connsiteY26" fmla="*/ 241062 h 3712127"/>
                  <a:gd name="connsiteX0" fmla="*/ 991000 w 3565742"/>
                  <a:gd name="connsiteY0" fmla="*/ 241062 h 3712127"/>
                  <a:gd name="connsiteX1" fmla="*/ 26150 w 3565742"/>
                  <a:gd name="connsiteY1" fmla="*/ 3450922 h 3712127"/>
                  <a:gd name="connsiteX2" fmla="*/ 2018911 w 3565742"/>
                  <a:gd name="connsiteY2" fmla="*/ 3526596 h 3712127"/>
                  <a:gd name="connsiteX3" fmla="*/ 2794575 w 3565742"/>
                  <a:gd name="connsiteY3" fmla="*/ 3532902 h 3712127"/>
                  <a:gd name="connsiteX4" fmla="*/ 2845024 w 3565742"/>
                  <a:gd name="connsiteY4" fmla="*/ 3526596 h 3712127"/>
                  <a:gd name="connsiteX5" fmla="*/ 2876555 w 3565742"/>
                  <a:gd name="connsiteY5" fmla="*/ 3501371 h 3712127"/>
                  <a:gd name="connsiteX6" fmla="*/ 2983761 w 3565742"/>
                  <a:gd name="connsiteY6" fmla="*/ 3381553 h 3712127"/>
                  <a:gd name="connsiteX7" fmla="*/ 3254928 w 3565742"/>
                  <a:gd name="connsiteY7" fmla="*/ 2845526 h 3712127"/>
                  <a:gd name="connsiteX8" fmla="*/ 3399971 w 3565742"/>
                  <a:gd name="connsiteY8" fmla="*/ 2454541 h 3712127"/>
                  <a:gd name="connsiteX9" fmla="*/ 3507176 w 3565742"/>
                  <a:gd name="connsiteY9" fmla="*/ 2019413 h 3712127"/>
                  <a:gd name="connsiteX10" fmla="*/ 3538707 w 3565742"/>
                  <a:gd name="connsiteY10" fmla="*/ 455473 h 3712127"/>
                  <a:gd name="connsiteX11" fmla="*/ 3507176 w 3565742"/>
                  <a:gd name="connsiteY11" fmla="*/ 304124 h 3712127"/>
                  <a:gd name="connsiteX12" fmla="*/ 3488258 w 3565742"/>
                  <a:gd name="connsiteY12" fmla="*/ 247369 h 3712127"/>
                  <a:gd name="connsiteX13" fmla="*/ 3444114 w 3565742"/>
                  <a:gd name="connsiteY13" fmla="*/ 222144 h 3712127"/>
                  <a:gd name="connsiteX14" fmla="*/ 3362133 w 3565742"/>
                  <a:gd name="connsiteY14" fmla="*/ 209531 h 3712127"/>
                  <a:gd name="connsiteX15" fmla="*/ 3242315 w 3565742"/>
                  <a:gd name="connsiteY15" fmla="*/ 215838 h 3712127"/>
                  <a:gd name="connsiteX16" fmla="*/ 3172947 w 3565742"/>
                  <a:gd name="connsiteY16" fmla="*/ 228450 h 3712127"/>
                  <a:gd name="connsiteX17" fmla="*/ 3002680 w 3565742"/>
                  <a:gd name="connsiteY17" fmla="*/ 348268 h 3712127"/>
                  <a:gd name="connsiteX18" fmla="*/ 2895474 w 3565742"/>
                  <a:gd name="connsiteY18" fmla="*/ 455473 h 3712127"/>
                  <a:gd name="connsiteX19" fmla="*/ 2813493 w 3565742"/>
                  <a:gd name="connsiteY19" fmla="*/ 556373 h 3712127"/>
                  <a:gd name="connsiteX20" fmla="*/ 2819800 w 3565742"/>
                  <a:gd name="connsiteY20" fmla="*/ 518535 h 3712127"/>
                  <a:gd name="connsiteX21" fmla="*/ 2807187 w 3565742"/>
                  <a:gd name="connsiteY21" fmla="*/ 373493 h 3712127"/>
                  <a:gd name="connsiteX22" fmla="*/ 2800881 w 3565742"/>
                  <a:gd name="connsiteY22" fmla="*/ 354574 h 3712127"/>
                  <a:gd name="connsiteX23" fmla="*/ 2775656 w 3565742"/>
                  <a:gd name="connsiteY23" fmla="*/ 316737 h 3712127"/>
                  <a:gd name="connsiteX24" fmla="*/ 2725207 w 3565742"/>
                  <a:gd name="connsiteY24" fmla="*/ 266287 h 3712127"/>
                  <a:gd name="connsiteX25" fmla="*/ 2580164 w 3565742"/>
                  <a:gd name="connsiteY25" fmla="*/ 228450 h 3712127"/>
                  <a:gd name="connsiteX26" fmla="*/ 991000 w 3565742"/>
                  <a:gd name="connsiteY26" fmla="*/ 241062 h 3712127"/>
                  <a:gd name="connsiteX0" fmla="*/ 980278 w 3555020"/>
                  <a:gd name="connsiteY0" fmla="*/ 241062 h 3712127"/>
                  <a:gd name="connsiteX1" fmla="*/ 15428 w 3555020"/>
                  <a:gd name="connsiteY1" fmla="*/ 3450922 h 3712127"/>
                  <a:gd name="connsiteX2" fmla="*/ 2008189 w 3555020"/>
                  <a:gd name="connsiteY2" fmla="*/ 3526596 h 3712127"/>
                  <a:gd name="connsiteX3" fmla="*/ 2783853 w 3555020"/>
                  <a:gd name="connsiteY3" fmla="*/ 3532902 h 3712127"/>
                  <a:gd name="connsiteX4" fmla="*/ 2834302 w 3555020"/>
                  <a:gd name="connsiteY4" fmla="*/ 3526596 h 3712127"/>
                  <a:gd name="connsiteX5" fmla="*/ 2865833 w 3555020"/>
                  <a:gd name="connsiteY5" fmla="*/ 3501371 h 3712127"/>
                  <a:gd name="connsiteX6" fmla="*/ 2973039 w 3555020"/>
                  <a:gd name="connsiteY6" fmla="*/ 3381553 h 3712127"/>
                  <a:gd name="connsiteX7" fmla="*/ 3244206 w 3555020"/>
                  <a:gd name="connsiteY7" fmla="*/ 2845526 h 3712127"/>
                  <a:gd name="connsiteX8" fmla="*/ 3389249 w 3555020"/>
                  <a:gd name="connsiteY8" fmla="*/ 2454541 h 3712127"/>
                  <a:gd name="connsiteX9" fmla="*/ 3496454 w 3555020"/>
                  <a:gd name="connsiteY9" fmla="*/ 2019413 h 3712127"/>
                  <a:gd name="connsiteX10" fmla="*/ 3527985 w 3555020"/>
                  <a:gd name="connsiteY10" fmla="*/ 455473 h 3712127"/>
                  <a:gd name="connsiteX11" fmla="*/ 3496454 w 3555020"/>
                  <a:gd name="connsiteY11" fmla="*/ 304124 h 3712127"/>
                  <a:gd name="connsiteX12" fmla="*/ 3477536 w 3555020"/>
                  <a:gd name="connsiteY12" fmla="*/ 247369 h 3712127"/>
                  <a:gd name="connsiteX13" fmla="*/ 3433392 w 3555020"/>
                  <a:gd name="connsiteY13" fmla="*/ 222144 h 3712127"/>
                  <a:gd name="connsiteX14" fmla="*/ 3351411 w 3555020"/>
                  <a:gd name="connsiteY14" fmla="*/ 209531 h 3712127"/>
                  <a:gd name="connsiteX15" fmla="*/ 3231593 w 3555020"/>
                  <a:gd name="connsiteY15" fmla="*/ 215838 h 3712127"/>
                  <a:gd name="connsiteX16" fmla="*/ 3162225 w 3555020"/>
                  <a:gd name="connsiteY16" fmla="*/ 228450 h 3712127"/>
                  <a:gd name="connsiteX17" fmla="*/ 2991958 w 3555020"/>
                  <a:gd name="connsiteY17" fmla="*/ 348268 h 3712127"/>
                  <a:gd name="connsiteX18" fmla="*/ 2884752 w 3555020"/>
                  <a:gd name="connsiteY18" fmla="*/ 455473 h 3712127"/>
                  <a:gd name="connsiteX19" fmla="*/ 2802771 w 3555020"/>
                  <a:gd name="connsiteY19" fmla="*/ 556373 h 3712127"/>
                  <a:gd name="connsiteX20" fmla="*/ 2809078 w 3555020"/>
                  <a:gd name="connsiteY20" fmla="*/ 518535 h 3712127"/>
                  <a:gd name="connsiteX21" fmla="*/ 2796465 w 3555020"/>
                  <a:gd name="connsiteY21" fmla="*/ 373493 h 3712127"/>
                  <a:gd name="connsiteX22" fmla="*/ 2790159 w 3555020"/>
                  <a:gd name="connsiteY22" fmla="*/ 354574 h 3712127"/>
                  <a:gd name="connsiteX23" fmla="*/ 2764934 w 3555020"/>
                  <a:gd name="connsiteY23" fmla="*/ 316737 h 3712127"/>
                  <a:gd name="connsiteX24" fmla="*/ 2714485 w 3555020"/>
                  <a:gd name="connsiteY24" fmla="*/ 266287 h 3712127"/>
                  <a:gd name="connsiteX25" fmla="*/ 2569442 w 3555020"/>
                  <a:gd name="connsiteY25" fmla="*/ 228450 h 3712127"/>
                  <a:gd name="connsiteX26" fmla="*/ 980278 w 3555020"/>
                  <a:gd name="connsiteY26" fmla="*/ 241062 h 3712127"/>
                  <a:gd name="connsiteX0" fmla="*/ 964850 w 3539592"/>
                  <a:gd name="connsiteY0" fmla="*/ 241062 h 3712127"/>
                  <a:gd name="connsiteX1" fmla="*/ 0 w 3539592"/>
                  <a:gd name="connsiteY1" fmla="*/ 3450922 h 3712127"/>
                  <a:gd name="connsiteX2" fmla="*/ 1992761 w 3539592"/>
                  <a:gd name="connsiteY2" fmla="*/ 3526596 h 3712127"/>
                  <a:gd name="connsiteX3" fmla="*/ 2768425 w 3539592"/>
                  <a:gd name="connsiteY3" fmla="*/ 3532902 h 3712127"/>
                  <a:gd name="connsiteX4" fmla="*/ 2818874 w 3539592"/>
                  <a:gd name="connsiteY4" fmla="*/ 3526596 h 3712127"/>
                  <a:gd name="connsiteX5" fmla="*/ 2850405 w 3539592"/>
                  <a:gd name="connsiteY5" fmla="*/ 3501371 h 3712127"/>
                  <a:gd name="connsiteX6" fmla="*/ 2957611 w 3539592"/>
                  <a:gd name="connsiteY6" fmla="*/ 3381553 h 3712127"/>
                  <a:gd name="connsiteX7" fmla="*/ 3228778 w 3539592"/>
                  <a:gd name="connsiteY7" fmla="*/ 2845526 h 3712127"/>
                  <a:gd name="connsiteX8" fmla="*/ 3373821 w 3539592"/>
                  <a:gd name="connsiteY8" fmla="*/ 2454541 h 3712127"/>
                  <a:gd name="connsiteX9" fmla="*/ 3481026 w 3539592"/>
                  <a:gd name="connsiteY9" fmla="*/ 2019413 h 3712127"/>
                  <a:gd name="connsiteX10" fmla="*/ 3512557 w 3539592"/>
                  <a:gd name="connsiteY10" fmla="*/ 455473 h 3712127"/>
                  <a:gd name="connsiteX11" fmla="*/ 3481026 w 3539592"/>
                  <a:gd name="connsiteY11" fmla="*/ 304124 h 3712127"/>
                  <a:gd name="connsiteX12" fmla="*/ 3462108 w 3539592"/>
                  <a:gd name="connsiteY12" fmla="*/ 247369 h 3712127"/>
                  <a:gd name="connsiteX13" fmla="*/ 3417964 w 3539592"/>
                  <a:gd name="connsiteY13" fmla="*/ 222144 h 3712127"/>
                  <a:gd name="connsiteX14" fmla="*/ 3335983 w 3539592"/>
                  <a:gd name="connsiteY14" fmla="*/ 209531 h 3712127"/>
                  <a:gd name="connsiteX15" fmla="*/ 3216165 w 3539592"/>
                  <a:gd name="connsiteY15" fmla="*/ 215838 h 3712127"/>
                  <a:gd name="connsiteX16" fmla="*/ 3146797 w 3539592"/>
                  <a:gd name="connsiteY16" fmla="*/ 228450 h 3712127"/>
                  <a:gd name="connsiteX17" fmla="*/ 2976530 w 3539592"/>
                  <a:gd name="connsiteY17" fmla="*/ 348268 h 3712127"/>
                  <a:gd name="connsiteX18" fmla="*/ 2869324 w 3539592"/>
                  <a:gd name="connsiteY18" fmla="*/ 455473 h 3712127"/>
                  <a:gd name="connsiteX19" fmla="*/ 2787343 w 3539592"/>
                  <a:gd name="connsiteY19" fmla="*/ 556373 h 3712127"/>
                  <a:gd name="connsiteX20" fmla="*/ 2793650 w 3539592"/>
                  <a:gd name="connsiteY20" fmla="*/ 518535 h 3712127"/>
                  <a:gd name="connsiteX21" fmla="*/ 2781037 w 3539592"/>
                  <a:gd name="connsiteY21" fmla="*/ 373493 h 3712127"/>
                  <a:gd name="connsiteX22" fmla="*/ 2774731 w 3539592"/>
                  <a:gd name="connsiteY22" fmla="*/ 354574 h 3712127"/>
                  <a:gd name="connsiteX23" fmla="*/ 2749506 w 3539592"/>
                  <a:gd name="connsiteY23" fmla="*/ 316737 h 3712127"/>
                  <a:gd name="connsiteX24" fmla="*/ 2699057 w 3539592"/>
                  <a:gd name="connsiteY24" fmla="*/ 266287 h 3712127"/>
                  <a:gd name="connsiteX25" fmla="*/ 2554014 w 3539592"/>
                  <a:gd name="connsiteY25" fmla="*/ 228450 h 3712127"/>
                  <a:gd name="connsiteX26" fmla="*/ 964850 w 3539592"/>
                  <a:gd name="connsiteY26" fmla="*/ 241062 h 3712127"/>
                  <a:gd name="connsiteX0" fmla="*/ 964850 w 3539592"/>
                  <a:gd name="connsiteY0" fmla="*/ 241062 h 3534156"/>
                  <a:gd name="connsiteX1" fmla="*/ 0 w 3539592"/>
                  <a:gd name="connsiteY1" fmla="*/ 3450922 h 3534156"/>
                  <a:gd name="connsiteX2" fmla="*/ 1992761 w 3539592"/>
                  <a:gd name="connsiteY2" fmla="*/ 3526596 h 3534156"/>
                  <a:gd name="connsiteX3" fmla="*/ 2768425 w 3539592"/>
                  <a:gd name="connsiteY3" fmla="*/ 3532902 h 3534156"/>
                  <a:gd name="connsiteX4" fmla="*/ 2818874 w 3539592"/>
                  <a:gd name="connsiteY4" fmla="*/ 3526596 h 3534156"/>
                  <a:gd name="connsiteX5" fmla="*/ 2850405 w 3539592"/>
                  <a:gd name="connsiteY5" fmla="*/ 3501371 h 3534156"/>
                  <a:gd name="connsiteX6" fmla="*/ 2957611 w 3539592"/>
                  <a:gd name="connsiteY6" fmla="*/ 3381553 h 3534156"/>
                  <a:gd name="connsiteX7" fmla="*/ 3228778 w 3539592"/>
                  <a:gd name="connsiteY7" fmla="*/ 2845526 h 3534156"/>
                  <a:gd name="connsiteX8" fmla="*/ 3373821 w 3539592"/>
                  <a:gd name="connsiteY8" fmla="*/ 2454541 h 3534156"/>
                  <a:gd name="connsiteX9" fmla="*/ 3481026 w 3539592"/>
                  <a:gd name="connsiteY9" fmla="*/ 2019413 h 3534156"/>
                  <a:gd name="connsiteX10" fmla="*/ 3512557 w 3539592"/>
                  <a:gd name="connsiteY10" fmla="*/ 455473 h 3534156"/>
                  <a:gd name="connsiteX11" fmla="*/ 3481026 w 3539592"/>
                  <a:gd name="connsiteY11" fmla="*/ 304124 h 3534156"/>
                  <a:gd name="connsiteX12" fmla="*/ 3462108 w 3539592"/>
                  <a:gd name="connsiteY12" fmla="*/ 247369 h 3534156"/>
                  <a:gd name="connsiteX13" fmla="*/ 3417964 w 3539592"/>
                  <a:gd name="connsiteY13" fmla="*/ 222144 h 3534156"/>
                  <a:gd name="connsiteX14" fmla="*/ 3335983 w 3539592"/>
                  <a:gd name="connsiteY14" fmla="*/ 209531 h 3534156"/>
                  <a:gd name="connsiteX15" fmla="*/ 3216165 w 3539592"/>
                  <a:gd name="connsiteY15" fmla="*/ 215838 h 3534156"/>
                  <a:gd name="connsiteX16" fmla="*/ 3146797 w 3539592"/>
                  <a:gd name="connsiteY16" fmla="*/ 228450 h 3534156"/>
                  <a:gd name="connsiteX17" fmla="*/ 2976530 w 3539592"/>
                  <a:gd name="connsiteY17" fmla="*/ 348268 h 3534156"/>
                  <a:gd name="connsiteX18" fmla="*/ 2869324 w 3539592"/>
                  <a:gd name="connsiteY18" fmla="*/ 455473 h 3534156"/>
                  <a:gd name="connsiteX19" fmla="*/ 2787343 w 3539592"/>
                  <a:gd name="connsiteY19" fmla="*/ 556373 h 3534156"/>
                  <a:gd name="connsiteX20" fmla="*/ 2793650 w 3539592"/>
                  <a:gd name="connsiteY20" fmla="*/ 518535 h 3534156"/>
                  <a:gd name="connsiteX21" fmla="*/ 2781037 w 3539592"/>
                  <a:gd name="connsiteY21" fmla="*/ 373493 h 3534156"/>
                  <a:gd name="connsiteX22" fmla="*/ 2774731 w 3539592"/>
                  <a:gd name="connsiteY22" fmla="*/ 354574 h 3534156"/>
                  <a:gd name="connsiteX23" fmla="*/ 2749506 w 3539592"/>
                  <a:gd name="connsiteY23" fmla="*/ 316737 h 3534156"/>
                  <a:gd name="connsiteX24" fmla="*/ 2699057 w 3539592"/>
                  <a:gd name="connsiteY24" fmla="*/ 266287 h 3534156"/>
                  <a:gd name="connsiteX25" fmla="*/ 2554014 w 3539592"/>
                  <a:gd name="connsiteY25" fmla="*/ 228450 h 3534156"/>
                  <a:gd name="connsiteX26" fmla="*/ 964850 w 3539592"/>
                  <a:gd name="connsiteY26" fmla="*/ 241062 h 3534156"/>
                  <a:gd name="connsiteX0" fmla="*/ 964850 w 3539592"/>
                  <a:gd name="connsiteY0" fmla="*/ 232230 h 3525324"/>
                  <a:gd name="connsiteX1" fmla="*/ 0 w 3539592"/>
                  <a:gd name="connsiteY1" fmla="*/ 3442090 h 3525324"/>
                  <a:gd name="connsiteX2" fmla="*/ 1992761 w 3539592"/>
                  <a:gd name="connsiteY2" fmla="*/ 3517764 h 3525324"/>
                  <a:gd name="connsiteX3" fmla="*/ 2768425 w 3539592"/>
                  <a:gd name="connsiteY3" fmla="*/ 3524070 h 3525324"/>
                  <a:gd name="connsiteX4" fmla="*/ 2818874 w 3539592"/>
                  <a:gd name="connsiteY4" fmla="*/ 3517764 h 3525324"/>
                  <a:gd name="connsiteX5" fmla="*/ 2850405 w 3539592"/>
                  <a:gd name="connsiteY5" fmla="*/ 3492539 h 3525324"/>
                  <a:gd name="connsiteX6" fmla="*/ 2957611 w 3539592"/>
                  <a:gd name="connsiteY6" fmla="*/ 3372721 h 3525324"/>
                  <a:gd name="connsiteX7" fmla="*/ 3228778 w 3539592"/>
                  <a:gd name="connsiteY7" fmla="*/ 2836694 h 3525324"/>
                  <a:gd name="connsiteX8" fmla="*/ 3373821 w 3539592"/>
                  <a:gd name="connsiteY8" fmla="*/ 2445709 h 3525324"/>
                  <a:gd name="connsiteX9" fmla="*/ 3481026 w 3539592"/>
                  <a:gd name="connsiteY9" fmla="*/ 2010581 h 3525324"/>
                  <a:gd name="connsiteX10" fmla="*/ 3512557 w 3539592"/>
                  <a:gd name="connsiteY10" fmla="*/ 446641 h 3525324"/>
                  <a:gd name="connsiteX11" fmla="*/ 3481026 w 3539592"/>
                  <a:gd name="connsiteY11" fmla="*/ 295292 h 3525324"/>
                  <a:gd name="connsiteX12" fmla="*/ 3462108 w 3539592"/>
                  <a:gd name="connsiteY12" fmla="*/ 238537 h 3525324"/>
                  <a:gd name="connsiteX13" fmla="*/ 3417964 w 3539592"/>
                  <a:gd name="connsiteY13" fmla="*/ 213312 h 3525324"/>
                  <a:gd name="connsiteX14" fmla="*/ 3335983 w 3539592"/>
                  <a:gd name="connsiteY14" fmla="*/ 200699 h 3525324"/>
                  <a:gd name="connsiteX15" fmla="*/ 3216165 w 3539592"/>
                  <a:gd name="connsiteY15" fmla="*/ 207006 h 3525324"/>
                  <a:gd name="connsiteX16" fmla="*/ 3146797 w 3539592"/>
                  <a:gd name="connsiteY16" fmla="*/ 219618 h 3525324"/>
                  <a:gd name="connsiteX17" fmla="*/ 2976530 w 3539592"/>
                  <a:gd name="connsiteY17" fmla="*/ 339436 h 3525324"/>
                  <a:gd name="connsiteX18" fmla="*/ 2869324 w 3539592"/>
                  <a:gd name="connsiteY18" fmla="*/ 446641 h 3525324"/>
                  <a:gd name="connsiteX19" fmla="*/ 2787343 w 3539592"/>
                  <a:gd name="connsiteY19" fmla="*/ 547541 h 3525324"/>
                  <a:gd name="connsiteX20" fmla="*/ 2793650 w 3539592"/>
                  <a:gd name="connsiteY20" fmla="*/ 509703 h 3525324"/>
                  <a:gd name="connsiteX21" fmla="*/ 2781037 w 3539592"/>
                  <a:gd name="connsiteY21" fmla="*/ 364661 h 3525324"/>
                  <a:gd name="connsiteX22" fmla="*/ 2774731 w 3539592"/>
                  <a:gd name="connsiteY22" fmla="*/ 345742 h 3525324"/>
                  <a:gd name="connsiteX23" fmla="*/ 2749506 w 3539592"/>
                  <a:gd name="connsiteY23" fmla="*/ 307905 h 3525324"/>
                  <a:gd name="connsiteX24" fmla="*/ 2699057 w 3539592"/>
                  <a:gd name="connsiteY24" fmla="*/ 257455 h 3525324"/>
                  <a:gd name="connsiteX25" fmla="*/ 964850 w 3539592"/>
                  <a:gd name="connsiteY25" fmla="*/ 232230 h 3525324"/>
                  <a:gd name="connsiteX0" fmla="*/ 964850 w 3539592"/>
                  <a:gd name="connsiteY0" fmla="*/ 217745 h 3510839"/>
                  <a:gd name="connsiteX1" fmla="*/ 0 w 3539592"/>
                  <a:gd name="connsiteY1" fmla="*/ 3427605 h 3510839"/>
                  <a:gd name="connsiteX2" fmla="*/ 1992761 w 3539592"/>
                  <a:gd name="connsiteY2" fmla="*/ 3503279 h 3510839"/>
                  <a:gd name="connsiteX3" fmla="*/ 2768425 w 3539592"/>
                  <a:gd name="connsiteY3" fmla="*/ 3509585 h 3510839"/>
                  <a:gd name="connsiteX4" fmla="*/ 2818874 w 3539592"/>
                  <a:gd name="connsiteY4" fmla="*/ 3503279 h 3510839"/>
                  <a:gd name="connsiteX5" fmla="*/ 2850405 w 3539592"/>
                  <a:gd name="connsiteY5" fmla="*/ 3478054 h 3510839"/>
                  <a:gd name="connsiteX6" fmla="*/ 2957611 w 3539592"/>
                  <a:gd name="connsiteY6" fmla="*/ 3358236 h 3510839"/>
                  <a:gd name="connsiteX7" fmla="*/ 3228778 w 3539592"/>
                  <a:gd name="connsiteY7" fmla="*/ 2822209 h 3510839"/>
                  <a:gd name="connsiteX8" fmla="*/ 3373821 w 3539592"/>
                  <a:gd name="connsiteY8" fmla="*/ 2431224 h 3510839"/>
                  <a:gd name="connsiteX9" fmla="*/ 3481026 w 3539592"/>
                  <a:gd name="connsiteY9" fmla="*/ 1996096 h 3510839"/>
                  <a:gd name="connsiteX10" fmla="*/ 3512557 w 3539592"/>
                  <a:gd name="connsiteY10" fmla="*/ 432156 h 3510839"/>
                  <a:gd name="connsiteX11" fmla="*/ 3481026 w 3539592"/>
                  <a:gd name="connsiteY11" fmla="*/ 280807 h 3510839"/>
                  <a:gd name="connsiteX12" fmla="*/ 3462108 w 3539592"/>
                  <a:gd name="connsiteY12" fmla="*/ 224052 h 3510839"/>
                  <a:gd name="connsiteX13" fmla="*/ 3417964 w 3539592"/>
                  <a:gd name="connsiteY13" fmla="*/ 198827 h 3510839"/>
                  <a:gd name="connsiteX14" fmla="*/ 3335983 w 3539592"/>
                  <a:gd name="connsiteY14" fmla="*/ 186214 h 3510839"/>
                  <a:gd name="connsiteX15" fmla="*/ 3216165 w 3539592"/>
                  <a:gd name="connsiteY15" fmla="*/ 192521 h 3510839"/>
                  <a:gd name="connsiteX16" fmla="*/ 3146797 w 3539592"/>
                  <a:gd name="connsiteY16" fmla="*/ 205133 h 3510839"/>
                  <a:gd name="connsiteX17" fmla="*/ 2976530 w 3539592"/>
                  <a:gd name="connsiteY17" fmla="*/ 324951 h 3510839"/>
                  <a:gd name="connsiteX18" fmla="*/ 2869324 w 3539592"/>
                  <a:gd name="connsiteY18" fmla="*/ 432156 h 3510839"/>
                  <a:gd name="connsiteX19" fmla="*/ 2787343 w 3539592"/>
                  <a:gd name="connsiteY19" fmla="*/ 533056 h 3510839"/>
                  <a:gd name="connsiteX20" fmla="*/ 2793650 w 3539592"/>
                  <a:gd name="connsiteY20" fmla="*/ 495218 h 3510839"/>
                  <a:gd name="connsiteX21" fmla="*/ 2781037 w 3539592"/>
                  <a:gd name="connsiteY21" fmla="*/ 350176 h 3510839"/>
                  <a:gd name="connsiteX22" fmla="*/ 2774731 w 3539592"/>
                  <a:gd name="connsiteY22" fmla="*/ 331257 h 3510839"/>
                  <a:gd name="connsiteX23" fmla="*/ 2749506 w 3539592"/>
                  <a:gd name="connsiteY23" fmla="*/ 293420 h 3510839"/>
                  <a:gd name="connsiteX24" fmla="*/ 964850 w 3539592"/>
                  <a:gd name="connsiteY24" fmla="*/ 217745 h 3510839"/>
                  <a:gd name="connsiteX0" fmla="*/ 964850 w 3539592"/>
                  <a:gd name="connsiteY0" fmla="*/ 207257 h 3500351"/>
                  <a:gd name="connsiteX1" fmla="*/ 0 w 3539592"/>
                  <a:gd name="connsiteY1" fmla="*/ 3417117 h 3500351"/>
                  <a:gd name="connsiteX2" fmla="*/ 1992761 w 3539592"/>
                  <a:gd name="connsiteY2" fmla="*/ 3492791 h 3500351"/>
                  <a:gd name="connsiteX3" fmla="*/ 2768425 w 3539592"/>
                  <a:gd name="connsiteY3" fmla="*/ 3499097 h 3500351"/>
                  <a:gd name="connsiteX4" fmla="*/ 2818874 w 3539592"/>
                  <a:gd name="connsiteY4" fmla="*/ 3492791 h 3500351"/>
                  <a:gd name="connsiteX5" fmla="*/ 2850405 w 3539592"/>
                  <a:gd name="connsiteY5" fmla="*/ 3467566 h 3500351"/>
                  <a:gd name="connsiteX6" fmla="*/ 2957611 w 3539592"/>
                  <a:gd name="connsiteY6" fmla="*/ 3347748 h 3500351"/>
                  <a:gd name="connsiteX7" fmla="*/ 3228778 w 3539592"/>
                  <a:gd name="connsiteY7" fmla="*/ 2811721 h 3500351"/>
                  <a:gd name="connsiteX8" fmla="*/ 3373821 w 3539592"/>
                  <a:gd name="connsiteY8" fmla="*/ 2420736 h 3500351"/>
                  <a:gd name="connsiteX9" fmla="*/ 3481026 w 3539592"/>
                  <a:gd name="connsiteY9" fmla="*/ 1985608 h 3500351"/>
                  <a:gd name="connsiteX10" fmla="*/ 3512557 w 3539592"/>
                  <a:gd name="connsiteY10" fmla="*/ 421668 h 3500351"/>
                  <a:gd name="connsiteX11" fmla="*/ 3481026 w 3539592"/>
                  <a:gd name="connsiteY11" fmla="*/ 270319 h 3500351"/>
                  <a:gd name="connsiteX12" fmla="*/ 3462108 w 3539592"/>
                  <a:gd name="connsiteY12" fmla="*/ 213564 h 3500351"/>
                  <a:gd name="connsiteX13" fmla="*/ 3417964 w 3539592"/>
                  <a:gd name="connsiteY13" fmla="*/ 188339 h 3500351"/>
                  <a:gd name="connsiteX14" fmla="*/ 3335983 w 3539592"/>
                  <a:gd name="connsiteY14" fmla="*/ 175726 h 3500351"/>
                  <a:gd name="connsiteX15" fmla="*/ 3216165 w 3539592"/>
                  <a:gd name="connsiteY15" fmla="*/ 182033 h 3500351"/>
                  <a:gd name="connsiteX16" fmla="*/ 3146797 w 3539592"/>
                  <a:gd name="connsiteY16" fmla="*/ 194645 h 3500351"/>
                  <a:gd name="connsiteX17" fmla="*/ 2976530 w 3539592"/>
                  <a:gd name="connsiteY17" fmla="*/ 314463 h 3500351"/>
                  <a:gd name="connsiteX18" fmla="*/ 2869324 w 3539592"/>
                  <a:gd name="connsiteY18" fmla="*/ 421668 h 3500351"/>
                  <a:gd name="connsiteX19" fmla="*/ 2787343 w 3539592"/>
                  <a:gd name="connsiteY19" fmla="*/ 522568 h 3500351"/>
                  <a:gd name="connsiteX20" fmla="*/ 2793650 w 3539592"/>
                  <a:gd name="connsiteY20" fmla="*/ 484730 h 3500351"/>
                  <a:gd name="connsiteX21" fmla="*/ 2781037 w 3539592"/>
                  <a:gd name="connsiteY21" fmla="*/ 339688 h 3500351"/>
                  <a:gd name="connsiteX22" fmla="*/ 2774731 w 3539592"/>
                  <a:gd name="connsiteY22" fmla="*/ 320769 h 3500351"/>
                  <a:gd name="connsiteX23" fmla="*/ 964850 w 3539592"/>
                  <a:gd name="connsiteY23" fmla="*/ 207257 h 3500351"/>
                  <a:gd name="connsiteX0" fmla="*/ 964850 w 3539592"/>
                  <a:gd name="connsiteY0" fmla="*/ 206351 h 3499445"/>
                  <a:gd name="connsiteX1" fmla="*/ 0 w 3539592"/>
                  <a:gd name="connsiteY1" fmla="*/ 3416211 h 3499445"/>
                  <a:gd name="connsiteX2" fmla="*/ 1992761 w 3539592"/>
                  <a:gd name="connsiteY2" fmla="*/ 3491885 h 3499445"/>
                  <a:gd name="connsiteX3" fmla="*/ 2768425 w 3539592"/>
                  <a:gd name="connsiteY3" fmla="*/ 3498191 h 3499445"/>
                  <a:gd name="connsiteX4" fmla="*/ 2818874 w 3539592"/>
                  <a:gd name="connsiteY4" fmla="*/ 3491885 h 3499445"/>
                  <a:gd name="connsiteX5" fmla="*/ 2850405 w 3539592"/>
                  <a:gd name="connsiteY5" fmla="*/ 3466660 h 3499445"/>
                  <a:gd name="connsiteX6" fmla="*/ 2957611 w 3539592"/>
                  <a:gd name="connsiteY6" fmla="*/ 3346842 h 3499445"/>
                  <a:gd name="connsiteX7" fmla="*/ 3228778 w 3539592"/>
                  <a:gd name="connsiteY7" fmla="*/ 2810815 h 3499445"/>
                  <a:gd name="connsiteX8" fmla="*/ 3373821 w 3539592"/>
                  <a:gd name="connsiteY8" fmla="*/ 2419830 h 3499445"/>
                  <a:gd name="connsiteX9" fmla="*/ 3481026 w 3539592"/>
                  <a:gd name="connsiteY9" fmla="*/ 1984702 h 3499445"/>
                  <a:gd name="connsiteX10" fmla="*/ 3512557 w 3539592"/>
                  <a:gd name="connsiteY10" fmla="*/ 420762 h 3499445"/>
                  <a:gd name="connsiteX11" fmla="*/ 3481026 w 3539592"/>
                  <a:gd name="connsiteY11" fmla="*/ 269413 h 3499445"/>
                  <a:gd name="connsiteX12" fmla="*/ 3462108 w 3539592"/>
                  <a:gd name="connsiteY12" fmla="*/ 212658 h 3499445"/>
                  <a:gd name="connsiteX13" fmla="*/ 3417964 w 3539592"/>
                  <a:gd name="connsiteY13" fmla="*/ 187433 h 3499445"/>
                  <a:gd name="connsiteX14" fmla="*/ 3335983 w 3539592"/>
                  <a:gd name="connsiteY14" fmla="*/ 174820 h 3499445"/>
                  <a:gd name="connsiteX15" fmla="*/ 3216165 w 3539592"/>
                  <a:gd name="connsiteY15" fmla="*/ 181127 h 3499445"/>
                  <a:gd name="connsiteX16" fmla="*/ 3146797 w 3539592"/>
                  <a:gd name="connsiteY16" fmla="*/ 193739 h 3499445"/>
                  <a:gd name="connsiteX17" fmla="*/ 2976530 w 3539592"/>
                  <a:gd name="connsiteY17" fmla="*/ 313557 h 3499445"/>
                  <a:gd name="connsiteX18" fmla="*/ 2869324 w 3539592"/>
                  <a:gd name="connsiteY18" fmla="*/ 420762 h 3499445"/>
                  <a:gd name="connsiteX19" fmla="*/ 2787343 w 3539592"/>
                  <a:gd name="connsiteY19" fmla="*/ 521662 h 3499445"/>
                  <a:gd name="connsiteX20" fmla="*/ 2793650 w 3539592"/>
                  <a:gd name="connsiteY20" fmla="*/ 483824 h 3499445"/>
                  <a:gd name="connsiteX21" fmla="*/ 2781037 w 3539592"/>
                  <a:gd name="connsiteY21" fmla="*/ 338782 h 3499445"/>
                  <a:gd name="connsiteX22" fmla="*/ 964850 w 3539592"/>
                  <a:gd name="connsiteY22" fmla="*/ 206351 h 3499445"/>
                  <a:gd name="connsiteX0" fmla="*/ 964850 w 3539592"/>
                  <a:gd name="connsiteY0" fmla="*/ 170235 h 3463329"/>
                  <a:gd name="connsiteX1" fmla="*/ 0 w 3539592"/>
                  <a:gd name="connsiteY1" fmla="*/ 3380095 h 3463329"/>
                  <a:gd name="connsiteX2" fmla="*/ 1992761 w 3539592"/>
                  <a:gd name="connsiteY2" fmla="*/ 3455769 h 3463329"/>
                  <a:gd name="connsiteX3" fmla="*/ 2768425 w 3539592"/>
                  <a:gd name="connsiteY3" fmla="*/ 3462075 h 3463329"/>
                  <a:gd name="connsiteX4" fmla="*/ 2818874 w 3539592"/>
                  <a:gd name="connsiteY4" fmla="*/ 3455769 h 3463329"/>
                  <a:gd name="connsiteX5" fmla="*/ 2850405 w 3539592"/>
                  <a:gd name="connsiteY5" fmla="*/ 3430544 h 3463329"/>
                  <a:gd name="connsiteX6" fmla="*/ 2957611 w 3539592"/>
                  <a:gd name="connsiteY6" fmla="*/ 3310726 h 3463329"/>
                  <a:gd name="connsiteX7" fmla="*/ 3228778 w 3539592"/>
                  <a:gd name="connsiteY7" fmla="*/ 2774699 h 3463329"/>
                  <a:gd name="connsiteX8" fmla="*/ 3373821 w 3539592"/>
                  <a:gd name="connsiteY8" fmla="*/ 2383714 h 3463329"/>
                  <a:gd name="connsiteX9" fmla="*/ 3481026 w 3539592"/>
                  <a:gd name="connsiteY9" fmla="*/ 1948586 h 3463329"/>
                  <a:gd name="connsiteX10" fmla="*/ 3512557 w 3539592"/>
                  <a:gd name="connsiteY10" fmla="*/ 384646 h 3463329"/>
                  <a:gd name="connsiteX11" fmla="*/ 3481026 w 3539592"/>
                  <a:gd name="connsiteY11" fmla="*/ 233297 h 3463329"/>
                  <a:gd name="connsiteX12" fmla="*/ 3462108 w 3539592"/>
                  <a:gd name="connsiteY12" fmla="*/ 176542 h 3463329"/>
                  <a:gd name="connsiteX13" fmla="*/ 3417964 w 3539592"/>
                  <a:gd name="connsiteY13" fmla="*/ 151317 h 3463329"/>
                  <a:gd name="connsiteX14" fmla="*/ 3335983 w 3539592"/>
                  <a:gd name="connsiteY14" fmla="*/ 138704 h 3463329"/>
                  <a:gd name="connsiteX15" fmla="*/ 3216165 w 3539592"/>
                  <a:gd name="connsiteY15" fmla="*/ 145011 h 3463329"/>
                  <a:gd name="connsiteX16" fmla="*/ 3146797 w 3539592"/>
                  <a:gd name="connsiteY16" fmla="*/ 157623 h 3463329"/>
                  <a:gd name="connsiteX17" fmla="*/ 2976530 w 3539592"/>
                  <a:gd name="connsiteY17" fmla="*/ 277441 h 3463329"/>
                  <a:gd name="connsiteX18" fmla="*/ 2869324 w 3539592"/>
                  <a:gd name="connsiteY18" fmla="*/ 384646 h 3463329"/>
                  <a:gd name="connsiteX19" fmla="*/ 2787343 w 3539592"/>
                  <a:gd name="connsiteY19" fmla="*/ 485546 h 3463329"/>
                  <a:gd name="connsiteX20" fmla="*/ 2793650 w 3539592"/>
                  <a:gd name="connsiteY20" fmla="*/ 447708 h 3463329"/>
                  <a:gd name="connsiteX21" fmla="*/ 964850 w 3539592"/>
                  <a:gd name="connsiteY21" fmla="*/ 170235 h 3463329"/>
                  <a:gd name="connsiteX0" fmla="*/ 964850 w 3539592"/>
                  <a:gd name="connsiteY0" fmla="*/ 159554 h 3452648"/>
                  <a:gd name="connsiteX1" fmla="*/ 0 w 3539592"/>
                  <a:gd name="connsiteY1" fmla="*/ 3369414 h 3452648"/>
                  <a:gd name="connsiteX2" fmla="*/ 1992761 w 3539592"/>
                  <a:gd name="connsiteY2" fmla="*/ 3445088 h 3452648"/>
                  <a:gd name="connsiteX3" fmla="*/ 2768425 w 3539592"/>
                  <a:gd name="connsiteY3" fmla="*/ 3451394 h 3452648"/>
                  <a:gd name="connsiteX4" fmla="*/ 2818874 w 3539592"/>
                  <a:gd name="connsiteY4" fmla="*/ 3445088 h 3452648"/>
                  <a:gd name="connsiteX5" fmla="*/ 2850405 w 3539592"/>
                  <a:gd name="connsiteY5" fmla="*/ 3419863 h 3452648"/>
                  <a:gd name="connsiteX6" fmla="*/ 2957611 w 3539592"/>
                  <a:gd name="connsiteY6" fmla="*/ 3300045 h 3452648"/>
                  <a:gd name="connsiteX7" fmla="*/ 3228778 w 3539592"/>
                  <a:gd name="connsiteY7" fmla="*/ 2764018 h 3452648"/>
                  <a:gd name="connsiteX8" fmla="*/ 3373821 w 3539592"/>
                  <a:gd name="connsiteY8" fmla="*/ 2373033 h 3452648"/>
                  <a:gd name="connsiteX9" fmla="*/ 3481026 w 3539592"/>
                  <a:gd name="connsiteY9" fmla="*/ 1937905 h 3452648"/>
                  <a:gd name="connsiteX10" fmla="*/ 3512557 w 3539592"/>
                  <a:gd name="connsiteY10" fmla="*/ 373965 h 3452648"/>
                  <a:gd name="connsiteX11" fmla="*/ 3481026 w 3539592"/>
                  <a:gd name="connsiteY11" fmla="*/ 222616 h 3452648"/>
                  <a:gd name="connsiteX12" fmla="*/ 3462108 w 3539592"/>
                  <a:gd name="connsiteY12" fmla="*/ 165861 h 3452648"/>
                  <a:gd name="connsiteX13" fmla="*/ 3417964 w 3539592"/>
                  <a:gd name="connsiteY13" fmla="*/ 140636 h 3452648"/>
                  <a:gd name="connsiteX14" fmla="*/ 3335983 w 3539592"/>
                  <a:gd name="connsiteY14" fmla="*/ 128023 h 3452648"/>
                  <a:gd name="connsiteX15" fmla="*/ 3216165 w 3539592"/>
                  <a:gd name="connsiteY15" fmla="*/ 134330 h 3452648"/>
                  <a:gd name="connsiteX16" fmla="*/ 3146797 w 3539592"/>
                  <a:gd name="connsiteY16" fmla="*/ 146942 h 3452648"/>
                  <a:gd name="connsiteX17" fmla="*/ 2976530 w 3539592"/>
                  <a:gd name="connsiteY17" fmla="*/ 266760 h 3452648"/>
                  <a:gd name="connsiteX18" fmla="*/ 2869324 w 3539592"/>
                  <a:gd name="connsiteY18" fmla="*/ 373965 h 3452648"/>
                  <a:gd name="connsiteX19" fmla="*/ 2787343 w 3539592"/>
                  <a:gd name="connsiteY19" fmla="*/ 474865 h 3452648"/>
                  <a:gd name="connsiteX20" fmla="*/ 964850 w 3539592"/>
                  <a:gd name="connsiteY20" fmla="*/ 159554 h 3452648"/>
                  <a:gd name="connsiteX0" fmla="*/ 964850 w 3539592"/>
                  <a:gd name="connsiteY0" fmla="*/ 228914 h 3522008"/>
                  <a:gd name="connsiteX1" fmla="*/ 0 w 3539592"/>
                  <a:gd name="connsiteY1" fmla="*/ 3438774 h 3522008"/>
                  <a:gd name="connsiteX2" fmla="*/ 1992761 w 3539592"/>
                  <a:gd name="connsiteY2" fmla="*/ 3514448 h 3522008"/>
                  <a:gd name="connsiteX3" fmla="*/ 2768425 w 3539592"/>
                  <a:gd name="connsiteY3" fmla="*/ 3520754 h 3522008"/>
                  <a:gd name="connsiteX4" fmla="*/ 2818874 w 3539592"/>
                  <a:gd name="connsiteY4" fmla="*/ 3514448 h 3522008"/>
                  <a:gd name="connsiteX5" fmla="*/ 2850405 w 3539592"/>
                  <a:gd name="connsiteY5" fmla="*/ 3489223 h 3522008"/>
                  <a:gd name="connsiteX6" fmla="*/ 2957611 w 3539592"/>
                  <a:gd name="connsiteY6" fmla="*/ 3369405 h 3522008"/>
                  <a:gd name="connsiteX7" fmla="*/ 3228778 w 3539592"/>
                  <a:gd name="connsiteY7" fmla="*/ 2833378 h 3522008"/>
                  <a:gd name="connsiteX8" fmla="*/ 3373821 w 3539592"/>
                  <a:gd name="connsiteY8" fmla="*/ 2442393 h 3522008"/>
                  <a:gd name="connsiteX9" fmla="*/ 3481026 w 3539592"/>
                  <a:gd name="connsiteY9" fmla="*/ 2007265 h 3522008"/>
                  <a:gd name="connsiteX10" fmla="*/ 3512557 w 3539592"/>
                  <a:gd name="connsiteY10" fmla="*/ 443325 h 3522008"/>
                  <a:gd name="connsiteX11" fmla="*/ 3481026 w 3539592"/>
                  <a:gd name="connsiteY11" fmla="*/ 291976 h 3522008"/>
                  <a:gd name="connsiteX12" fmla="*/ 3462108 w 3539592"/>
                  <a:gd name="connsiteY12" fmla="*/ 235221 h 3522008"/>
                  <a:gd name="connsiteX13" fmla="*/ 3417964 w 3539592"/>
                  <a:gd name="connsiteY13" fmla="*/ 209996 h 3522008"/>
                  <a:gd name="connsiteX14" fmla="*/ 3335983 w 3539592"/>
                  <a:gd name="connsiteY14" fmla="*/ 197383 h 3522008"/>
                  <a:gd name="connsiteX15" fmla="*/ 3216165 w 3539592"/>
                  <a:gd name="connsiteY15" fmla="*/ 203690 h 3522008"/>
                  <a:gd name="connsiteX16" fmla="*/ 3146797 w 3539592"/>
                  <a:gd name="connsiteY16" fmla="*/ 216302 h 3522008"/>
                  <a:gd name="connsiteX17" fmla="*/ 2976530 w 3539592"/>
                  <a:gd name="connsiteY17" fmla="*/ 336120 h 3522008"/>
                  <a:gd name="connsiteX18" fmla="*/ 2869324 w 3539592"/>
                  <a:gd name="connsiteY18" fmla="*/ 443325 h 3522008"/>
                  <a:gd name="connsiteX19" fmla="*/ 2787343 w 3539592"/>
                  <a:gd name="connsiteY19" fmla="*/ 544225 h 3522008"/>
                  <a:gd name="connsiteX20" fmla="*/ 964850 w 3539592"/>
                  <a:gd name="connsiteY20" fmla="*/ 228914 h 3522008"/>
                  <a:gd name="connsiteX0" fmla="*/ 964850 w 3539592"/>
                  <a:gd name="connsiteY0" fmla="*/ 228914 h 3522008"/>
                  <a:gd name="connsiteX1" fmla="*/ 0 w 3539592"/>
                  <a:gd name="connsiteY1" fmla="*/ 3438774 h 3522008"/>
                  <a:gd name="connsiteX2" fmla="*/ 1992761 w 3539592"/>
                  <a:gd name="connsiteY2" fmla="*/ 3514448 h 3522008"/>
                  <a:gd name="connsiteX3" fmla="*/ 2768425 w 3539592"/>
                  <a:gd name="connsiteY3" fmla="*/ 3520754 h 3522008"/>
                  <a:gd name="connsiteX4" fmla="*/ 2818874 w 3539592"/>
                  <a:gd name="connsiteY4" fmla="*/ 3514448 h 3522008"/>
                  <a:gd name="connsiteX5" fmla="*/ 2850405 w 3539592"/>
                  <a:gd name="connsiteY5" fmla="*/ 3489223 h 3522008"/>
                  <a:gd name="connsiteX6" fmla="*/ 2957611 w 3539592"/>
                  <a:gd name="connsiteY6" fmla="*/ 3369405 h 3522008"/>
                  <a:gd name="connsiteX7" fmla="*/ 3228778 w 3539592"/>
                  <a:gd name="connsiteY7" fmla="*/ 2833378 h 3522008"/>
                  <a:gd name="connsiteX8" fmla="*/ 3373821 w 3539592"/>
                  <a:gd name="connsiteY8" fmla="*/ 2442393 h 3522008"/>
                  <a:gd name="connsiteX9" fmla="*/ 3481026 w 3539592"/>
                  <a:gd name="connsiteY9" fmla="*/ 2007265 h 3522008"/>
                  <a:gd name="connsiteX10" fmla="*/ 3512557 w 3539592"/>
                  <a:gd name="connsiteY10" fmla="*/ 443325 h 3522008"/>
                  <a:gd name="connsiteX11" fmla="*/ 3481026 w 3539592"/>
                  <a:gd name="connsiteY11" fmla="*/ 291976 h 3522008"/>
                  <a:gd name="connsiteX12" fmla="*/ 3462108 w 3539592"/>
                  <a:gd name="connsiteY12" fmla="*/ 235221 h 3522008"/>
                  <a:gd name="connsiteX13" fmla="*/ 3417964 w 3539592"/>
                  <a:gd name="connsiteY13" fmla="*/ 209996 h 3522008"/>
                  <a:gd name="connsiteX14" fmla="*/ 3335983 w 3539592"/>
                  <a:gd name="connsiteY14" fmla="*/ 197383 h 3522008"/>
                  <a:gd name="connsiteX15" fmla="*/ 3216165 w 3539592"/>
                  <a:gd name="connsiteY15" fmla="*/ 203690 h 3522008"/>
                  <a:gd name="connsiteX16" fmla="*/ 3146797 w 3539592"/>
                  <a:gd name="connsiteY16" fmla="*/ 216302 h 3522008"/>
                  <a:gd name="connsiteX17" fmla="*/ 2976530 w 3539592"/>
                  <a:gd name="connsiteY17" fmla="*/ 336120 h 3522008"/>
                  <a:gd name="connsiteX18" fmla="*/ 2787343 w 3539592"/>
                  <a:gd name="connsiteY18" fmla="*/ 544225 h 3522008"/>
                  <a:gd name="connsiteX19" fmla="*/ 964850 w 3539592"/>
                  <a:gd name="connsiteY19" fmla="*/ 228914 h 3522008"/>
                  <a:gd name="connsiteX0" fmla="*/ 964850 w 3539592"/>
                  <a:gd name="connsiteY0" fmla="*/ 228914 h 3522008"/>
                  <a:gd name="connsiteX1" fmla="*/ 0 w 3539592"/>
                  <a:gd name="connsiteY1" fmla="*/ 3438774 h 3522008"/>
                  <a:gd name="connsiteX2" fmla="*/ 1992761 w 3539592"/>
                  <a:gd name="connsiteY2" fmla="*/ 3514448 h 3522008"/>
                  <a:gd name="connsiteX3" fmla="*/ 2768425 w 3539592"/>
                  <a:gd name="connsiteY3" fmla="*/ 3520754 h 3522008"/>
                  <a:gd name="connsiteX4" fmla="*/ 2818874 w 3539592"/>
                  <a:gd name="connsiteY4" fmla="*/ 3514448 h 3522008"/>
                  <a:gd name="connsiteX5" fmla="*/ 2850405 w 3539592"/>
                  <a:gd name="connsiteY5" fmla="*/ 3489223 h 3522008"/>
                  <a:gd name="connsiteX6" fmla="*/ 2957611 w 3539592"/>
                  <a:gd name="connsiteY6" fmla="*/ 3369405 h 3522008"/>
                  <a:gd name="connsiteX7" fmla="*/ 3228778 w 3539592"/>
                  <a:gd name="connsiteY7" fmla="*/ 2833378 h 3522008"/>
                  <a:gd name="connsiteX8" fmla="*/ 3373821 w 3539592"/>
                  <a:gd name="connsiteY8" fmla="*/ 2442393 h 3522008"/>
                  <a:gd name="connsiteX9" fmla="*/ 3481026 w 3539592"/>
                  <a:gd name="connsiteY9" fmla="*/ 2007265 h 3522008"/>
                  <a:gd name="connsiteX10" fmla="*/ 3512557 w 3539592"/>
                  <a:gd name="connsiteY10" fmla="*/ 443325 h 3522008"/>
                  <a:gd name="connsiteX11" fmla="*/ 3481026 w 3539592"/>
                  <a:gd name="connsiteY11" fmla="*/ 291976 h 3522008"/>
                  <a:gd name="connsiteX12" fmla="*/ 3462108 w 3539592"/>
                  <a:gd name="connsiteY12" fmla="*/ 235221 h 3522008"/>
                  <a:gd name="connsiteX13" fmla="*/ 3417964 w 3539592"/>
                  <a:gd name="connsiteY13" fmla="*/ 209996 h 3522008"/>
                  <a:gd name="connsiteX14" fmla="*/ 3335983 w 3539592"/>
                  <a:gd name="connsiteY14" fmla="*/ 197383 h 3522008"/>
                  <a:gd name="connsiteX15" fmla="*/ 3216165 w 3539592"/>
                  <a:gd name="connsiteY15" fmla="*/ 203690 h 3522008"/>
                  <a:gd name="connsiteX16" fmla="*/ 3146797 w 3539592"/>
                  <a:gd name="connsiteY16" fmla="*/ 216302 h 3522008"/>
                  <a:gd name="connsiteX17" fmla="*/ 2787343 w 3539592"/>
                  <a:gd name="connsiteY17" fmla="*/ 544225 h 3522008"/>
                  <a:gd name="connsiteX18" fmla="*/ 964850 w 3539592"/>
                  <a:gd name="connsiteY18" fmla="*/ 228914 h 3522008"/>
                  <a:gd name="connsiteX0" fmla="*/ 964850 w 3539592"/>
                  <a:gd name="connsiteY0" fmla="*/ 228914 h 3522008"/>
                  <a:gd name="connsiteX1" fmla="*/ 0 w 3539592"/>
                  <a:gd name="connsiteY1" fmla="*/ 3438774 h 3522008"/>
                  <a:gd name="connsiteX2" fmla="*/ 1992761 w 3539592"/>
                  <a:gd name="connsiteY2" fmla="*/ 3514448 h 3522008"/>
                  <a:gd name="connsiteX3" fmla="*/ 2768425 w 3539592"/>
                  <a:gd name="connsiteY3" fmla="*/ 3520754 h 3522008"/>
                  <a:gd name="connsiteX4" fmla="*/ 2818874 w 3539592"/>
                  <a:gd name="connsiteY4" fmla="*/ 3514448 h 3522008"/>
                  <a:gd name="connsiteX5" fmla="*/ 2850405 w 3539592"/>
                  <a:gd name="connsiteY5" fmla="*/ 3489223 h 3522008"/>
                  <a:gd name="connsiteX6" fmla="*/ 2957611 w 3539592"/>
                  <a:gd name="connsiteY6" fmla="*/ 3369405 h 3522008"/>
                  <a:gd name="connsiteX7" fmla="*/ 3228778 w 3539592"/>
                  <a:gd name="connsiteY7" fmla="*/ 2833378 h 3522008"/>
                  <a:gd name="connsiteX8" fmla="*/ 3373821 w 3539592"/>
                  <a:gd name="connsiteY8" fmla="*/ 2442393 h 3522008"/>
                  <a:gd name="connsiteX9" fmla="*/ 3481026 w 3539592"/>
                  <a:gd name="connsiteY9" fmla="*/ 2007265 h 3522008"/>
                  <a:gd name="connsiteX10" fmla="*/ 3512557 w 3539592"/>
                  <a:gd name="connsiteY10" fmla="*/ 443325 h 3522008"/>
                  <a:gd name="connsiteX11" fmla="*/ 3481026 w 3539592"/>
                  <a:gd name="connsiteY11" fmla="*/ 291976 h 3522008"/>
                  <a:gd name="connsiteX12" fmla="*/ 3462108 w 3539592"/>
                  <a:gd name="connsiteY12" fmla="*/ 235221 h 3522008"/>
                  <a:gd name="connsiteX13" fmla="*/ 3417964 w 3539592"/>
                  <a:gd name="connsiteY13" fmla="*/ 209996 h 3522008"/>
                  <a:gd name="connsiteX14" fmla="*/ 3335983 w 3539592"/>
                  <a:gd name="connsiteY14" fmla="*/ 197383 h 3522008"/>
                  <a:gd name="connsiteX15" fmla="*/ 3216165 w 3539592"/>
                  <a:gd name="connsiteY15" fmla="*/ 203690 h 3522008"/>
                  <a:gd name="connsiteX16" fmla="*/ 2787343 w 3539592"/>
                  <a:gd name="connsiteY16" fmla="*/ 544225 h 3522008"/>
                  <a:gd name="connsiteX17" fmla="*/ 964850 w 3539592"/>
                  <a:gd name="connsiteY17" fmla="*/ 228914 h 3522008"/>
                  <a:gd name="connsiteX0" fmla="*/ 964850 w 3539592"/>
                  <a:gd name="connsiteY0" fmla="*/ 228914 h 3522008"/>
                  <a:gd name="connsiteX1" fmla="*/ 0 w 3539592"/>
                  <a:gd name="connsiteY1" fmla="*/ 3438774 h 3522008"/>
                  <a:gd name="connsiteX2" fmla="*/ 1992761 w 3539592"/>
                  <a:gd name="connsiteY2" fmla="*/ 3514448 h 3522008"/>
                  <a:gd name="connsiteX3" fmla="*/ 2768425 w 3539592"/>
                  <a:gd name="connsiteY3" fmla="*/ 3520754 h 3522008"/>
                  <a:gd name="connsiteX4" fmla="*/ 2818874 w 3539592"/>
                  <a:gd name="connsiteY4" fmla="*/ 3514448 h 3522008"/>
                  <a:gd name="connsiteX5" fmla="*/ 2850405 w 3539592"/>
                  <a:gd name="connsiteY5" fmla="*/ 3489223 h 3522008"/>
                  <a:gd name="connsiteX6" fmla="*/ 2957611 w 3539592"/>
                  <a:gd name="connsiteY6" fmla="*/ 3369405 h 3522008"/>
                  <a:gd name="connsiteX7" fmla="*/ 3228778 w 3539592"/>
                  <a:gd name="connsiteY7" fmla="*/ 2833378 h 3522008"/>
                  <a:gd name="connsiteX8" fmla="*/ 3373821 w 3539592"/>
                  <a:gd name="connsiteY8" fmla="*/ 2442393 h 3522008"/>
                  <a:gd name="connsiteX9" fmla="*/ 3481026 w 3539592"/>
                  <a:gd name="connsiteY9" fmla="*/ 2007265 h 3522008"/>
                  <a:gd name="connsiteX10" fmla="*/ 3512557 w 3539592"/>
                  <a:gd name="connsiteY10" fmla="*/ 443325 h 3522008"/>
                  <a:gd name="connsiteX11" fmla="*/ 3481026 w 3539592"/>
                  <a:gd name="connsiteY11" fmla="*/ 291976 h 3522008"/>
                  <a:gd name="connsiteX12" fmla="*/ 3462108 w 3539592"/>
                  <a:gd name="connsiteY12" fmla="*/ 235221 h 3522008"/>
                  <a:gd name="connsiteX13" fmla="*/ 3417964 w 3539592"/>
                  <a:gd name="connsiteY13" fmla="*/ 209996 h 3522008"/>
                  <a:gd name="connsiteX14" fmla="*/ 3335983 w 3539592"/>
                  <a:gd name="connsiteY14" fmla="*/ 197383 h 3522008"/>
                  <a:gd name="connsiteX15" fmla="*/ 2787343 w 3539592"/>
                  <a:gd name="connsiteY15" fmla="*/ 544225 h 3522008"/>
                  <a:gd name="connsiteX16" fmla="*/ 964850 w 3539592"/>
                  <a:gd name="connsiteY16" fmla="*/ 228914 h 3522008"/>
                  <a:gd name="connsiteX0" fmla="*/ 964850 w 3539592"/>
                  <a:gd name="connsiteY0" fmla="*/ 228914 h 3522008"/>
                  <a:gd name="connsiteX1" fmla="*/ 0 w 3539592"/>
                  <a:gd name="connsiteY1" fmla="*/ 3438774 h 3522008"/>
                  <a:gd name="connsiteX2" fmla="*/ 1992761 w 3539592"/>
                  <a:gd name="connsiteY2" fmla="*/ 3514448 h 3522008"/>
                  <a:gd name="connsiteX3" fmla="*/ 2768425 w 3539592"/>
                  <a:gd name="connsiteY3" fmla="*/ 3520754 h 3522008"/>
                  <a:gd name="connsiteX4" fmla="*/ 2818874 w 3539592"/>
                  <a:gd name="connsiteY4" fmla="*/ 3514448 h 3522008"/>
                  <a:gd name="connsiteX5" fmla="*/ 2850405 w 3539592"/>
                  <a:gd name="connsiteY5" fmla="*/ 3489223 h 3522008"/>
                  <a:gd name="connsiteX6" fmla="*/ 2957611 w 3539592"/>
                  <a:gd name="connsiteY6" fmla="*/ 3369405 h 3522008"/>
                  <a:gd name="connsiteX7" fmla="*/ 3228778 w 3539592"/>
                  <a:gd name="connsiteY7" fmla="*/ 2833378 h 3522008"/>
                  <a:gd name="connsiteX8" fmla="*/ 3373821 w 3539592"/>
                  <a:gd name="connsiteY8" fmla="*/ 2442393 h 3522008"/>
                  <a:gd name="connsiteX9" fmla="*/ 3481026 w 3539592"/>
                  <a:gd name="connsiteY9" fmla="*/ 2007265 h 3522008"/>
                  <a:gd name="connsiteX10" fmla="*/ 3512557 w 3539592"/>
                  <a:gd name="connsiteY10" fmla="*/ 443325 h 3522008"/>
                  <a:gd name="connsiteX11" fmla="*/ 3481026 w 3539592"/>
                  <a:gd name="connsiteY11" fmla="*/ 291976 h 3522008"/>
                  <a:gd name="connsiteX12" fmla="*/ 3462108 w 3539592"/>
                  <a:gd name="connsiteY12" fmla="*/ 235221 h 3522008"/>
                  <a:gd name="connsiteX13" fmla="*/ 3417964 w 3539592"/>
                  <a:gd name="connsiteY13" fmla="*/ 209996 h 3522008"/>
                  <a:gd name="connsiteX14" fmla="*/ 2787343 w 3539592"/>
                  <a:gd name="connsiteY14" fmla="*/ 544225 h 3522008"/>
                  <a:gd name="connsiteX15" fmla="*/ 964850 w 3539592"/>
                  <a:gd name="connsiteY15" fmla="*/ 228914 h 3522008"/>
                  <a:gd name="connsiteX0" fmla="*/ 964850 w 3539592"/>
                  <a:gd name="connsiteY0" fmla="*/ 228914 h 3522008"/>
                  <a:gd name="connsiteX1" fmla="*/ 0 w 3539592"/>
                  <a:gd name="connsiteY1" fmla="*/ 3438774 h 3522008"/>
                  <a:gd name="connsiteX2" fmla="*/ 1992761 w 3539592"/>
                  <a:gd name="connsiteY2" fmla="*/ 3514448 h 3522008"/>
                  <a:gd name="connsiteX3" fmla="*/ 2768425 w 3539592"/>
                  <a:gd name="connsiteY3" fmla="*/ 3520754 h 3522008"/>
                  <a:gd name="connsiteX4" fmla="*/ 2818874 w 3539592"/>
                  <a:gd name="connsiteY4" fmla="*/ 3514448 h 3522008"/>
                  <a:gd name="connsiteX5" fmla="*/ 2850405 w 3539592"/>
                  <a:gd name="connsiteY5" fmla="*/ 3489223 h 3522008"/>
                  <a:gd name="connsiteX6" fmla="*/ 2957611 w 3539592"/>
                  <a:gd name="connsiteY6" fmla="*/ 3369405 h 3522008"/>
                  <a:gd name="connsiteX7" fmla="*/ 3228778 w 3539592"/>
                  <a:gd name="connsiteY7" fmla="*/ 2833378 h 3522008"/>
                  <a:gd name="connsiteX8" fmla="*/ 3373821 w 3539592"/>
                  <a:gd name="connsiteY8" fmla="*/ 2442393 h 3522008"/>
                  <a:gd name="connsiteX9" fmla="*/ 3481026 w 3539592"/>
                  <a:gd name="connsiteY9" fmla="*/ 2007265 h 3522008"/>
                  <a:gd name="connsiteX10" fmla="*/ 3512557 w 3539592"/>
                  <a:gd name="connsiteY10" fmla="*/ 443325 h 3522008"/>
                  <a:gd name="connsiteX11" fmla="*/ 3481026 w 3539592"/>
                  <a:gd name="connsiteY11" fmla="*/ 291976 h 3522008"/>
                  <a:gd name="connsiteX12" fmla="*/ 3462108 w 3539592"/>
                  <a:gd name="connsiteY12" fmla="*/ 235221 h 3522008"/>
                  <a:gd name="connsiteX13" fmla="*/ 3417964 w 3539592"/>
                  <a:gd name="connsiteY13" fmla="*/ 209996 h 3522008"/>
                  <a:gd name="connsiteX14" fmla="*/ 2787343 w 3539592"/>
                  <a:gd name="connsiteY14" fmla="*/ 544225 h 3522008"/>
                  <a:gd name="connsiteX15" fmla="*/ 964850 w 3539592"/>
                  <a:gd name="connsiteY15" fmla="*/ 228914 h 3522008"/>
                  <a:gd name="connsiteX0" fmla="*/ 964850 w 3539592"/>
                  <a:gd name="connsiteY0" fmla="*/ 228914 h 3522008"/>
                  <a:gd name="connsiteX1" fmla="*/ 0 w 3539592"/>
                  <a:gd name="connsiteY1" fmla="*/ 3438774 h 3522008"/>
                  <a:gd name="connsiteX2" fmla="*/ 1992761 w 3539592"/>
                  <a:gd name="connsiteY2" fmla="*/ 3514448 h 3522008"/>
                  <a:gd name="connsiteX3" fmla="*/ 2768425 w 3539592"/>
                  <a:gd name="connsiteY3" fmla="*/ 3520754 h 3522008"/>
                  <a:gd name="connsiteX4" fmla="*/ 2818874 w 3539592"/>
                  <a:gd name="connsiteY4" fmla="*/ 3514448 h 3522008"/>
                  <a:gd name="connsiteX5" fmla="*/ 2850405 w 3539592"/>
                  <a:gd name="connsiteY5" fmla="*/ 3489223 h 3522008"/>
                  <a:gd name="connsiteX6" fmla="*/ 2957611 w 3539592"/>
                  <a:gd name="connsiteY6" fmla="*/ 3369405 h 3522008"/>
                  <a:gd name="connsiteX7" fmla="*/ 3228778 w 3539592"/>
                  <a:gd name="connsiteY7" fmla="*/ 2833378 h 3522008"/>
                  <a:gd name="connsiteX8" fmla="*/ 3373821 w 3539592"/>
                  <a:gd name="connsiteY8" fmla="*/ 2442393 h 3522008"/>
                  <a:gd name="connsiteX9" fmla="*/ 3481026 w 3539592"/>
                  <a:gd name="connsiteY9" fmla="*/ 2007265 h 3522008"/>
                  <a:gd name="connsiteX10" fmla="*/ 3512557 w 3539592"/>
                  <a:gd name="connsiteY10" fmla="*/ 443325 h 3522008"/>
                  <a:gd name="connsiteX11" fmla="*/ 3481026 w 3539592"/>
                  <a:gd name="connsiteY11" fmla="*/ 291976 h 3522008"/>
                  <a:gd name="connsiteX12" fmla="*/ 3462108 w 3539592"/>
                  <a:gd name="connsiteY12" fmla="*/ 235221 h 3522008"/>
                  <a:gd name="connsiteX13" fmla="*/ 2787343 w 3539592"/>
                  <a:gd name="connsiteY13" fmla="*/ 544225 h 3522008"/>
                  <a:gd name="connsiteX14" fmla="*/ 964850 w 3539592"/>
                  <a:gd name="connsiteY14" fmla="*/ 228914 h 3522008"/>
                  <a:gd name="connsiteX0" fmla="*/ 964850 w 3543941"/>
                  <a:gd name="connsiteY0" fmla="*/ 228914 h 3522008"/>
                  <a:gd name="connsiteX1" fmla="*/ 0 w 3543941"/>
                  <a:gd name="connsiteY1" fmla="*/ 3438774 h 3522008"/>
                  <a:gd name="connsiteX2" fmla="*/ 1992761 w 3543941"/>
                  <a:gd name="connsiteY2" fmla="*/ 3514448 h 3522008"/>
                  <a:gd name="connsiteX3" fmla="*/ 2768425 w 3543941"/>
                  <a:gd name="connsiteY3" fmla="*/ 3520754 h 3522008"/>
                  <a:gd name="connsiteX4" fmla="*/ 2818874 w 3543941"/>
                  <a:gd name="connsiteY4" fmla="*/ 3514448 h 3522008"/>
                  <a:gd name="connsiteX5" fmla="*/ 2850405 w 3543941"/>
                  <a:gd name="connsiteY5" fmla="*/ 3489223 h 3522008"/>
                  <a:gd name="connsiteX6" fmla="*/ 2957611 w 3543941"/>
                  <a:gd name="connsiteY6" fmla="*/ 3369405 h 3522008"/>
                  <a:gd name="connsiteX7" fmla="*/ 3228778 w 3543941"/>
                  <a:gd name="connsiteY7" fmla="*/ 2833378 h 3522008"/>
                  <a:gd name="connsiteX8" fmla="*/ 3373821 w 3543941"/>
                  <a:gd name="connsiteY8" fmla="*/ 2442393 h 3522008"/>
                  <a:gd name="connsiteX9" fmla="*/ 3481026 w 3543941"/>
                  <a:gd name="connsiteY9" fmla="*/ 2007265 h 3522008"/>
                  <a:gd name="connsiteX10" fmla="*/ 3512557 w 3543941"/>
                  <a:gd name="connsiteY10" fmla="*/ 443325 h 3522008"/>
                  <a:gd name="connsiteX11" fmla="*/ 3481026 w 3543941"/>
                  <a:gd name="connsiteY11" fmla="*/ 291976 h 3522008"/>
                  <a:gd name="connsiteX12" fmla="*/ 2787343 w 3543941"/>
                  <a:gd name="connsiteY12" fmla="*/ 544225 h 3522008"/>
                  <a:gd name="connsiteX13" fmla="*/ 964850 w 3543941"/>
                  <a:gd name="connsiteY13" fmla="*/ 228914 h 3522008"/>
                  <a:gd name="connsiteX0" fmla="*/ 964850 w 3575244"/>
                  <a:gd name="connsiteY0" fmla="*/ 228914 h 3522008"/>
                  <a:gd name="connsiteX1" fmla="*/ 0 w 3575244"/>
                  <a:gd name="connsiteY1" fmla="*/ 3438774 h 3522008"/>
                  <a:gd name="connsiteX2" fmla="*/ 1992761 w 3575244"/>
                  <a:gd name="connsiteY2" fmla="*/ 3514448 h 3522008"/>
                  <a:gd name="connsiteX3" fmla="*/ 2768425 w 3575244"/>
                  <a:gd name="connsiteY3" fmla="*/ 3520754 h 3522008"/>
                  <a:gd name="connsiteX4" fmla="*/ 2818874 w 3575244"/>
                  <a:gd name="connsiteY4" fmla="*/ 3514448 h 3522008"/>
                  <a:gd name="connsiteX5" fmla="*/ 2850405 w 3575244"/>
                  <a:gd name="connsiteY5" fmla="*/ 3489223 h 3522008"/>
                  <a:gd name="connsiteX6" fmla="*/ 2957611 w 3575244"/>
                  <a:gd name="connsiteY6" fmla="*/ 3369405 h 3522008"/>
                  <a:gd name="connsiteX7" fmla="*/ 3228778 w 3575244"/>
                  <a:gd name="connsiteY7" fmla="*/ 2833378 h 3522008"/>
                  <a:gd name="connsiteX8" fmla="*/ 3373821 w 3575244"/>
                  <a:gd name="connsiteY8" fmla="*/ 2442393 h 3522008"/>
                  <a:gd name="connsiteX9" fmla="*/ 3481026 w 3575244"/>
                  <a:gd name="connsiteY9" fmla="*/ 2007265 h 3522008"/>
                  <a:gd name="connsiteX10" fmla="*/ 3512557 w 3575244"/>
                  <a:gd name="connsiteY10" fmla="*/ 443325 h 3522008"/>
                  <a:gd name="connsiteX11" fmla="*/ 2787343 w 3575244"/>
                  <a:gd name="connsiteY11" fmla="*/ 544225 h 3522008"/>
                  <a:gd name="connsiteX12" fmla="*/ 964850 w 3575244"/>
                  <a:gd name="connsiteY12" fmla="*/ 228914 h 3522008"/>
                  <a:gd name="connsiteX0" fmla="*/ 964850 w 3551879"/>
                  <a:gd name="connsiteY0" fmla="*/ 228914 h 3522008"/>
                  <a:gd name="connsiteX1" fmla="*/ 0 w 3551879"/>
                  <a:gd name="connsiteY1" fmla="*/ 3438774 h 3522008"/>
                  <a:gd name="connsiteX2" fmla="*/ 1992761 w 3551879"/>
                  <a:gd name="connsiteY2" fmla="*/ 3514448 h 3522008"/>
                  <a:gd name="connsiteX3" fmla="*/ 2768425 w 3551879"/>
                  <a:gd name="connsiteY3" fmla="*/ 3520754 h 3522008"/>
                  <a:gd name="connsiteX4" fmla="*/ 2818874 w 3551879"/>
                  <a:gd name="connsiteY4" fmla="*/ 3514448 h 3522008"/>
                  <a:gd name="connsiteX5" fmla="*/ 2850405 w 3551879"/>
                  <a:gd name="connsiteY5" fmla="*/ 3489223 h 3522008"/>
                  <a:gd name="connsiteX6" fmla="*/ 2957611 w 3551879"/>
                  <a:gd name="connsiteY6" fmla="*/ 3369405 h 3522008"/>
                  <a:gd name="connsiteX7" fmla="*/ 3228778 w 3551879"/>
                  <a:gd name="connsiteY7" fmla="*/ 2833378 h 3522008"/>
                  <a:gd name="connsiteX8" fmla="*/ 3373821 w 3551879"/>
                  <a:gd name="connsiteY8" fmla="*/ 2442393 h 3522008"/>
                  <a:gd name="connsiteX9" fmla="*/ 3481026 w 3551879"/>
                  <a:gd name="connsiteY9" fmla="*/ 2007265 h 3522008"/>
                  <a:gd name="connsiteX10" fmla="*/ 3512557 w 3551879"/>
                  <a:gd name="connsiteY10" fmla="*/ 443325 h 3522008"/>
                  <a:gd name="connsiteX11" fmla="*/ 2787343 w 3551879"/>
                  <a:gd name="connsiteY11" fmla="*/ 544225 h 3522008"/>
                  <a:gd name="connsiteX12" fmla="*/ 964850 w 3551879"/>
                  <a:gd name="connsiteY12" fmla="*/ 228914 h 3522008"/>
                  <a:gd name="connsiteX0" fmla="*/ 964850 w 3551879"/>
                  <a:gd name="connsiteY0" fmla="*/ 228914 h 3522008"/>
                  <a:gd name="connsiteX1" fmla="*/ 0 w 3551879"/>
                  <a:gd name="connsiteY1" fmla="*/ 3438774 h 3522008"/>
                  <a:gd name="connsiteX2" fmla="*/ 1992761 w 3551879"/>
                  <a:gd name="connsiteY2" fmla="*/ 3514448 h 3522008"/>
                  <a:gd name="connsiteX3" fmla="*/ 2768425 w 3551879"/>
                  <a:gd name="connsiteY3" fmla="*/ 3520754 h 3522008"/>
                  <a:gd name="connsiteX4" fmla="*/ 2818874 w 3551879"/>
                  <a:gd name="connsiteY4" fmla="*/ 3514448 h 3522008"/>
                  <a:gd name="connsiteX5" fmla="*/ 2850405 w 3551879"/>
                  <a:gd name="connsiteY5" fmla="*/ 3489223 h 3522008"/>
                  <a:gd name="connsiteX6" fmla="*/ 2957611 w 3551879"/>
                  <a:gd name="connsiteY6" fmla="*/ 3369405 h 3522008"/>
                  <a:gd name="connsiteX7" fmla="*/ 3228778 w 3551879"/>
                  <a:gd name="connsiteY7" fmla="*/ 2833378 h 3522008"/>
                  <a:gd name="connsiteX8" fmla="*/ 3373821 w 3551879"/>
                  <a:gd name="connsiteY8" fmla="*/ 2442393 h 3522008"/>
                  <a:gd name="connsiteX9" fmla="*/ 3481026 w 3551879"/>
                  <a:gd name="connsiteY9" fmla="*/ 2007265 h 3522008"/>
                  <a:gd name="connsiteX10" fmla="*/ 3512557 w 3551879"/>
                  <a:gd name="connsiteY10" fmla="*/ 443325 h 3522008"/>
                  <a:gd name="connsiteX11" fmla="*/ 2787343 w 3551879"/>
                  <a:gd name="connsiteY11" fmla="*/ 544225 h 3522008"/>
                  <a:gd name="connsiteX12" fmla="*/ 964850 w 3551879"/>
                  <a:gd name="connsiteY12" fmla="*/ 228914 h 3522008"/>
                  <a:gd name="connsiteX0" fmla="*/ 964850 w 3551879"/>
                  <a:gd name="connsiteY0" fmla="*/ 228914 h 3522008"/>
                  <a:gd name="connsiteX1" fmla="*/ 0 w 3551879"/>
                  <a:gd name="connsiteY1" fmla="*/ 3438774 h 3522008"/>
                  <a:gd name="connsiteX2" fmla="*/ 1992761 w 3551879"/>
                  <a:gd name="connsiteY2" fmla="*/ 3514448 h 3522008"/>
                  <a:gd name="connsiteX3" fmla="*/ 2768425 w 3551879"/>
                  <a:gd name="connsiteY3" fmla="*/ 3520754 h 3522008"/>
                  <a:gd name="connsiteX4" fmla="*/ 2818874 w 3551879"/>
                  <a:gd name="connsiteY4" fmla="*/ 3514448 h 3522008"/>
                  <a:gd name="connsiteX5" fmla="*/ 2850405 w 3551879"/>
                  <a:gd name="connsiteY5" fmla="*/ 3489223 h 3522008"/>
                  <a:gd name="connsiteX6" fmla="*/ 2957611 w 3551879"/>
                  <a:gd name="connsiteY6" fmla="*/ 3369405 h 3522008"/>
                  <a:gd name="connsiteX7" fmla="*/ 3228778 w 3551879"/>
                  <a:gd name="connsiteY7" fmla="*/ 2833378 h 3522008"/>
                  <a:gd name="connsiteX8" fmla="*/ 3481026 w 3551879"/>
                  <a:gd name="connsiteY8" fmla="*/ 2007265 h 3522008"/>
                  <a:gd name="connsiteX9" fmla="*/ 3512557 w 3551879"/>
                  <a:gd name="connsiteY9" fmla="*/ 443325 h 3522008"/>
                  <a:gd name="connsiteX10" fmla="*/ 2787343 w 3551879"/>
                  <a:gd name="connsiteY10" fmla="*/ 544225 h 3522008"/>
                  <a:gd name="connsiteX11" fmla="*/ 964850 w 3551879"/>
                  <a:gd name="connsiteY11" fmla="*/ 228914 h 3522008"/>
                  <a:gd name="connsiteX0" fmla="*/ 964850 w 3525305"/>
                  <a:gd name="connsiteY0" fmla="*/ 228914 h 3522008"/>
                  <a:gd name="connsiteX1" fmla="*/ 0 w 3525305"/>
                  <a:gd name="connsiteY1" fmla="*/ 3438774 h 3522008"/>
                  <a:gd name="connsiteX2" fmla="*/ 1992761 w 3525305"/>
                  <a:gd name="connsiteY2" fmla="*/ 3514448 h 3522008"/>
                  <a:gd name="connsiteX3" fmla="*/ 2768425 w 3525305"/>
                  <a:gd name="connsiteY3" fmla="*/ 3520754 h 3522008"/>
                  <a:gd name="connsiteX4" fmla="*/ 2818874 w 3525305"/>
                  <a:gd name="connsiteY4" fmla="*/ 3514448 h 3522008"/>
                  <a:gd name="connsiteX5" fmla="*/ 2850405 w 3525305"/>
                  <a:gd name="connsiteY5" fmla="*/ 3489223 h 3522008"/>
                  <a:gd name="connsiteX6" fmla="*/ 2957611 w 3525305"/>
                  <a:gd name="connsiteY6" fmla="*/ 3369405 h 3522008"/>
                  <a:gd name="connsiteX7" fmla="*/ 3228778 w 3525305"/>
                  <a:gd name="connsiteY7" fmla="*/ 2833378 h 3522008"/>
                  <a:gd name="connsiteX8" fmla="*/ 3512557 w 3525305"/>
                  <a:gd name="connsiteY8" fmla="*/ 443325 h 3522008"/>
                  <a:gd name="connsiteX9" fmla="*/ 2787343 w 3525305"/>
                  <a:gd name="connsiteY9" fmla="*/ 544225 h 3522008"/>
                  <a:gd name="connsiteX10" fmla="*/ 964850 w 3525305"/>
                  <a:gd name="connsiteY10" fmla="*/ 228914 h 3522008"/>
                  <a:gd name="connsiteX0" fmla="*/ 964850 w 3513782"/>
                  <a:gd name="connsiteY0" fmla="*/ 228914 h 3622365"/>
                  <a:gd name="connsiteX1" fmla="*/ 0 w 3513782"/>
                  <a:gd name="connsiteY1" fmla="*/ 3438774 h 3622365"/>
                  <a:gd name="connsiteX2" fmla="*/ 1992761 w 3513782"/>
                  <a:gd name="connsiteY2" fmla="*/ 3514448 h 3622365"/>
                  <a:gd name="connsiteX3" fmla="*/ 2768425 w 3513782"/>
                  <a:gd name="connsiteY3" fmla="*/ 3520754 h 3622365"/>
                  <a:gd name="connsiteX4" fmla="*/ 2818874 w 3513782"/>
                  <a:gd name="connsiteY4" fmla="*/ 3514448 h 3622365"/>
                  <a:gd name="connsiteX5" fmla="*/ 2850405 w 3513782"/>
                  <a:gd name="connsiteY5" fmla="*/ 3489223 h 3622365"/>
                  <a:gd name="connsiteX6" fmla="*/ 2957611 w 3513782"/>
                  <a:gd name="connsiteY6" fmla="*/ 3369405 h 3622365"/>
                  <a:gd name="connsiteX7" fmla="*/ 3512557 w 3513782"/>
                  <a:gd name="connsiteY7" fmla="*/ 443325 h 3622365"/>
                  <a:gd name="connsiteX8" fmla="*/ 2787343 w 3513782"/>
                  <a:gd name="connsiteY8" fmla="*/ 544225 h 3622365"/>
                  <a:gd name="connsiteX9" fmla="*/ 964850 w 3513782"/>
                  <a:gd name="connsiteY9" fmla="*/ 228914 h 3622365"/>
                  <a:gd name="connsiteX0" fmla="*/ 964850 w 3512703"/>
                  <a:gd name="connsiteY0" fmla="*/ 228914 h 3722318"/>
                  <a:gd name="connsiteX1" fmla="*/ 0 w 3512703"/>
                  <a:gd name="connsiteY1" fmla="*/ 3438774 h 3722318"/>
                  <a:gd name="connsiteX2" fmla="*/ 1992761 w 3512703"/>
                  <a:gd name="connsiteY2" fmla="*/ 3514448 h 3722318"/>
                  <a:gd name="connsiteX3" fmla="*/ 2768425 w 3512703"/>
                  <a:gd name="connsiteY3" fmla="*/ 3520754 h 3722318"/>
                  <a:gd name="connsiteX4" fmla="*/ 2818874 w 3512703"/>
                  <a:gd name="connsiteY4" fmla="*/ 3514448 h 3722318"/>
                  <a:gd name="connsiteX5" fmla="*/ 2850405 w 3512703"/>
                  <a:gd name="connsiteY5" fmla="*/ 3489223 h 3722318"/>
                  <a:gd name="connsiteX6" fmla="*/ 3512557 w 3512703"/>
                  <a:gd name="connsiteY6" fmla="*/ 443325 h 3722318"/>
                  <a:gd name="connsiteX7" fmla="*/ 2787343 w 3512703"/>
                  <a:gd name="connsiteY7" fmla="*/ 544225 h 3722318"/>
                  <a:gd name="connsiteX8" fmla="*/ 964850 w 3512703"/>
                  <a:gd name="connsiteY8" fmla="*/ 228914 h 3722318"/>
                  <a:gd name="connsiteX0" fmla="*/ 964850 w 3512592"/>
                  <a:gd name="connsiteY0" fmla="*/ 228914 h 3743580"/>
                  <a:gd name="connsiteX1" fmla="*/ 0 w 3512592"/>
                  <a:gd name="connsiteY1" fmla="*/ 3438774 h 3743580"/>
                  <a:gd name="connsiteX2" fmla="*/ 1992761 w 3512592"/>
                  <a:gd name="connsiteY2" fmla="*/ 3514448 h 3743580"/>
                  <a:gd name="connsiteX3" fmla="*/ 2768425 w 3512592"/>
                  <a:gd name="connsiteY3" fmla="*/ 3520754 h 3743580"/>
                  <a:gd name="connsiteX4" fmla="*/ 2818874 w 3512592"/>
                  <a:gd name="connsiteY4" fmla="*/ 3514448 h 3743580"/>
                  <a:gd name="connsiteX5" fmla="*/ 3512557 w 3512592"/>
                  <a:gd name="connsiteY5" fmla="*/ 443325 h 3743580"/>
                  <a:gd name="connsiteX6" fmla="*/ 2787343 w 3512592"/>
                  <a:gd name="connsiteY6" fmla="*/ 544225 h 3743580"/>
                  <a:gd name="connsiteX7" fmla="*/ 964850 w 3512592"/>
                  <a:gd name="connsiteY7" fmla="*/ 228914 h 3743580"/>
                  <a:gd name="connsiteX0" fmla="*/ 964850 w 3512581"/>
                  <a:gd name="connsiteY0" fmla="*/ 228914 h 3522008"/>
                  <a:gd name="connsiteX1" fmla="*/ 0 w 3512581"/>
                  <a:gd name="connsiteY1" fmla="*/ 3438774 h 3522008"/>
                  <a:gd name="connsiteX2" fmla="*/ 1992761 w 3512581"/>
                  <a:gd name="connsiteY2" fmla="*/ 3514448 h 3522008"/>
                  <a:gd name="connsiteX3" fmla="*/ 2768425 w 3512581"/>
                  <a:gd name="connsiteY3" fmla="*/ 3520754 h 3522008"/>
                  <a:gd name="connsiteX4" fmla="*/ 3512557 w 3512581"/>
                  <a:gd name="connsiteY4" fmla="*/ 443325 h 3522008"/>
                  <a:gd name="connsiteX5" fmla="*/ 2787343 w 3512581"/>
                  <a:gd name="connsiteY5" fmla="*/ 544225 h 3522008"/>
                  <a:gd name="connsiteX6" fmla="*/ 964850 w 3512581"/>
                  <a:gd name="connsiteY6" fmla="*/ 228914 h 3522008"/>
                  <a:gd name="connsiteX0" fmla="*/ 964850 w 3512581"/>
                  <a:gd name="connsiteY0" fmla="*/ 228914 h 3522008"/>
                  <a:gd name="connsiteX1" fmla="*/ 0 w 3512581"/>
                  <a:gd name="connsiteY1" fmla="*/ 3438774 h 3522008"/>
                  <a:gd name="connsiteX2" fmla="*/ 1992761 w 3512581"/>
                  <a:gd name="connsiteY2" fmla="*/ 3514448 h 3522008"/>
                  <a:gd name="connsiteX3" fmla="*/ 2768425 w 3512581"/>
                  <a:gd name="connsiteY3" fmla="*/ 3520754 h 3522008"/>
                  <a:gd name="connsiteX4" fmla="*/ 3512557 w 3512581"/>
                  <a:gd name="connsiteY4" fmla="*/ 443325 h 3522008"/>
                  <a:gd name="connsiteX5" fmla="*/ 2787343 w 3512581"/>
                  <a:gd name="connsiteY5" fmla="*/ 544225 h 3522008"/>
                  <a:gd name="connsiteX6" fmla="*/ 964850 w 3512581"/>
                  <a:gd name="connsiteY6" fmla="*/ 228914 h 3522008"/>
                  <a:gd name="connsiteX0" fmla="*/ 964850 w 3512581"/>
                  <a:gd name="connsiteY0" fmla="*/ 228914 h 3873893"/>
                  <a:gd name="connsiteX1" fmla="*/ 0 w 3512581"/>
                  <a:gd name="connsiteY1" fmla="*/ 3438774 h 3873893"/>
                  <a:gd name="connsiteX2" fmla="*/ 2768425 w 3512581"/>
                  <a:gd name="connsiteY2" fmla="*/ 3520754 h 3873893"/>
                  <a:gd name="connsiteX3" fmla="*/ 3512557 w 3512581"/>
                  <a:gd name="connsiteY3" fmla="*/ 443325 h 3873893"/>
                  <a:gd name="connsiteX4" fmla="*/ 2787343 w 3512581"/>
                  <a:gd name="connsiteY4" fmla="*/ 544225 h 3873893"/>
                  <a:gd name="connsiteX5" fmla="*/ 964850 w 3512581"/>
                  <a:gd name="connsiteY5" fmla="*/ 228914 h 3873893"/>
                  <a:gd name="connsiteX0" fmla="*/ 964850 w 3512581"/>
                  <a:gd name="connsiteY0" fmla="*/ 228914 h 3722023"/>
                  <a:gd name="connsiteX1" fmla="*/ 0 w 3512581"/>
                  <a:gd name="connsiteY1" fmla="*/ 3438774 h 3722023"/>
                  <a:gd name="connsiteX2" fmla="*/ 2768425 w 3512581"/>
                  <a:gd name="connsiteY2" fmla="*/ 3520754 h 3722023"/>
                  <a:gd name="connsiteX3" fmla="*/ 3512557 w 3512581"/>
                  <a:gd name="connsiteY3" fmla="*/ 443325 h 3722023"/>
                  <a:gd name="connsiteX4" fmla="*/ 2787343 w 3512581"/>
                  <a:gd name="connsiteY4" fmla="*/ 544225 h 3722023"/>
                  <a:gd name="connsiteX5" fmla="*/ 964850 w 3512581"/>
                  <a:gd name="connsiteY5" fmla="*/ 228914 h 3722023"/>
                  <a:gd name="connsiteX0" fmla="*/ 964850 w 3512581"/>
                  <a:gd name="connsiteY0" fmla="*/ 228914 h 3520754"/>
                  <a:gd name="connsiteX1" fmla="*/ 0 w 3512581"/>
                  <a:gd name="connsiteY1" fmla="*/ 3438774 h 3520754"/>
                  <a:gd name="connsiteX2" fmla="*/ 2768425 w 3512581"/>
                  <a:gd name="connsiteY2" fmla="*/ 3520754 h 3520754"/>
                  <a:gd name="connsiteX3" fmla="*/ 3512557 w 3512581"/>
                  <a:gd name="connsiteY3" fmla="*/ 443325 h 3520754"/>
                  <a:gd name="connsiteX4" fmla="*/ 2787343 w 3512581"/>
                  <a:gd name="connsiteY4" fmla="*/ 544225 h 3520754"/>
                  <a:gd name="connsiteX5" fmla="*/ 964850 w 3512581"/>
                  <a:gd name="connsiteY5" fmla="*/ 228914 h 3520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12581" h="3520754">
                    <a:moveTo>
                      <a:pt x="964850" y="228914"/>
                    </a:moveTo>
                    <a:cubicBezTo>
                      <a:pt x="1144577" y="1207427"/>
                      <a:pt x="503446" y="2796592"/>
                      <a:pt x="0" y="3438774"/>
                    </a:cubicBezTo>
                    <a:cubicBezTo>
                      <a:pt x="1158240" y="3432468"/>
                      <a:pt x="1968588" y="3401988"/>
                      <a:pt x="2768425" y="3520754"/>
                    </a:cubicBezTo>
                    <a:cubicBezTo>
                      <a:pt x="3406403" y="2397198"/>
                      <a:pt x="3509404" y="939413"/>
                      <a:pt x="3512557" y="443325"/>
                    </a:cubicBezTo>
                    <a:cubicBezTo>
                      <a:pt x="3515710" y="-52763"/>
                      <a:pt x="3211961" y="-38048"/>
                      <a:pt x="2787343" y="544225"/>
                    </a:cubicBezTo>
                    <a:cubicBezTo>
                      <a:pt x="2640198" y="111199"/>
                      <a:pt x="1429407" y="-253511"/>
                      <a:pt x="964850" y="228914"/>
                    </a:cubicBezTo>
                    <a:close/>
                  </a:path>
                </a:pathLst>
              </a:custGeom>
              <a:solidFill>
                <a:schemeClr val="bg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2000" dirty="0" smtClean="0">
                  <a:solidFill>
                    <a:schemeClr val="tx1"/>
                  </a:solidFill>
                </a:endParaRPr>
              </a:p>
            </p:txBody>
          </p:sp>
        </p:grpSp>
        <p:sp>
          <p:nvSpPr>
            <p:cNvPr id="9" name="Inhaltsplatzhalter 3"/>
            <p:cNvSpPr txBox="1">
              <a:spLocks/>
            </p:cNvSpPr>
            <p:nvPr/>
          </p:nvSpPr>
          <p:spPr>
            <a:xfrm>
              <a:off x="3463663" y="4524250"/>
              <a:ext cx="3326340" cy="413289"/>
            </a:xfrm>
            <a:prstGeom prst="rect">
              <a:avLst/>
            </a:prstGeom>
          </p:spPr>
          <p:txBody>
            <a:bodyPr/>
            <a:lstStyle>
              <a:lvl1pPr marL="0" indent="0" algn="l" defTabSz="914400" rtl="0" eaLnBrk="1" latinLnBrk="0" hangingPunct="1">
                <a:spcBef>
                  <a:spcPts val="200"/>
                </a:spcBef>
                <a:buClr>
                  <a:schemeClr val="tx2"/>
                </a:buClr>
                <a:buFont typeface="Wingdings" pitchFamily="2" charset="2"/>
                <a:buNone/>
                <a:defRPr sz="1600" kern="1200">
                  <a:solidFill>
                    <a:schemeClr val="tx2"/>
                  </a:solidFill>
                  <a:latin typeface="+mn-lt"/>
                  <a:ea typeface="+mn-ea"/>
                  <a:cs typeface="+mn-cs"/>
                </a:defRPr>
              </a:lvl1pPr>
              <a:lvl2pPr marL="180975" indent="-180975" algn="l" defTabSz="914400" rtl="0" eaLnBrk="1" latinLnBrk="0" hangingPunct="1">
                <a:spcBef>
                  <a:spcPts val="200"/>
                </a:spcBef>
                <a:buClr>
                  <a:schemeClr val="tx2"/>
                </a:buClr>
                <a:buFont typeface="Wingdings" pitchFamily="2" charset="2"/>
                <a:buChar char="§"/>
                <a:defRPr sz="1600" kern="1200">
                  <a:solidFill>
                    <a:schemeClr val="tx2"/>
                  </a:solidFill>
                  <a:latin typeface="+mn-lt"/>
                  <a:ea typeface="+mn-ea"/>
                  <a:cs typeface="+mn-cs"/>
                </a:defRPr>
              </a:lvl2pPr>
              <a:lvl3pPr marL="355600" indent="-174625"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3pPr>
              <a:lvl4pPr marL="538163" indent="-182563"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4pPr>
              <a:lvl5pPr marL="719138" indent="-180975" algn="l" defTabSz="914400" rtl="0" eaLnBrk="1" latinLnBrk="0" hangingPunct="1">
                <a:spcBef>
                  <a:spcPts val="200"/>
                </a:spcBef>
                <a:buClr>
                  <a:schemeClr val="tx2"/>
                </a:buClr>
                <a:buFont typeface="Symbol" pitchFamily="18" charset="2"/>
                <a:buChar char="-"/>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3200" b="1" dirty="0" smtClean="0">
                  <a:solidFill>
                    <a:schemeClr val="accent6"/>
                  </a:solidFill>
                  <a:latin typeface="MV Boli" panose="02000500030200090000" pitchFamily="2" charset="0"/>
                  <a:cs typeface="MV Boli" panose="02000500030200090000" pitchFamily="2" charset="0"/>
                </a:rPr>
                <a:t>7.6</a:t>
              </a:r>
              <a:r>
                <a:rPr lang="de-DE" sz="3200" b="1" dirty="0" smtClean="0">
                  <a:latin typeface="MV Boli" panose="02000500030200090000" pitchFamily="2" charset="0"/>
                  <a:cs typeface="MV Boli" panose="02000500030200090000" pitchFamily="2" charset="0"/>
                </a:rPr>
                <a:t> </a:t>
              </a:r>
              <a:r>
                <a:rPr lang="de-DE" sz="3200" b="1" dirty="0" err="1" smtClean="0">
                  <a:latin typeface="MV Boli" panose="02000500030200090000" pitchFamily="2" charset="0"/>
                  <a:cs typeface="MV Boli" panose="02000500030200090000" pitchFamily="2" charset="0"/>
                </a:rPr>
                <a:t>Bn</a:t>
              </a:r>
              <a:r>
                <a:rPr lang="de-DE" sz="3200" b="1" dirty="0" smtClean="0">
                  <a:latin typeface="MV Boli" panose="02000500030200090000" pitchFamily="2" charset="0"/>
                  <a:cs typeface="MV Boli" panose="02000500030200090000" pitchFamily="2" charset="0"/>
                </a:rPr>
                <a:t> EUR</a:t>
              </a:r>
              <a:endParaRPr lang="de-DE" sz="3200" b="1" dirty="0">
                <a:latin typeface="MV Boli" panose="02000500030200090000" pitchFamily="2" charset="0"/>
                <a:cs typeface="MV Boli" panose="02000500030200090000" pitchFamily="2" charset="0"/>
              </a:endParaRPr>
            </a:p>
          </p:txBody>
        </p:sp>
        <p:sp>
          <p:nvSpPr>
            <p:cNvPr id="10" name="Inhaltsplatzhalter 3"/>
            <p:cNvSpPr txBox="1">
              <a:spLocks/>
            </p:cNvSpPr>
            <p:nvPr/>
          </p:nvSpPr>
          <p:spPr>
            <a:xfrm>
              <a:off x="3463663" y="5138095"/>
              <a:ext cx="3145610" cy="492443"/>
            </a:xfrm>
            <a:prstGeom prst="rect">
              <a:avLst/>
            </a:prstGeom>
          </p:spPr>
          <p:txBody>
            <a:bodyPr vert="horz" wrap="square" lIns="0" tIns="0" rIns="0" bIns="0" rtlCol="0">
              <a:spAutoFit/>
            </a:bodyPr>
            <a:lstStyle>
              <a:lvl1pPr marL="0" indent="0" algn="l" defTabSz="914400" rtl="0" eaLnBrk="1" latinLnBrk="0" hangingPunct="1">
                <a:spcBef>
                  <a:spcPts val="200"/>
                </a:spcBef>
                <a:buClr>
                  <a:schemeClr val="tx2"/>
                </a:buClr>
                <a:buFont typeface="Wingdings" pitchFamily="2" charset="2"/>
                <a:buNone/>
                <a:defRPr sz="1600" kern="1200">
                  <a:solidFill>
                    <a:schemeClr val="tx2"/>
                  </a:solidFill>
                  <a:latin typeface="+mn-lt"/>
                  <a:ea typeface="+mn-ea"/>
                  <a:cs typeface="+mn-cs"/>
                </a:defRPr>
              </a:lvl1pPr>
              <a:lvl2pPr marL="180975" indent="-180975" algn="l" defTabSz="914400" rtl="0" eaLnBrk="1" latinLnBrk="0" hangingPunct="1">
                <a:spcBef>
                  <a:spcPts val="200"/>
                </a:spcBef>
                <a:buClr>
                  <a:schemeClr val="tx2"/>
                </a:buClr>
                <a:buFont typeface="Wingdings" pitchFamily="2" charset="2"/>
                <a:buChar char="§"/>
                <a:defRPr sz="1600" kern="1200">
                  <a:solidFill>
                    <a:schemeClr val="tx2"/>
                  </a:solidFill>
                  <a:latin typeface="+mn-lt"/>
                  <a:ea typeface="+mn-ea"/>
                  <a:cs typeface="+mn-cs"/>
                </a:defRPr>
              </a:lvl2pPr>
              <a:lvl3pPr marL="355600" indent="-174625"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3pPr>
              <a:lvl4pPr marL="538163" indent="-182563"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4pPr>
              <a:lvl5pPr marL="719138" indent="-180975" algn="l" defTabSz="914400" rtl="0" eaLnBrk="1" latinLnBrk="0" hangingPunct="1">
                <a:spcBef>
                  <a:spcPts val="200"/>
                </a:spcBef>
                <a:buClr>
                  <a:schemeClr val="tx2"/>
                </a:buClr>
                <a:buFont typeface="Symbol" pitchFamily="18" charset="2"/>
                <a:buChar char="-"/>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3200" dirty="0" smtClean="0">
                  <a:latin typeface="MV Boli" panose="02000500030200090000" pitchFamily="2" charset="0"/>
                  <a:cs typeface="MV Boli" panose="02000500030200090000" pitchFamily="2" charset="0"/>
                </a:rPr>
                <a:t>2M # </a:t>
              </a:r>
              <a:r>
                <a:rPr lang="de-DE" sz="3200" dirty="0" err="1" smtClean="0">
                  <a:latin typeface="MV Boli" panose="02000500030200090000" pitchFamily="2" charset="0"/>
                  <a:cs typeface="MV Boli" panose="02000500030200090000" pitchFamily="2" charset="0"/>
                </a:rPr>
                <a:t>articles</a:t>
              </a:r>
              <a:endParaRPr lang="de-DE" sz="3200" dirty="0">
                <a:latin typeface="MV Boli" panose="02000500030200090000" pitchFamily="2" charset="0"/>
                <a:cs typeface="MV Boli" panose="02000500030200090000" pitchFamily="2" charset="0"/>
              </a:endParaRPr>
            </a:p>
          </p:txBody>
        </p:sp>
        <p:sp>
          <p:nvSpPr>
            <p:cNvPr id="11" name="Inhaltsplatzhalter 3"/>
            <p:cNvSpPr txBox="1">
              <a:spLocks/>
            </p:cNvSpPr>
            <p:nvPr/>
          </p:nvSpPr>
          <p:spPr>
            <a:xfrm>
              <a:off x="3104194" y="6054155"/>
              <a:ext cx="4740751" cy="492443"/>
            </a:xfrm>
            <a:prstGeom prst="rect">
              <a:avLst/>
            </a:prstGeom>
          </p:spPr>
          <p:txBody>
            <a:bodyPr vert="horz" wrap="square" lIns="0" tIns="0" rIns="0" bIns="0" rtlCol="0">
              <a:spAutoFit/>
            </a:bodyPr>
            <a:lstStyle>
              <a:lvl1pPr marL="0" indent="0" algn="l" defTabSz="914400" rtl="0" eaLnBrk="1" latinLnBrk="0" hangingPunct="1">
                <a:spcBef>
                  <a:spcPts val="200"/>
                </a:spcBef>
                <a:buClr>
                  <a:schemeClr val="tx2"/>
                </a:buClr>
                <a:buFont typeface="Wingdings" pitchFamily="2" charset="2"/>
                <a:buNone/>
                <a:defRPr sz="1600" kern="1200">
                  <a:solidFill>
                    <a:schemeClr val="tx2"/>
                  </a:solidFill>
                  <a:latin typeface="+mn-lt"/>
                  <a:ea typeface="+mn-ea"/>
                  <a:cs typeface="+mn-cs"/>
                </a:defRPr>
              </a:lvl1pPr>
              <a:lvl2pPr marL="180975" indent="-180975" algn="l" defTabSz="914400" rtl="0" eaLnBrk="1" latinLnBrk="0" hangingPunct="1">
                <a:spcBef>
                  <a:spcPts val="200"/>
                </a:spcBef>
                <a:buClr>
                  <a:schemeClr val="tx2"/>
                </a:buClr>
                <a:buFont typeface="Wingdings" pitchFamily="2" charset="2"/>
                <a:buChar char="§"/>
                <a:defRPr sz="1600" kern="1200">
                  <a:solidFill>
                    <a:schemeClr val="tx2"/>
                  </a:solidFill>
                  <a:latin typeface="+mn-lt"/>
                  <a:ea typeface="+mn-ea"/>
                  <a:cs typeface="+mn-cs"/>
                </a:defRPr>
              </a:lvl2pPr>
              <a:lvl3pPr marL="355600" indent="-174625"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3pPr>
              <a:lvl4pPr marL="538163" indent="-182563"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4pPr>
              <a:lvl5pPr marL="719138" indent="-180975" algn="l" defTabSz="914400" rtl="0" eaLnBrk="1" latinLnBrk="0" hangingPunct="1">
                <a:spcBef>
                  <a:spcPts val="200"/>
                </a:spcBef>
                <a:buClr>
                  <a:schemeClr val="tx2"/>
                </a:buClr>
                <a:buFont typeface="Symbol" pitchFamily="18" charset="2"/>
                <a:buChar char="-"/>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3200" b="1" dirty="0" smtClean="0">
                  <a:latin typeface="MV Boli" panose="02000500030200090000" pitchFamily="2" charset="0"/>
                  <a:cs typeface="MV Boli" panose="02000500030200090000" pitchFamily="2" charset="0"/>
                </a:rPr>
                <a:t>3800 EUR per </a:t>
              </a:r>
              <a:r>
                <a:rPr lang="de-DE" sz="3200" b="1" dirty="0" err="1" smtClean="0">
                  <a:latin typeface="MV Boli" panose="02000500030200090000" pitchFamily="2" charset="0"/>
                  <a:cs typeface="MV Boli" panose="02000500030200090000" pitchFamily="2" charset="0"/>
                </a:rPr>
                <a:t>article</a:t>
              </a:r>
              <a:endParaRPr lang="de-DE" sz="3200" b="1" dirty="0">
                <a:latin typeface="MV Boli" panose="02000500030200090000" pitchFamily="2" charset="0"/>
                <a:cs typeface="MV Boli" panose="02000500030200090000" pitchFamily="2" charset="0"/>
              </a:endParaRPr>
            </a:p>
          </p:txBody>
        </p:sp>
        <p:sp>
          <p:nvSpPr>
            <p:cNvPr id="12" name="Freihandform 11"/>
            <p:cNvSpPr/>
            <p:nvPr/>
          </p:nvSpPr>
          <p:spPr>
            <a:xfrm>
              <a:off x="3344179" y="5758788"/>
              <a:ext cx="3023201" cy="28226"/>
            </a:xfrm>
            <a:custGeom>
              <a:avLst/>
              <a:gdLst>
                <a:gd name="connsiteX0" fmla="*/ 0 w 2144111"/>
                <a:gd name="connsiteY0" fmla="*/ 0 h 18918"/>
                <a:gd name="connsiteX1" fmla="*/ 0 w 2144111"/>
                <a:gd name="connsiteY1" fmla="*/ 0 h 18918"/>
                <a:gd name="connsiteX2" fmla="*/ 2144111 w 2144111"/>
                <a:gd name="connsiteY2" fmla="*/ 18918 h 18918"/>
                <a:gd name="connsiteX3" fmla="*/ 2144111 w 2144111"/>
                <a:gd name="connsiteY3" fmla="*/ 18918 h 18918"/>
              </a:gdLst>
              <a:ahLst/>
              <a:cxnLst>
                <a:cxn ang="0">
                  <a:pos x="connsiteX0" y="connsiteY0"/>
                </a:cxn>
                <a:cxn ang="0">
                  <a:pos x="connsiteX1" y="connsiteY1"/>
                </a:cxn>
                <a:cxn ang="0">
                  <a:pos x="connsiteX2" y="connsiteY2"/>
                </a:cxn>
                <a:cxn ang="0">
                  <a:pos x="connsiteX3" y="connsiteY3"/>
                </a:cxn>
              </a:cxnLst>
              <a:rect l="l" t="t" r="r" b="b"/>
              <a:pathLst>
                <a:path w="2144111" h="18918">
                  <a:moveTo>
                    <a:pt x="0" y="0"/>
                  </a:moveTo>
                  <a:lnTo>
                    <a:pt x="0" y="0"/>
                  </a:lnTo>
                  <a:lnTo>
                    <a:pt x="2144111" y="18918"/>
                  </a:lnTo>
                  <a:lnTo>
                    <a:pt x="2144111" y="18918"/>
                  </a:lnTo>
                </a:path>
              </a:pathLst>
            </a:cu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3600"/>
            </a:p>
          </p:txBody>
        </p:sp>
        <p:grpSp>
          <p:nvGrpSpPr>
            <p:cNvPr id="13" name="Gruppieren 12"/>
            <p:cNvGrpSpPr/>
            <p:nvPr/>
          </p:nvGrpSpPr>
          <p:grpSpPr>
            <a:xfrm>
              <a:off x="2913022" y="5138095"/>
              <a:ext cx="382346" cy="353258"/>
              <a:chOff x="1898168" y="2863013"/>
              <a:chExt cx="271167" cy="236764"/>
            </a:xfrm>
          </p:grpSpPr>
          <p:sp>
            <p:nvSpPr>
              <p:cNvPr id="14" name="Freihandform 13"/>
              <p:cNvSpPr/>
              <p:nvPr/>
            </p:nvSpPr>
            <p:spPr>
              <a:xfrm>
                <a:off x="1898168" y="2976530"/>
                <a:ext cx="271167" cy="6306"/>
              </a:xfrm>
              <a:custGeom>
                <a:avLst/>
                <a:gdLst>
                  <a:gd name="connsiteX0" fmla="*/ 0 w 271167"/>
                  <a:gd name="connsiteY0" fmla="*/ 0 h 6306"/>
                  <a:gd name="connsiteX1" fmla="*/ 0 w 271167"/>
                  <a:gd name="connsiteY1" fmla="*/ 0 h 6306"/>
                  <a:gd name="connsiteX2" fmla="*/ 227024 w 271167"/>
                  <a:gd name="connsiteY2" fmla="*/ 6306 h 6306"/>
                  <a:gd name="connsiteX3" fmla="*/ 271167 w 271167"/>
                  <a:gd name="connsiteY3" fmla="*/ 0 h 6306"/>
                  <a:gd name="connsiteX4" fmla="*/ 271167 w 271167"/>
                  <a:gd name="connsiteY4" fmla="*/ 0 h 63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1167" h="6306">
                    <a:moveTo>
                      <a:pt x="0" y="0"/>
                    </a:moveTo>
                    <a:lnTo>
                      <a:pt x="0" y="0"/>
                    </a:lnTo>
                    <a:cubicBezTo>
                      <a:pt x="75675" y="2102"/>
                      <a:pt x="151320" y="6306"/>
                      <a:pt x="227024" y="6306"/>
                    </a:cubicBezTo>
                    <a:cubicBezTo>
                      <a:pt x="241888" y="6306"/>
                      <a:pt x="271167" y="0"/>
                      <a:pt x="271167" y="0"/>
                    </a:cubicBezTo>
                    <a:lnTo>
                      <a:pt x="271167" y="0"/>
                    </a:lnTo>
                  </a:path>
                </a:pathLst>
              </a:cu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3600"/>
              </a:p>
            </p:txBody>
          </p:sp>
          <p:sp>
            <p:nvSpPr>
              <p:cNvPr id="15" name="Ellipse 14"/>
              <p:cNvSpPr/>
              <p:nvPr/>
            </p:nvSpPr>
            <p:spPr>
              <a:xfrm>
                <a:off x="1988032" y="2863013"/>
                <a:ext cx="45719" cy="4571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2400" dirty="0" smtClean="0">
                  <a:solidFill>
                    <a:schemeClr val="tx1"/>
                  </a:solidFill>
                </a:endParaRPr>
              </a:p>
            </p:txBody>
          </p:sp>
          <p:sp>
            <p:nvSpPr>
              <p:cNvPr id="16" name="Ellipse 15"/>
              <p:cNvSpPr/>
              <p:nvPr/>
            </p:nvSpPr>
            <p:spPr>
              <a:xfrm>
                <a:off x="1997491" y="3054058"/>
                <a:ext cx="45719" cy="4571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2400" dirty="0" smtClean="0">
                  <a:solidFill>
                    <a:schemeClr val="tx1"/>
                  </a:solidFill>
                </a:endParaRPr>
              </a:p>
            </p:txBody>
          </p:sp>
        </p:grpSp>
      </p:grpSp>
      <p:pic>
        <p:nvPicPr>
          <p:cNvPr id="26" name="Grafik 2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965110" y="2754644"/>
            <a:ext cx="1884116" cy="855480"/>
          </a:xfrm>
          <a:prstGeom prst="rect">
            <a:avLst/>
          </a:prstGeom>
          <a:effectLst>
            <a:outerShdw blurRad="50800" dist="38100" dir="2700000" algn="tl" rotWithShape="0">
              <a:prstClr val="black">
                <a:alpha val="40000"/>
              </a:prstClr>
            </a:outerShdw>
          </a:effectLst>
        </p:spPr>
      </p:pic>
      <p:pic>
        <p:nvPicPr>
          <p:cNvPr id="27" name="Grafik 2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rot="21072779">
            <a:off x="-2176055" y="2754643"/>
            <a:ext cx="1884116" cy="855480"/>
          </a:xfrm>
          <a:prstGeom prst="rect">
            <a:avLst/>
          </a:prstGeom>
          <a:effectLst>
            <a:outerShdw blurRad="50800" dist="38100" dir="2700000" algn="tl" rotWithShape="0">
              <a:prstClr val="black">
                <a:alpha val="40000"/>
              </a:prstClr>
            </a:outerShdw>
          </a:effectLst>
        </p:spPr>
      </p:pic>
      <p:grpSp>
        <p:nvGrpSpPr>
          <p:cNvPr id="17" name="Gruppieren 16"/>
          <p:cNvGrpSpPr/>
          <p:nvPr/>
        </p:nvGrpSpPr>
        <p:grpSpPr>
          <a:xfrm>
            <a:off x="7508269" y="4686256"/>
            <a:ext cx="1168362" cy="2945318"/>
            <a:chOff x="8974260" y="3385711"/>
            <a:chExt cx="828624" cy="1974042"/>
          </a:xfrm>
        </p:grpSpPr>
        <p:grpSp>
          <p:nvGrpSpPr>
            <p:cNvPr id="18" name="Gruppieren 17"/>
            <p:cNvGrpSpPr/>
            <p:nvPr/>
          </p:nvGrpSpPr>
          <p:grpSpPr>
            <a:xfrm rot="8762874">
              <a:off x="8974260" y="3385711"/>
              <a:ext cx="240847" cy="1974042"/>
              <a:chOff x="8675657" y="2646996"/>
              <a:chExt cx="240847" cy="1974042"/>
            </a:xfrm>
            <a:solidFill>
              <a:schemeClr val="bg2"/>
            </a:solidFill>
          </p:grpSpPr>
          <p:sp>
            <p:nvSpPr>
              <p:cNvPr id="22" name="Rechteck 21"/>
              <p:cNvSpPr/>
              <p:nvPr/>
            </p:nvSpPr>
            <p:spPr>
              <a:xfrm>
                <a:off x="8694594" y="2646996"/>
                <a:ext cx="201405" cy="1551334"/>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2000" dirty="0" smtClean="0">
                  <a:solidFill>
                    <a:schemeClr val="tx1"/>
                  </a:solidFill>
                </a:endParaRPr>
              </a:p>
            </p:txBody>
          </p:sp>
          <p:sp>
            <p:nvSpPr>
              <p:cNvPr id="23" name="Gleichschenkliges Dreieck 22"/>
              <p:cNvSpPr/>
              <p:nvPr/>
            </p:nvSpPr>
            <p:spPr>
              <a:xfrm rot="10800000">
                <a:off x="8675657" y="4240328"/>
                <a:ext cx="240847" cy="380710"/>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2000" dirty="0" smtClean="0">
                  <a:solidFill>
                    <a:schemeClr val="tx1"/>
                  </a:solidFill>
                </a:endParaRPr>
              </a:p>
            </p:txBody>
          </p:sp>
        </p:grpSp>
        <p:sp>
          <p:nvSpPr>
            <p:cNvPr id="21" name="Ellipse 20"/>
            <p:cNvSpPr/>
            <p:nvPr/>
          </p:nvSpPr>
          <p:spPr>
            <a:xfrm rot="19738401">
              <a:off x="9573004" y="5142817"/>
              <a:ext cx="229880" cy="130464"/>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2000" dirty="0" smtClean="0">
                <a:solidFill>
                  <a:schemeClr val="tx1"/>
                </a:solidFill>
              </a:endParaRPr>
            </a:p>
          </p:txBody>
        </p:sp>
      </p:grpSp>
      <p:sp>
        <p:nvSpPr>
          <p:cNvPr id="25" name="Inhaltsplatzhalter 3"/>
          <p:cNvSpPr txBox="1">
            <a:spLocks/>
          </p:cNvSpPr>
          <p:nvPr/>
        </p:nvSpPr>
        <p:spPr>
          <a:xfrm>
            <a:off x="6762889" y="3887404"/>
            <a:ext cx="2753177" cy="413289"/>
          </a:xfrm>
          <a:prstGeom prst="rect">
            <a:avLst/>
          </a:prstGeom>
        </p:spPr>
        <p:txBody>
          <a:bodyPr/>
          <a:lstStyle>
            <a:lvl1pPr marL="0" indent="0" algn="l" defTabSz="914400" rtl="0" eaLnBrk="1" latinLnBrk="0" hangingPunct="1">
              <a:spcBef>
                <a:spcPts val="200"/>
              </a:spcBef>
              <a:buClr>
                <a:schemeClr val="tx2"/>
              </a:buClr>
              <a:buFont typeface="Wingdings" pitchFamily="2" charset="2"/>
              <a:buNone/>
              <a:defRPr sz="1600" kern="1200">
                <a:solidFill>
                  <a:schemeClr val="tx2"/>
                </a:solidFill>
                <a:latin typeface="+mn-lt"/>
                <a:ea typeface="+mn-ea"/>
                <a:cs typeface="+mn-cs"/>
              </a:defRPr>
            </a:lvl1pPr>
            <a:lvl2pPr marL="180975" indent="-180975" algn="l" defTabSz="914400" rtl="0" eaLnBrk="1" latinLnBrk="0" hangingPunct="1">
              <a:spcBef>
                <a:spcPts val="200"/>
              </a:spcBef>
              <a:buClr>
                <a:schemeClr val="tx2"/>
              </a:buClr>
              <a:buFont typeface="Wingdings" pitchFamily="2" charset="2"/>
              <a:buChar char="§"/>
              <a:defRPr sz="1600" kern="1200">
                <a:solidFill>
                  <a:schemeClr val="tx2"/>
                </a:solidFill>
                <a:latin typeface="+mn-lt"/>
                <a:ea typeface="+mn-ea"/>
                <a:cs typeface="+mn-cs"/>
              </a:defRPr>
            </a:lvl2pPr>
            <a:lvl3pPr marL="355600" indent="-174625"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3pPr>
            <a:lvl4pPr marL="538163" indent="-182563"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4pPr>
            <a:lvl5pPr marL="719138" indent="-180975" algn="l" defTabSz="914400" rtl="0" eaLnBrk="1" latinLnBrk="0" hangingPunct="1">
              <a:spcBef>
                <a:spcPts val="200"/>
              </a:spcBef>
              <a:buClr>
                <a:schemeClr val="tx2"/>
              </a:buClr>
              <a:buFont typeface="Symbol" pitchFamily="18" charset="2"/>
              <a:buChar char="-"/>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4000" b="1" dirty="0" smtClean="0">
                <a:latin typeface="MV Boli" panose="02000500030200090000" pitchFamily="2" charset="0"/>
                <a:cs typeface="MV Boli" panose="02000500030200090000" pitchFamily="2" charset="0"/>
              </a:rPr>
              <a:t>+ 10</a:t>
            </a:r>
          </a:p>
        </p:txBody>
      </p:sp>
      <p:sp>
        <p:nvSpPr>
          <p:cNvPr id="28" name="Inhaltsplatzhalter 3"/>
          <p:cNvSpPr txBox="1">
            <a:spLocks/>
          </p:cNvSpPr>
          <p:nvPr/>
        </p:nvSpPr>
        <p:spPr>
          <a:xfrm>
            <a:off x="6714732" y="4467354"/>
            <a:ext cx="2753177" cy="413289"/>
          </a:xfrm>
          <a:prstGeom prst="rect">
            <a:avLst/>
          </a:prstGeom>
        </p:spPr>
        <p:txBody>
          <a:bodyPr/>
          <a:lstStyle>
            <a:lvl1pPr marL="0" indent="0" algn="l" defTabSz="914400" rtl="0" eaLnBrk="1" latinLnBrk="0" hangingPunct="1">
              <a:spcBef>
                <a:spcPts val="200"/>
              </a:spcBef>
              <a:buClr>
                <a:schemeClr val="tx2"/>
              </a:buClr>
              <a:buFont typeface="Wingdings" pitchFamily="2" charset="2"/>
              <a:buNone/>
              <a:defRPr sz="1600" kern="1200">
                <a:solidFill>
                  <a:schemeClr val="tx2"/>
                </a:solidFill>
                <a:latin typeface="+mn-lt"/>
                <a:ea typeface="+mn-ea"/>
                <a:cs typeface="+mn-cs"/>
              </a:defRPr>
            </a:lvl1pPr>
            <a:lvl2pPr marL="180975" indent="-180975" algn="l" defTabSz="914400" rtl="0" eaLnBrk="1" latinLnBrk="0" hangingPunct="1">
              <a:spcBef>
                <a:spcPts val="200"/>
              </a:spcBef>
              <a:buClr>
                <a:schemeClr val="tx2"/>
              </a:buClr>
              <a:buFont typeface="Wingdings" pitchFamily="2" charset="2"/>
              <a:buChar char="§"/>
              <a:defRPr sz="1600" kern="1200">
                <a:solidFill>
                  <a:schemeClr val="tx2"/>
                </a:solidFill>
                <a:latin typeface="+mn-lt"/>
                <a:ea typeface="+mn-ea"/>
                <a:cs typeface="+mn-cs"/>
              </a:defRPr>
            </a:lvl2pPr>
            <a:lvl3pPr marL="355600" indent="-174625"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3pPr>
            <a:lvl4pPr marL="538163" indent="-182563"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4pPr>
            <a:lvl5pPr marL="719138" indent="-180975" algn="l" defTabSz="914400" rtl="0" eaLnBrk="1" latinLnBrk="0" hangingPunct="1">
              <a:spcBef>
                <a:spcPts val="200"/>
              </a:spcBef>
              <a:buClr>
                <a:schemeClr val="tx2"/>
              </a:buClr>
              <a:buFont typeface="Symbol" pitchFamily="18" charset="2"/>
              <a:buChar char="-"/>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4000" b="1" dirty="0" smtClean="0">
                <a:latin typeface="MV Boli" panose="02000500030200090000" pitchFamily="2" charset="0"/>
                <a:cs typeface="MV Boli" panose="02000500030200090000" pitchFamily="2" charset="0"/>
              </a:rPr>
              <a:t>+ 100</a:t>
            </a:r>
          </a:p>
        </p:txBody>
      </p:sp>
      <p:sp>
        <p:nvSpPr>
          <p:cNvPr id="29" name="Inhaltsplatzhalter 3"/>
          <p:cNvSpPr txBox="1">
            <a:spLocks/>
          </p:cNvSpPr>
          <p:nvPr/>
        </p:nvSpPr>
        <p:spPr>
          <a:xfrm>
            <a:off x="6711573" y="5100127"/>
            <a:ext cx="2753177" cy="413289"/>
          </a:xfrm>
          <a:prstGeom prst="rect">
            <a:avLst/>
          </a:prstGeom>
        </p:spPr>
        <p:txBody>
          <a:bodyPr/>
          <a:lstStyle>
            <a:lvl1pPr marL="0" indent="0" algn="l" defTabSz="914400" rtl="0" eaLnBrk="1" latinLnBrk="0" hangingPunct="1">
              <a:spcBef>
                <a:spcPts val="200"/>
              </a:spcBef>
              <a:buClr>
                <a:schemeClr val="tx2"/>
              </a:buClr>
              <a:buFont typeface="Wingdings" pitchFamily="2" charset="2"/>
              <a:buNone/>
              <a:defRPr sz="1600" kern="1200">
                <a:solidFill>
                  <a:schemeClr val="tx2"/>
                </a:solidFill>
                <a:latin typeface="+mn-lt"/>
                <a:ea typeface="+mn-ea"/>
                <a:cs typeface="+mn-cs"/>
              </a:defRPr>
            </a:lvl1pPr>
            <a:lvl2pPr marL="180975" indent="-180975" algn="l" defTabSz="914400" rtl="0" eaLnBrk="1" latinLnBrk="0" hangingPunct="1">
              <a:spcBef>
                <a:spcPts val="200"/>
              </a:spcBef>
              <a:buClr>
                <a:schemeClr val="tx2"/>
              </a:buClr>
              <a:buFont typeface="Wingdings" pitchFamily="2" charset="2"/>
              <a:buChar char="§"/>
              <a:defRPr sz="1600" kern="1200">
                <a:solidFill>
                  <a:schemeClr val="tx2"/>
                </a:solidFill>
                <a:latin typeface="+mn-lt"/>
                <a:ea typeface="+mn-ea"/>
                <a:cs typeface="+mn-cs"/>
              </a:defRPr>
            </a:lvl2pPr>
            <a:lvl3pPr marL="355600" indent="-174625"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3pPr>
            <a:lvl4pPr marL="538163" indent="-182563"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4pPr>
            <a:lvl5pPr marL="719138" indent="-180975" algn="l" defTabSz="914400" rtl="0" eaLnBrk="1" latinLnBrk="0" hangingPunct="1">
              <a:spcBef>
                <a:spcPts val="200"/>
              </a:spcBef>
              <a:buClr>
                <a:schemeClr val="tx2"/>
              </a:buClr>
              <a:buFont typeface="Symbol" pitchFamily="18" charset="2"/>
              <a:buChar char="-"/>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4000" b="1" dirty="0" smtClean="0">
                <a:solidFill>
                  <a:schemeClr val="accent6"/>
                </a:solidFill>
                <a:latin typeface="MV Boli" panose="02000500030200090000" pitchFamily="2" charset="0"/>
                <a:cs typeface="MV Boli" panose="02000500030200090000" pitchFamily="2" charset="0"/>
              </a:rPr>
              <a:t>+ 1000</a:t>
            </a:r>
          </a:p>
        </p:txBody>
      </p:sp>
      <p:sp>
        <p:nvSpPr>
          <p:cNvPr id="19" name="Freihandform 18"/>
          <p:cNvSpPr/>
          <p:nvPr/>
        </p:nvSpPr>
        <p:spPr>
          <a:xfrm>
            <a:off x="7014202" y="3887404"/>
            <a:ext cx="931619" cy="579950"/>
          </a:xfrm>
          <a:custGeom>
            <a:avLst/>
            <a:gdLst>
              <a:gd name="connsiteX0" fmla="*/ 0 w 624314"/>
              <a:gd name="connsiteY0" fmla="*/ 359453 h 359453"/>
              <a:gd name="connsiteX1" fmla="*/ 0 w 624314"/>
              <a:gd name="connsiteY1" fmla="*/ 359453 h 359453"/>
              <a:gd name="connsiteX2" fmla="*/ 56756 w 624314"/>
              <a:gd name="connsiteY2" fmla="*/ 334229 h 359453"/>
              <a:gd name="connsiteX3" fmla="*/ 435128 w 624314"/>
              <a:gd name="connsiteY3" fmla="*/ 119818 h 359453"/>
              <a:gd name="connsiteX4" fmla="*/ 586477 w 624314"/>
              <a:gd name="connsiteY4" fmla="*/ 31531 h 359453"/>
              <a:gd name="connsiteX5" fmla="*/ 599090 w 624314"/>
              <a:gd name="connsiteY5" fmla="*/ 18918 h 359453"/>
              <a:gd name="connsiteX6" fmla="*/ 624314 w 624314"/>
              <a:gd name="connsiteY6" fmla="*/ 0 h 359453"/>
              <a:gd name="connsiteX7" fmla="*/ 624314 w 624314"/>
              <a:gd name="connsiteY7" fmla="*/ 0 h 359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314" h="359453">
                <a:moveTo>
                  <a:pt x="0" y="359453"/>
                </a:moveTo>
                <a:lnTo>
                  <a:pt x="0" y="359453"/>
                </a:lnTo>
                <a:cubicBezTo>
                  <a:pt x="18919" y="351045"/>
                  <a:pt x="38621" y="344216"/>
                  <a:pt x="56756" y="334229"/>
                </a:cubicBezTo>
                <a:cubicBezTo>
                  <a:pt x="183739" y="264296"/>
                  <a:pt x="300531" y="173659"/>
                  <a:pt x="435128" y="119818"/>
                </a:cubicBezTo>
                <a:cubicBezTo>
                  <a:pt x="506438" y="91293"/>
                  <a:pt x="474115" y="106439"/>
                  <a:pt x="586477" y="31531"/>
                </a:cubicBezTo>
                <a:cubicBezTo>
                  <a:pt x="591424" y="28233"/>
                  <a:pt x="594522" y="22724"/>
                  <a:pt x="599090" y="18918"/>
                </a:cubicBezTo>
                <a:cubicBezTo>
                  <a:pt x="607164" y="12190"/>
                  <a:pt x="624314" y="0"/>
                  <a:pt x="624314" y="0"/>
                </a:cubicBezTo>
                <a:lnTo>
                  <a:pt x="624314" y="0"/>
                </a:lnTo>
              </a:path>
            </a:pathLst>
          </a:custGeom>
          <a:noFill/>
          <a:ln w="285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Freihandform 29"/>
          <p:cNvSpPr/>
          <p:nvPr/>
        </p:nvSpPr>
        <p:spPr>
          <a:xfrm flipH="1">
            <a:off x="7014199" y="3887404"/>
            <a:ext cx="931619" cy="579950"/>
          </a:xfrm>
          <a:custGeom>
            <a:avLst/>
            <a:gdLst>
              <a:gd name="connsiteX0" fmla="*/ 0 w 624314"/>
              <a:gd name="connsiteY0" fmla="*/ 359453 h 359453"/>
              <a:gd name="connsiteX1" fmla="*/ 0 w 624314"/>
              <a:gd name="connsiteY1" fmla="*/ 359453 h 359453"/>
              <a:gd name="connsiteX2" fmla="*/ 56756 w 624314"/>
              <a:gd name="connsiteY2" fmla="*/ 334229 h 359453"/>
              <a:gd name="connsiteX3" fmla="*/ 435128 w 624314"/>
              <a:gd name="connsiteY3" fmla="*/ 119818 h 359453"/>
              <a:gd name="connsiteX4" fmla="*/ 586477 w 624314"/>
              <a:gd name="connsiteY4" fmla="*/ 31531 h 359453"/>
              <a:gd name="connsiteX5" fmla="*/ 599090 w 624314"/>
              <a:gd name="connsiteY5" fmla="*/ 18918 h 359453"/>
              <a:gd name="connsiteX6" fmla="*/ 624314 w 624314"/>
              <a:gd name="connsiteY6" fmla="*/ 0 h 359453"/>
              <a:gd name="connsiteX7" fmla="*/ 624314 w 624314"/>
              <a:gd name="connsiteY7" fmla="*/ 0 h 359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314" h="359453">
                <a:moveTo>
                  <a:pt x="0" y="359453"/>
                </a:moveTo>
                <a:lnTo>
                  <a:pt x="0" y="359453"/>
                </a:lnTo>
                <a:cubicBezTo>
                  <a:pt x="18919" y="351045"/>
                  <a:pt x="38621" y="344216"/>
                  <a:pt x="56756" y="334229"/>
                </a:cubicBezTo>
                <a:cubicBezTo>
                  <a:pt x="183739" y="264296"/>
                  <a:pt x="300531" y="173659"/>
                  <a:pt x="435128" y="119818"/>
                </a:cubicBezTo>
                <a:cubicBezTo>
                  <a:pt x="506438" y="91293"/>
                  <a:pt x="474115" y="106439"/>
                  <a:pt x="586477" y="31531"/>
                </a:cubicBezTo>
                <a:cubicBezTo>
                  <a:pt x="591424" y="28233"/>
                  <a:pt x="594522" y="22724"/>
                  <a:pt x="599090" y="18918"/>
                </a:cubicBezTo>
                <a:cubicBezTo>
                  <a:pt x="607164" y="12190"/>
                  <a:pt x="624314" y="0"/>
                  <a:pt x="624314" y="0"/>
                </a:cubicBezTo>
                <a:lnTo>
                  <a:pt x="624314" y="0"/>
                </a:lnTo>
              </a:path>
            </a:pathLst>
          </a:custGeom>
          <a:noFill/>
          <a:ln w="285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Freihandform 30"/>
          <p:cNvSpPr/>
          <p:nvPr/>
        </p:nvSpPr>
        <p:spPr>
          <a:xfrm>
            <a:off x="7035715" y="4524250"/>
            <a:ext cx="1187580" cy="509201"/>
          </a:xfrm>
          <a:custGeom>
            <a:avLst/>
            <a:gdLst>
              <a:gd name="connsiteX0" fmla="*/ 0 w 624314"/>
              <a:gd name="connsiteY0" fmla="*/ 359453 h 359453"/>
              <a:gd name="connsiteX1" fmla="*/ 0 w 624314"/>
              <a:gd name="connsiteY1" fmla="*/ 359453 h 359453"/>
              <a:gd name="connsiteX2" fmla="*/ 56756 w 624314"/>
              <a:gd name="connsiteY2" fmla="*/ 334229 h 359453"/>
              <a:gd name="connsiteX3" fmla="*/ 435128 w 624314"/>
              <a:gd name="connsiteY3" fmla="*/ 119818 h 359453"/>
              <a:gd name="connsiteX4" fmla="*/ 586477 w 624314"/>
              <a:gd name="connsiteY4" fmla="*/ 31531 h 359453"/>
              <a:gd name="connsiteX5" fmla="*/ 599090 w 624314"/>
              <a:gd name="connsiteY5" fmla="*/ 18918 h 359453"/>
              <a:gd name="connsiteX6" fmla="*/ 624314 w 624314"/>
              <a:gd name="connsiteY6" fmla="*/ 0 h 359453"/>
              <a:gd name="connsiteX7" fmla="*/ 624314 w 624314"/>
              <a:gd name="connsiteY7" fmla="*/ 0 h 359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314" h="359453">
                <a:moveTo>
                  <a:pt x="0" y="359453"/>
                </a:moveTo>
                <a:lnTo>
                  <a:pt x="0" y="359453"/>
                </a:lnTo>
                <a:cubicBezTo>
                  <a:pt x="18919" y="351045"/>
                  <a:pt x="38621" y="344216"/>
                  <a:pt x="56756" y="334229"/>
                </a:cubicBezTo>
                <a:cubicBezTo>
                  <a:pt x="183739" y="264296"/>
                  <a:pt x="300531" y="173659"/>
                  <a:pt x="435128" y="119818"/>
                </a:cubicBezTo>
                <a:cubicBezTo>
                  <a:pt x="506438" y="91293"/>
                  <a:pt x="474115" y="106439"/>
                  <a:pt x="586477" y="31531"/>
                </a:cubicBezTo>
                <a:cubicBezTo>
                  <a:pt x="591424" y="28233"/>
                  <a:pt x="594522" y="22724"/>
                  <a:pt x="599090" y="18918"/>
                </a:cubicBezTo>
                <a:cubicBezTo>
                  <a:pt x="607164" y="12190"/>
                  <a:pt x="624314" y="0"/>
                  <a:pt x="624314" y="0"/>
                </a:cubicBezTo>
                <a:lnTo>
                  <a:pt x="624314" y="0"/>
                </a:lnTo>
              </a:path>
            </a:pathLst>
          </a:custGeom>
          <a:noFill/>
          <a:ln w="285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Freihandform 31"/>
          <p:cNvSpPr/>
          <p:nvPr/>
        </p:nvSpPr>
        <p:spPr>
          <a:xfrm flipH="1">
            <a:off x="7035713" y="4524250"/>
            <a:ext cx="1187580" cy="509201"/>
          </a:xfrm>
          <a:custGeom>
            <a:avLst/>
            <a:gdLst>
              <a:gd name="connsiteX0" fmla="*/ 0 w 624314"/>
              <a:gd name="connsiteY0" fmla="*/ 359453 h 359453"/>
              <a:gd name="connsiteX1" fmla="*/ 0 w 624314"/>
              <a:gd name="connsiteY1" fmla="*/ 359453 h 359453"/>
              <a:gd name="connsiteX2" fmla="*/ 56756 w 624314"/>
              <a:gd name="connsiteY2" fmla="*/ 334229 h 359453"/>
              <a:gd name="connsiteX3" fmla="*/ 435128 w 624314"/>
              <a:gd name="connsiteY3" fmla="*/ 119818 h 359453"/>
              <a:gd name="connsiteX4" fmla="*/ 586477 w 624314"/>
              <a:gd name="connsiteY4" fmla="*/ 31531 h 359453"/>
              <a:gd name="connsiteX5" fmla="*/ 599090 w 624314"/>
              <a:gd name="connsiteY5" fmla="*/ 18918 h 359453"/>
              <a:gd name="connsiteX6" fmla="*/ 624314 w 624314"/>
              <a:gd name="connsiteY6" fmla="*/ 0 h 359453"/>
              <a:gd name="connsiteX7" fmla="*/ 624314 w 624314"/>
              <a:gd name="connsiteY7" fmla="*/ 0 h 359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4314" h="359453">
                <a:moveTo>
                  <a:pt x="0" y="359453"/>
                </a:moveTo>
                <a:lnTo>
                  <a:pt x="0" y="359453"/>
                </a:lnTo>
                <a:cubicBezTo>
                  <a:pt x="18919" y="351045"/>
                  <a:pt x="38621" y="344216"/>
                  <a:pt x="56756" y="334229"/>
                </a:cubicBezTo>
                <a:cubicBezTo>
                  <a:pt x="183739" y="264296"/>
                  <a:pt x="300531" y="173659"/>
                  <a:pt x="435128" y="119818"/>
                </a:cubicBezTo>
                <a:cubicBezTo>
                  <a:pt x="506438" y="91293"/>
                  <a:pt x="474115" y="106439"/>
                  <a:pt x="586477" y="31531"/>
                </a:cubicBezTo>
                <a:cubicBezTo>
                  <a:pt x="591424" y="28233"/>
                  <a:pt x="594522" y="22724"/>
                  <a:pt x="599090" y="18918"/>
                </a:cubicBezTo>
                <a:cubicBezTo>
                  <a:pt x="607164" y="12190"/>
                  <a:pt x="624314" y="0"/>
                  <a:pt x="624314" y="0"/>
                </a:cubicBezTo>
                <a:lnTo>
                  <a:pt x="624314" y="0"/>
                </a:lnTo>
              </a:path>
            </a:pathLst>
          </a:custGeom>
          <a:noFill/>
          <a:ln w="285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5993691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0" presetClass="path" presetSubtype="0" accel="50000" decel="50000" fill="hold" nodeType="withEffect">
                                  <p:stCondLst>
                                    <p:cond delay="2600"/>
                                  </p:stCondLst>
                                  <p:childTnLst>
                                    <p:animMotion origin="layout" path="M 0.00288 -1.15687E-6 C 0.00128 -0.0162 -0.00241 -0.03008 -0.00689 -0.04512 C -0.00914 -0.05252 -0.01026 -0.05969 -0.0125 -0.0671 C -0.01298 -0.06872 -0.01394 -0.07172 -0.01394 -0.07149 C -0.01491 -0.07936 -0.01715 -0.08653 -0.01923 -0.09371 C -0.02019 -0.09694 -0.02276 -0.10296 -0.02276 -0.10273 C -0.02372 -0.10782 -0.02532 -0.11198 -0.02772 -0.11592 C -0.03349 -0.13836 -0.03029 -0.12078 0.01169 -0.12031 C 0.04134 -0.11985 0.07082 -0.11985 0.10046 -0.11962 C 0.10831 -0.11985 0.12401 -0.12031 0.12401 -0.12008 " pathEditMode="relative" rAng="0" ptsTypes="fffffffffA">
                                      <p:cBhvr>
                                        <p:cTn id="6" dur="2000" fill="hold"/>
                                        <p:tgtEl>
                                          <p:spTgt spid="17"/>
                                        </p:tgtEl>
                                        <p:attrNameLst>
                                          <p:attrName>ppt_x</p:attrName>
                                          <p:attrName>ppt_y</p:attrName>
                                        </p:attrNameLst>
                                      </p:cBhvr>
                                      <p:rCtr x="4230" y="-6918"/>
                                    </p:animMotion>
                                  </p:childTnLst>
                                </p:cTn>
                              </p:par>
                              <p:par>
                                <p:cTn id="7" presetID="22" presetClass="entr" presetSubtype="8" fill="hold" grpId="0" nodeType="withEffect">
                                  <p:stCondLst>
                                    <p:cond delay="3500"/>
                                  </p:stCondLst>
                                  <p:childTnLst>
                                    <p:set>
                                      <p:cBhvr>
                                        <p:cTn id="8" dur="1" fill="hold">
                                          <p:stCondLst>
                                            <p:cond delay="0"/>
                                          </p:stCondLst>
                                        </p:cTn>
                                        <p:tgtEl>
                                          <p:spTgt spid="25"/>
                                        </p:tgtEl>
                                        <p:attrNameLst>
                                          <p:attrName>style.visibility</p:attrName>
                                        </p:attrNameLst>
                                      </p:cBhvr>
                                      <p:to>
                                        <p:strVal val="visible"/>
                                      </p:to>
                                    </p:set>
                                    <p:animEffect transition="in" filter="wipe(left)">
                                      <p:cBhvr>
                                        <p:cTn id="9" dur="1100"/>
                                        <p:tgtEl>
                                          <p:spTgt spid="25"/>
                                        </p:tgtEl>
                                      </p:cBhvr>
                                    </p:animEffect>
                                  </p:childTnLst>
                                </p:cTn>
                              </p:par>
                              <p:par>
                                <p:cTn id="10" presetID="22" presetClass="entr" presetSubtype="8" fill="hold" grpId="0" nodeType="withEffect">
                                  <p:stCondLst>
                                    <p:cond delay="4600"/>
                                  </p:stCondLst>
                                  <p:childTnLst>
                                    <p:set>
                                      <p:cBhvr>
                                        <p:cTn id="11" dur="1" fill="hold">
                                          <p:stCondLst>
                                            <p:cond delay="0"/>
                                          </p:stCondLst>
                                        </p:cTn>
                                        <p:tgtEl>
                                          <p:spTgt spid="19"/>
                                        </p:tgtEl>
                                        <p:attrNameLst>
                                          <p:attrName>style.visibility</p:attrName>
                                        </p:attrNameLst>
                                      </p:cBhvr>
                                      <p:to>
                                        <p:strVal val="visible"/>
                                      </p:to>
                                    </p:set>
                                    <p:animEffect transition="in" filter="wipe(left)">
                                      <p:cBhvr>
                                        <p:cTn id="12" dur="500"/>
                                        <p:tgtEl>
                                          <p:spTgt spid="19"/>
                                        </p:tgtEl>
                                      </p:cBhvr>
                                    </p:animEffect>
                                  </p:childTnLst>
                                </p:cTn>
                              </p:par>
                              <p:par>
                                <p:cTn id="13" presetID="22" presetClass="entr" presetSubtype="8" fill="hold" grpId="0" nodeType="withEffect">
                                  <p:stCondLst>
                                    <p:cond delay="5200"/>
                                  </p:stCondLst>
                                  <p:childTnLst>
                                    <p:set>
                                      <p:cBhvr>
                                        <p:cTn id="14" dur="1" fill="hold">
                                          <p:stCondLst>
                                            <p:cond delay="0"/>
                                          </p:stCondLst>
                                        </p:cTn>
                                        <p:tgtEl>
                                          <p:spTgt spid="30"/>
                                        </p:tgtEl>
                                        <p:attrNameLst>
                                          <p:attrName>style.visibility</p:attrName>
                                        </p:attrNameLst>
                                      </p:cBhvr>
                                      <p:to>
                                        <p:strVal val="visible"/>
                                      </p:to>
                                    </p:set>
                                    <p:animEffect transition="in" filter="wipe(left)">
                                      <p:cBhvr>
                                        <p:cTn id="15" dur="500"/>
                                        <p:tgtEl>
                                          <p:spTgt spid="30"/>
                                        </p:tgtEl>
                                      </p:cBhvr>
                                    </p:animEffect>
                                  </p:childTnLst>
                                </p:cTn>
                              </p:par>
                              <p:par>
                                <p:cTn id="16" presetID="0" presetClass="path" presetSubtype="0" accel="50000" decel="50000" fill="hold" nodeType="withEffect">
                                  <p:stCondLst>
                                    <p:cond delay="6500"/>
                                  </p:stCondLst>
                                  <p:childTnLst>
                                    <p:animMotion origin="layout" path="M 0.12401 -0.12008 C 0.12097 -0.11707 0.11873 -0.11407 0.1152 -0.11198 C 0.11168 -0.1099 0.10783 -0.10898 0.10431 -0.10643 C 0.09581 -0.10018 0.08716 -0.0944 0.07883 -0.08792 C 0.07643 -0.08607 0.07434 -0.08329 0.07178 -0.08144 C 0.06024 -0.07334 0.04726 -0.06918 0.03557 -0.06131 C 0.02499 -0.05437 0.01394 -0.04882 0.00368 -0.04118 C 3.72697E-6 -0.03841 -0.00305 -0.03563 -0.00705 -0.03378 C -0.0085 -0.03309 -0.0109 -0.03008 -0.0109 -0.02985 C 0.02595 -0.01689 0.10655 -0.028 0.14997 -0.028 " pathEditMode="relative" rAng="0" ptsTypes="ffffffffff">
                                      <p:cBhvr>
                                        <p:cTn id="17" dur="2000" fill="hold"/>
                                        <p:tgtEl>
                                          <p:spTgt spid="17"/>
                                        </p:tgtEl>
                                        <p:attrNameLst>
                                          <p:attrName>ppt_x</p:attrName>
                                          <p:attrName>ppt_y</p:attrName>
                                        </p:attrNameLst>
                                      </p:cBhvr>
                                      <p:rCtr x="-5448" y="5160"/>
                                    </p:animMotion>
                                  </p:childTnLst>
                                </p:cTn>
                              </p:par>
                              <p:par>
                                <p:cTn id="18" presetID="22" presetClass="entr" presetSubtype="8" fill="hold" grpId="0" nodeType="withEffect">
                                  <p:stCondLst>
                                    <p:cond delay="7200"/>
                                  </p:stCondLst>
                                  <p:childTnLst>
                                    <p:set>
                                      <p:cBhvr>
                                        <p:cTn id="19" dur="1" fill="hold">
                                          <p:stCondLst>
                                            <p:cond delay="0"/>
                                          </p:stCondLst>
                                        </p:cTn>
                                        <p:tgtEl>
                                          <p:spTgt spid="28"/>
                                        </p:tgtEl>
                                        <p:attrNameLst>
                                          <p:attrName>style.visibility</p:attrName>
                                        </p:attrNameLst>
                                      </p:cBhvr>
                                      <p:to>
                                        <p:strVal val="visible"/>
                                      </p:to>
                                    </p:set>
                                    <p:animEffect transition="in" filter="wipe(left)">
                                      <p:cBhvr>
                                        <p:cTn id="20" dur="1300"/>
                                        <p:tgtEl>
                                          <p:spTgt spid="28"/>
                                        </p:tgtEl>
                                      </p:cBhvr>
                                    </p:animEffect>
                                  </p:childTnLst>
                                </p:cTn>
                              </p:par>
                              <p:par>
                                <p:cTn id="21" presetID="22" presetClass="entr" presetSubtype="8" fill="hold" grpId="0" nodeType="withEffect">
                                  <p:stCondLst>
                                    <p:cond delay="8400"/>
                                  </p:stCondLst>
                                  <p:childTnLst>
                                    <p:set>
                                      <p:cBhvr>
                                        <p:cTn id="22" dur="1" fill="hold">
                                          <p:stCondLst>
                                            <p:cond delay="0"/>
                                          </p:stCondLst>
                                        </p:cTn>
                                        <p:tgtEl>
                                          <p:spTgt spid="31"/>
                                        </p:tgtEl>
                                        <p:attrNameLst>
                                          <p:attrName>style.visibility</p:attrName>
                                        </p:attrNameLst>
                                      </p:cBhvr>
                                      <p:to>
                                        <p:strVal val="visible"/>
                                      </p:to>
                                    </p:set>
                                    <p:animEffect transition="in" filter="wipe(left)">
                                      <p:cBhvr>
                                        <p:cTn id="23" dur="500"/>
                                        <p:tgtEl>
                                          <p:spTgt spid="31"/>
                                        </p:tgtEl>
                                      </p:cBhvr>
                                    </p:animEffect>
                                  </p:childTnLst>
                                </p:cTn>
                              </p:par>
                              <p:par>
                                <p:cTn id="24" presetID="22" presetClass="entr" presetSubtype="8" fill="hold" grpId="0" nodeType="withEffect">
                                  <p:stCondLst>
                                    <p:cond delay="8900"/>
                                  </p:stCondLst>
                                  <p:childTnLst>
                                    <p:set>
                                      <p:cBhvr>
                                        <p:cTn id="25" dur="1" fill="hold">
                                          <p:stCondLst>
                                            <p:cond delay="0"/>
                                          </p:stCondLst>
                                        </p:cTn>
                                        <p:tgtEl>
                                          <p:spTgt spid="32"/>
                                        </p:tgtEl>
                                        <p:attrNameLst>
                                          <p:attrName>style.visibility</p:attrName>
                                        </p:attrNameLst>
                                      </p:cBhvr>
                                      <p:to>
                                        <p:strVal val="visible"/>
                                      </p:to>
                                    </p:set>
                                    <p:animEffect transition="in" filter="wipe(left)">
                                      <p:cBhvr>
                                        <p:cTn id="26" dur="500"/>
                                        <p:tgtEl>
                                          <p:spTgt spid="32"/>
                                        </p:tgtEl>
                                      </p:cBhvr>
                                    </p:animEffect>
                                  </p:childTnLst>
                                </p:cTn>
                              </p:par>
                              <p:par>
                                <p:cTn id="27" presetID="0" presetClass="path" presetSubtype="0" accel="50000" decel="50000" fill="hold" nodeType="withEffect">
                                  <p:stCondLst>
                                    <p:cond delay="10200"/>
                                  </p:stCondLst>
                                  <p:childTnLst>
                                    <p:animMotion origin="layout" path="M 0.14997 -0.028 C 0.14516 -0.02569 0.1402 -0.02222 0.13539 -0.0206 C 0.12145 -0.01574 0.1051 -0.01481 0.09149 -0.00787 C 0.08171 -0.00301 0.07578 0.00324 0.06665 0.00879 C 0.0628 0.0111 0.05912 0.01365 0.05511 0.01527 C 0.05367 0.01596 0.05207 0.01619 0.05063 0.01712 C 0.03669 0.02545 0.02355 0.03586 0.00929 0.0428 C 0.0048 0.04789 0.00015 0.0502 -0.00529 0.05275 C 0.0064 0.05368 0.01794 0.05691 0.02964 0.0583 C 0.06361 0.06802 0.09886 0.06062 0.13347 0.06108 C 0.15301 0.06131 0.1724 0.062 0.19195 0.062 " pathEditMode="relative" ptsTypes="ffffffffffA">
                                      <p:cBhvr>
                                        <p:cTn id="28" dur="2000" fill="hold"/>
                                        <p:tgtEl>
                                          <p:spTgt spid="17"/>
                                        </p:tgtEl>
                                        <p:attrNameLst>
                                          <p:attrName>ppt_x</p:attrName>
                                          <p:attrName>ppt_y</p:attrName>
                                        </p:attrNameLst>
                                      </p:cBhvr>
                                    </p:animMotion>
                                  </p:childTnLst>
                                </p:cTn>
                              </p:par>
                              <p:par>
                                <p:cTn id="29" presetID="22" presetClass="entr" presetSubtype="8" fill="hold" grpId="0" nodeType="withEffect">
                                  <p:stCondLst>
                                    <p:cond delay="11000"/>
                                  </p:stCondLst>
                                  <p:childTnLst>
                                    <p:set>
                                      <p:cBhvr>
                                        <p:cTn id="30" dur="1" fill="hold">
                                          <p:stCondLst>
                                            <p:cond delay="0"/>
                                          </p:stCondLst>
                                        </p:cTn>
                                        <p:tgtEl>
                                          <p:spTgt spid="29"/>
                                        </p:tgtEl>
                                        <p:attrNameLst>
                                          <p:attrName>style.visibility</p:attrName>
                                        </p:attrNameLst>
                                      </p:cBhvr>
                                      <p:to>
                                        <p:strVal val="visible"/>
                                      </p:to>
                                    </p:set>
                                    <p:animEffect transition="in" filter="wipe(left)">
                                      <p:cBhvr>
                                        <p:cTn id="31" dur="12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P spid="28" grpId="0"/>
      <p:bldP spid="29" grpId="0"/>
      <p:bldP spid="19" grpId="0" animBg="1"/>
      <p:bldP spid="30" grpId="0" animBg="1"/>
      <p:bldP spid="31" grpId="0" animBg="1"/>
      <p:bldP spid="32"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platzhalter 2"/>
          <p:cNvSpPr txBox="1">
            <a:spLocks/>
          </p:cNvSpPr>
          <p:nvPr/>
        </p:nvSpPr>
        <p:spPr>
          <a:xfrm>
            <a:off x="231316" y="390768"/>
            <a:ext cx="9222419" cy="697671"/>
          </a:xfrm>
          <a:prstGeom prst="rect">
            <a:avLst/>
          </a:prstGeom>
        </p:spPr>
        <p:txBody>
          <a:bodyPr anchor="t" anchorCtr="0"/>
          <a:lstStyle>
            <a:lvl1pPr marL="0" indent="0" algn="l" defTabSz="914400" rtl="0" eaLnBrk="1" latinLnBrk="0" hangingPunct="1">
              <a:spcBef>
                <a:spcPts val="200"/>
              </a:spcBef>
              <a:buClr>
                <a:schemeClr val="tx2"/>
              </a:buClr>
              <a:buFont typeface="Wingdings" pitchFamily="2" charset="2"/>
              <a:buNone/>
              <a:defRPr sz="1600" kern="1200">
                <a:solidFill>
                  <a:schemeClr val="tx2"/>
                </a:solidFill>
                <a:latin typeface="+mn-lt"/>
                <a:ea typeface="+mn-ea"/>
                <a:cs typeface="+mn-cs"/>
              </a:defRPr>
            </a:lvl1pPr>
            <a:lvl2pPr marL="180975" indent="-180975" algn="l" defTabSz="914400" rtl="0" eaLnBrk="1" latinLnBrk="0" hangingPunct="1">
              <a:spcBef>
                <a:spcPts val="200"/>
              </a:spcBef>
              <a:buClr>
                <a:schemeClr val="tx2"/>
              </a:buClr>
              <a:buFont typeface="Wingdings" pitchFamily="2" charset="2"/>
              <a:buChar char="§"/>
              <a:defRPr sz="1600" kern="1200">
                <a:solidFill>
                  <a:schemeClr val="tx2"/>
                </a:solidFill>
                <a:latin typeface="+mn-lt"/>
                <a:ea typeface="+mn-ea"/>
                <a:cs typeface="+mn-cs"/>
              </a:defRPr>
            </a:lvl2pPr>
            <a:lvl3pPr marL="355600" indent="-174625"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3pPr>
            <a:lvl4pPr marL="538163" indent="-182563"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4pPr>
            <a:lvl5pPr marL="719138" indent="-180975" algn="l" defTabSz="914400" rtl="0" eaLnBrk="1" latinLnBrk="0" hangingPunct="1">
              <a:spcBef>
                <a:spcPts val="200"/>
              </a:spcBef>
              <a:buClr>
                <a:schemeClr val="tx2"/>
              </a:buClr>
              <a:buFont typeface="Symbol" pitchFamily="18" charset="2"/>
              <a:buChar char="-"/>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3600" b="1" dirty="0" err="1" smtClean="0">
                <a:solidFill>
                  <a:schemeClr val="accent6"/>
                </a:solidFill>
              </a:rPr>
              <a:t>Risks</a:t>
            </a:r>
            <a:r>
              <a:rPr lang="de-DE" sz="3600" b="1" dirty="0" smtClean="0">
                <a:solidFill>
                  <a:schemeClr val="accent6"/>
                </a:solidFill>
              </a:rPr>
              <a:t> </a:t>
            </a:r>
            <a:r>
              <a:rPr lang="de-DE" sz="3600" b="1" dirty="0" err="1" smtClean="0">
                <a:solidFill>
                  <a:schemeClr val="accent6"/>
                </a:solidFill>
              </a:rPr>
              <a:t>of</a:t>
            </a:r>
            <a:r>
              <a:rPr lang="de-DE" sz="3600" b="1" dirty="0" smtClean="0">
                <a:solidFill>
                  <a:schemeClr val="accent6"/>
                </a:solidFill>
              </a:rPr>
              <a:t> </a:t>
            </a:r>
            <a:r>
              <a:rPr lang="de-DE" sz="3600" b="1" dirty="0" err="1" smtClean="0">
                <a:solidFill>
                  <a:schemeClr val="accent6"/>
                </a:solidFill>
              </a:rPr>
              <a:t>uncontrolled</a:t>
            </a:r>
            <a:r>
              <a:rPr lang="de-DE" sz="3600" b="1" dirty="0" smtClean="0">
                <a:solidFill>
                  <a:schemeClr val="accent6"/>
                </a:solidFill>
              </a:rPr>
              <a:t> APCs</a:t>
            </a:r>
            <a:endParaRPr lang="de-DE" sz="3600" dirty="0"/>
          </a:p>
        </p:txBody>
      </p:sp>
      <p:pic>
        <p:nvPicPr>
          <p:cNvPr id="8" name="Picture 2"/>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45606" y="1948374"/>
            <a:ext cx="8452987" cy="43269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Rechteck 2"/>
          <p:cNvSpPr/>
          <p:nvPr/>
        </p:nvSpPr>
        <p:spPr>
          <a:xfrm>
            <a:off x="707672" y="1619191"/>
            <a:ext cx="8437969" cy="496996"/>
          </a:xfrm>
          <a:prstGeom prst="rect">
            <a:avLst/>
          </a:prstGeom>
        </p:spPr>
        <p:txBody>
          <a:bodyPr wrap="square">
            <a:spAutoFit/>
          </a:bodyPr>
          <a:lstStyle/>
          <a:p>
            <a:pPr>
              <a:lnSpc>
                <a:spcPts val="3600"/>
              </a:lnSpc>
            </a:pPr>
            <a:endParaRPr lang="en-US" sz="2000" dirty="0" smtClean="0">
              <a:solidFill>
                <a:schemeClr val="accent2"/>
              </a:solidFill>
            </a:endParaRPr>
          </a:p>
        </p:txBody>
      </p:sp>
      <p:sp>
        <p:nvSpPr>
          <p:cNvPr id="14" name="Textfeld 14"/>
          <p:cNvSpPr txBox="1"/>
          <p:nvPr/>
        </p:nvSpPr>
        <p:spPr>
          <a:xfrm>
            <a:off x="7804205" y="2611427"/>
            <a:ext cx="2012275" cy="3000821"/>
          </a:xfrm>
          <a:prstGeom prst="rect">
            <a:avLst/>
          </a:prstGeom>
          <a:noFill/>
          <a:ln w="12700">
            <a:noFill/>
          </a:ln>
        </p:spPr>
        <p:txBody>
          <a:bodyPr wrap="square" lIns="0" rIns="0" rtlCol="0">
            <a:spAutoFit/>
          </a:bodyPr>
          <a:lstStyle/>
          <a:p>
            <a:pPr algn="ctr"/>
            <a:endParaRPr lang="en-US" sz="900" b="1" dirty="0">
              <a:solidFill>
                <a:schemeClr val="tx2"/>
              </a:solidFill>
            </a:endParaRPr>
          </a:p>
          <a:p>
            <a:r>
              <a:rPr lang="en-US" b="1" dirty="0" smtClean="0">
                <a:solidFill>
                  <a:schemeClr val="tx2"/>
                </a:solidFill>
              </a:rPr>
              <a:t>Average list APC</a:t>
            </a:r>
          </a:p>
          <a:p>
            <a:r>
              <a:rPr lang="en-US" dirty="0" smtClean="0">
                <a:solidFill>
                  <a:schemeClr val="tx2"/>
                </a:solidFill>
              </a:rPr>
              <a:t>Fully OA: $1600</a:t>
            </a:r>
          </a:p>
          <a:p>
            <a:r>
              <a:rPr lang="en-US" dirty="0" smtClean="0">
                <a:solidFill>
                  <a:schemeClr val="tx2"/>
                </a:solidFill>
              </a:rPr>
              <a:t>Hybrid: $2900</a:t>
            </a:r>
          </a:p>
          <a:p>
            <a:endParaRPr lang="en-US" dirty="0">
              <a:solidFill>
                <a:schemeClr val="tx2"/>
              </a:solidFill>
            </a:endParaRPr>
          </a:p>
          <a:p>
            <a:r>
              <a:rPr lang="en-US" b="1" dirty="0" smtClean="0">
                <a:solidFill>
                  <a:schemeClr val="tx2"/>
                </a:solidFill>
              </a:rPr>
              <a:t>Average payment tracked by </a:t>
            </a:r>
            <a:r>
              <a:rPr lang="en-US" b="1" dirty="0" err="1" smtClean="0">
                <a:solidFill>
                  <a:schemeClr val="accent6"/>
                </a:solidFill>
              </a:rPr>
              <a:t>OpenAPC</a:t>
            </a:r>
            <a:r>
              <a:rPr lang="en-US" b="1" dirty="0" smtClean="0">
                <a:solidFill>
                  <a:schemeClr val="accent6"/>
                </a:solidFill>
              </a:rPr>
              <a:t>: </a:t>
            </a:r>
          </a:p>
          <a:p>
            <a:r>
              <a:rPr lang="en-US" dirty="0" smtClean="0">
                <a:solidFill>
                  <a:schemeClr val="tx2"/>
                </a:solidFill>
              </a:rPr>
              <a:t>Fully OA: €1488</a:t>
            </a:r>
          </a:p>
          <a:p>
            <a:r>
              <a:rPr lang="en-US" dirty="0" smtClean="0">
                <a:solidFill>
                  <a:schemeClr val="tx2"/>
                </a:solidFill>
              </a:rPr>
              <a:t>Hybrid €2445</a:t>
            </a:r>
          </a:p>
          <a:p>
            <a:endParaRPr lang="en-US" dirty="0">
              <a:solidFill>
                <a:schemeClr val="tx2"/>
              </a:solidFill>
            </a:endParaRPr>
          </a:p>
        </p:txBody>
      </p:sp>
      <p:sp>
        <p:nvSpPr>
          <p:cNvPr id="15" name="TextBox 14"/>
          <p:cNvSpPr txBox="1"/>
          <p:nvPr/>
        </p:nvSpPr>
        <p:spPr>
          <a:xfrm>
            <a:off x="384679" y="6364741"/>
            <a:ext cx="8351773" cy="184666"/>
          </a:xfrm>
          <a:prstGeom prst="rect">
            <a:avLst/>
          </a:prstGeom>
          <a:noFill/>
        </p:spPr>
        <p:txBody>
          <a:bodyPr wrap="square" lIns="0" tIns="0" rIns="0" bIns="0" rtlCol="0">
            <a:spAutoFit/>
          </a:bodyPr>
          <a:lstStyle/>
          <a:p>
            <a:r>
              <a:rPr lang="en-GB" sz="1200" dirty="0" smtClean="0">
                <a:solidFill>
                  <a:schemeClr val="accent4"/>
                </a:solidFill>
              </a:rPr>
              <a:t>With permission from Delta Think Open Access Data &amp; Analytics tool. Analysis 15.09.2018</a:t>
            </a:r>
            <a:endParaRPr lang="en-GB" sz="1200" dirty="0">
              <a:solidFill>
                <a:schemeClr val="accent4"/>
              </a:solidFill>
            </a:endParaRPr>
          </a:p>
        </p:txBody>
      </p:sp>
      <p:sp>
        <p:nvSpPr>
          <p:cNvPr id="22" name="Textplatzhalter 17"/>
          <p:cNvSpPr txBox="1">
            <a:spLocks/>
          </p:cNvSpPr>
          <p:nvPr/>
        </p:nvSpPr>
        <p:spPr>
          <a:xfrm>
            <a:off x="594705" y="1030786"/>
            <a:ext cx="8930054" cy="836903"/>
          </a:xfrm>
          <a:prstGeom prst="rect">
            <a:avLst/>
          </a:prstGeom>
        </p:spPr>
        <p:txBody>
          <a:bodyPr vert="horz" wrap="square" lIns="0" tIns="0" rIns="0" bIns="0" rtlCol="0" anchor="b" anchorCtr="0">
            <a:noAutofit/>
          </a:bodyPr>
          <a:lstStyle>
            <a:lvl1pPr marL="0" indent="0" algn="l" defTabSz="914400" rtl="0" eaLnBrk="1" latinLnBrk="0" hangingPunct="1">
              <a:spcBef>
                <a:spcPts val="200"/>
              </a:spcBef>
              <a:buClr>
                <a:schemeClr val="tx2"/>
              </a:buClr>
              <a:buFont typeface="Wingdings" pitchFamily="2" charset="2"/>
              <a:buNone/>
              <a:defRPr sz="2400" b="0" kern="1200">
                <a:solidFill>
                  <a:schemeClr val="tx2"/>
                </a:solidFill>
                <a:latin typeface="+mj-lt"/>
                <a:ea typeface="+mn-ea"/>
                <a:cs typeface="+mn-cs"/>
              </a:defRPr>
            </a:lvl1pPr>
            <a:lvl2pPr marL="0" indent="0" algn="l" defTabSz="914400" rtl="0" eaLnBrk="1" latinLnBrk="0" hangingPunct="1">
              <a:spcBef>
                <a:spcPts val="200"/>
              </a:spcBef>
              <a:buClr>
                <a:schemeClr val="tx2"/>
              </a:buClr>
              <a:buFont typeface="Wingdings" pitchFamily="2" charset="2"/>
              <a:buNone/>
              <a:defRPr sz="2400" kern="1200">
                <a:solidFill>
                  <a:schemeClr val="tx2"/>
                </a:solidFill>
                <a:latin typeface="+mj-lt"/>
                <a:ea typeface="+mn-ea"/>
                <a:cs typeface="+mn-cs"/>
              </a:defRPr>
            </a:lvl2pPr>
            <a:lvl3pPr marL="0" indent="0" algn="l" defTabSz="914400" rtl="0" eaLnBrk="1" latinLnBrk="0" hangingPunct="1">
              <a:spcBef>
                <a:spcPts val="200"/>
              </a:spcBef>
              <a:buClr>
                <a:schemeClr val="tx2"/>
              </a:buClr>
              <a:buFont typeface="Arial" pitchFamily="34" charset="0"/>
              <a:buNone/>
              <a:defRPr sz="2400" kern="1200">
                <a:solidFill>
                  <a:schemeClr val="tx2"/>
                </a:solidFill>
                <a:latin typeface="+mj-lt"/>
                <a:ea typeface="+mn-ea"/>
                <a:cs typeface="+mn-cs"/>
              </a:defRPr>
            </a:lvl3pPr>
            <a:lvl4pPr marL="0" indent="0" algn="l" defTabSz="914400" rtl="0" eaLnBrk="1" latinLnBrk="0" hangingPunct="1">
              <a:spcBef>
                <a:spcPts val="200"/>
              </a:spcBef>
              <a:buClr>
                <a:schemeClr val="tx2"/>
              </a:buClr>
              <a:buFont typeface="Arial" pitchFamily="34" charset="0"/>
              <a:buNone/>
              <a:defRPr sz="2400" kern="1200">
                <a:solidFill>
                  <a:schemeClr val="tx2"/>
                </a:solidFill>
                <a:latin typeface="+mj-lt"/>
                <a:ea typeface="+mn-ea"/>
                <a:cs typeface="+mn-cs"/>
              </a:defRPr>
            </a:lvl4pPr>
            <a:lvl5pPr marL="0" indent="0" algn="l" defTabSz="914400" rtl="0" eaLnBrk="1" latinLnBrk="0" hangingPunct="1">
              <a:spcBef>
                <a:spcPts val="200"/>
              </a:spcBef>
              <a:buClr>
                <a:schemeClr val="tx2"/>
              </a:buClr>
              <a:buFont typeface="Symbol" pitchFamily="18" charset="2"/>
              <a:buNone/>
              <a:defRPr sz="2400" kern="1200">
                <a:solidFill>
                  <a:schemeClr val="tx2"/>
                </a:solidFill>
                <a:latin typeface="+mj-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800" dirty="0" smtClean="0"/>
              <a:t>APC vs. SNIP for Publishers by Fully OA/Hybrid</a:t>
            </a:r>
            <a:r>
              <a:rPr lang="en-US" sz="1600" dirty="0" smtClean="0"/>
              <a:t>:</a:t>
            </a:r>
          </a:p>
          <a:p>
            <a:r>
              <a:rPr lang="en-US" sz="1200" dirty="0" smtClean="0">
                <a:solidFill>
                  <a:schemeClr val="accent2"/>
                </a:solidFill>
              </a:rPr>
              <a:t>All publishers (2017-2018) </a:t>
            </a:r>
            <a:endParaRPr lang="en-US" sz="1200" b="1" dirty="0">
              <a:solidFill>
                <a:schemeClr val="accent2"/>
              </a:solidFill>
            </a:endParaRPr>
          </a:p>
        </p:txBody>
      </p:sp>
      <p:sp>
        <p:nvSpPr>
          <p:cNvPr id="11" name="Foliennummernplatzhalter 2"/>
          <p:cNvSpPr>
            <a:spLocks noGrp="1"/>
          </p:cNvSpPr>
          <p:nvPr>
            <p:ph type="sldNum" sz="quarter" idx="12"/>
          </p:nvPr>
        </p:nvSpPr>
        <p:spPr>
          <a:xfrm>
            <a:off x="8931442" y="6592861"/>
            <a:ext cx="773912" cy="167164"/>
          </a:xfrm>
        </p:spPr>
        <p:txBody>
          <a:bodyPr/>
          <a:lstStyle/>
          <a:p>
            <a:fld id="{4AD1E780-DE1C-4ECA-B5E5-863D0BC53287}" type="slidenum">
              <a:rPr lang="de-DE" smtClean="0"/>
              <a:pPr/>
              <a:t>11</a:t>
            </a:fld>
            <a:endParaRPr lang="de-DE" dirty="0"/>
          </a:p>
        </p:txBody>
      </p:sp>
    </p:spTree>
    <p:extLst>
      <p:ext uri="{BB962C8B-B14F-4D97-AF65-F5344CB8AC3E}">
        <p14:creationId xmlns:p14="http://schemas.microsoft.com/office/powerpoint/2010/main" val="315765731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ihandform 5"/>
          <p:cNvSpPr/>
          <p:nvPr/>
        </p:nvSpPr>
        <p:spPr>
          <a:xfrm rot="20983708">
            <a:off x="621173" y="3915356"/>
            <a:ext cx="7966687" cy="2117693"/>
          </a:xfrm>
          <a:custGeom>
            <a:avLst/>
            <a:gdLst>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3162822 w 7780257"/>
              <a:gd name="connsiteY34" fmla="*/ 2787041 h 3757808"/>
              <a:gd name="connsiteX35" fmla="*/ 2699359 w 7780257"/>
              <a:gd name="connsiteY35" fmla="*/ 2812093 h 3757808"/>
              <a:gd name="connsiteX36" fmla="*/ 2661781 w 7780257"/>
              <a:gd name="connsiteY36" fmla="*/ 2830882 h 3757808"/>
              <a:gd name="connsiteX37" fmla="*/ 2642992 w 7780257"/>
              <a:gd name="connsiteY37" fmla="*/ 2855934 h 3757808"/>
              <a:gd name="connsiteX38" fmla="*/ 2649255 w 7780257"/>
              <a:gd name="connsiteY38" fmla="*/ 2968668 h 3757808"/>
              <a:gd name="connsiteX39" fmla="*/ 2743200 w 7780257"/>
              <a:gd name="connsiteY39" fmla="*/ 2931090 h 3757808"/>
              <a:gd name="connsiteX40" fmla="*/ 2686833 w 7780257"/>
              <a:gd name="connsiteY40" fmla="*/ 2824619 h 3757808"/>
              <a:gd name="connsiteX41" fmla="*/ 2636729 w 7780257"/>
              <a:gd name="connsiteY41" fmla="*/ 2812093 h 3757808"/>
              <a:gd name="connsiteX42" fmla="*/ 2542784 w 7780257"/>
              <a:gd name="connsiteY42" fmla="*/ 2855934 h 3757808"/>
              <a:gd name="connsiteX43" fmla="*/ 2730674 w 7780257"/>
              <a:gd name="connsiteY43" fmla="*/ 2874723 h 3757808"/>
              <a:gd name="connsiteX44" fmla="*/ 2780778 w 7780257"/>
              <a:gd name="connsiteY44" fmla="*/ 2887249 h 3757808"/>
              <a:gd name="connsiteX45" fmla="*/ 2874723 w 7780257"/>
              <a:gd name="connsiteY45" fmla="*/ 2937353 h 3757808"/>
              <a:gd name="connsiteX46" fmla="*/ 2931090 w 7780257"/>
              <a:gd name="connsiteY46" fmla="*/ 3018772 h 3757808"/>
              <a:gd name="connsiteX47" fmla="*/ 2931090 w 7780257"/>
              <a:gd name="connsiteY47" fmla="*/ 3018772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3162822 w 7780257"/>
              <a:gd name="connsiteY34" fmla="*/ 2787041 h 3757808"/>
              <a:gd name="connsiteX35" fmla="*/ 2699359 w 7780257"/>
              <a:gd name="connsiteY35" fmla="*/ 2812093 h 3757808"/>
              <a:gd name="connsiteX36" fmla="*/ 2661781 w 7780257"/>
              <a:gd name="connsiteY36" fmla="*/ 2830882 h 3757808"/>
              <a:gd name="connsiteX37" fmla="*/ 2649255 w 7780257"/>
              <a:gd name="connsiteY37" fmla="*/ 2968668 h 3757808"/>
              <a:gd name="connsiteX38" fmla="*/ 2743200 w 7780257"/>
              <a:gd name="connsiteY38" fmla="*/ 2931090 h 3757808"/>
              <a:gd name="connsiteX39" fmla="*/ 2686833 w 7780257"/>
              <a:gd name="connsiteY39" fmla="*/ 2824619 h 3757808"/>
              <a:gd name="connsiteX40" fmla="*/ 2636729 w 7780257"/>
              <a:gd name="connsiteY40" fmla="*/ 2812093 h 3757808"/>
              <a:gd name="connsiteX41" fmla="*/ 2542784 w 7780257"/>
              <a:gd name="connsiteY41" fmla="*/ 2855934 h 3757808"/>
              <a:gd name="connsiteX42" fmla="*/ 2730674 w 7780257"/>
              <a:gd name="connsiteY42" fmla="*/ 2874723 h 3757808"/>
              <a:gd name="connsiteX43" fmla="*/ 2780778 w 7780257"/>
              <a:gd name="connsiteY43" fmla="*/ 2887249 h 3757808"/>
              <a:gd name="connsiteX44" fmla="*/ 2874723 w 7780257"/>
              <a:gd name="connsiteY44" fmla="*/ 2937353 h 3757808"/>
              <a:gd name="connsiteX45" fmla="*/ 2931090 w 7780257"/>
              <a:gd name="connsiteY45" fmla="*/ 3018772 h 3757808"/>
              <a:gd name="connsiteX46" fmla="*/ 2931090 w 7780257"/>
              <a:gd name="connsiteY46" fmla="*/ 3018772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3162822 w 7780257"/>
              <a:gd name="connsiteY34" fmla="*/ 2787041 h 3757808"/>
              <a:gd name="connsiteX35" fmla="*/ 2699359 w 7780257"/>
              <a:gd name="connsiteY35" fmla="*/ 2812093 h 3757808"/>
              <a:gd name="connsiteX36" fmla="*/ 2661781 w 7780257"/>
              <a:gd name="connsiteY36" fmla="*/ 2830882 h 3757808"/>
              <a:gd name="connsiteX37" fmla="*/ 2649255 w 7780257"/>
              <a:gd name="connsiteY37" fmla="*/ 2968668 h 3757808"/>
              <a:gd name="connsiteX38" fmla="*/ 2743200 w 7780257"/>
              <a:gd name="connsiteY38" fmla="*/ 2931090 h 3757808"/>
              <a:gd name="connsiteX39" fmla="*/ 2636729 w 7780257"/>
              <a:gd name="connsiteY39" fmla="*/ 2812093 h 3757808"/>
              <a:gd name="connsiteX40" fmla="*/ 2542784 w 7780257"/>
              <a:gd name="connsiteY40" fmla="*/ 2855934 h 3757808"/>
              <a:gd name="connsiteX41" fmla="*/ 2730674 w 7780257"/>
              <a:gd name="connsiteY41" fmla="*/ 2874723 h 3757808"/>
              <a:gd name="connsiteX42" fmla="*/ 2780778 w 7780257"/>
              <a:gd name="connsiteY42" fmla="*/ 2887249 h 3757808"/>
              <a:gd name="connsiteX43" fmla="*/ 2874723 w 7780257"/>
              <a:gd name="connsiteY43" fmla="*/ 2937353 h 3757808"/>
              <a:gd name="connsiteX44" fmla="*/ 2931090 w 7780257"/>
              <a:gd name="connsiteY44" fmla="*/ 3018772 h 3757808"/>
              <a:gd name="connsiteX45" fmla="*/ 2931090 w 7780257"/>
              <a:gd name="connsiteY45" fmla="*/ 3018772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3162822 w 7780257"/>
              <a:gd name="connsiteY34" fmla="*/ 2787041 h 3757808"/>
              <a:gd name="connsiteX35" fmla="*/ 2699359 w 7780257"/>
              <a:gd name="connsiteY35" fmla="*/ 2812093 h 3757808"/>
              <a:gd name="connsiteX36" fmla="*/ 2661781 w 7780257"/>
              <a:gd name="connsiteY36" fmla="*/ 2830882 h 3757808"/>
              <a:gd name="connsiteX37" fmla="*/ 2743200 w 7780257"/>
              <a:gd name="connsiteY37" fmla="*/ 2931090 h 3757808"/>
              <a:gd name="connsiteX38" fmla="*/ 2636729 w 7780257"/>
              <a:gd name="connsiteY38" fmla="*/ 2812093 h 3757808"/>
              <a:gd name="connsiteX39" fmla="*/ 2542784 w 7780257"/>
              <a:gd name="connsiteY39" fmla="*/ 2855934 h 3757808"/>
              <a:gd name="connsiteX40" fmla="*/ 2730674 w 7780257"/>
              <a:gd name="connsiteY40" fmla="*/ 2874723 h 3757808"/>
              <a:gd name="connsiteX41" fmla="*/ 2780778 w 7780257"/>
              <a:gd name="connsiteY41" fmla="*/ 2887249 h 3757808"/>
              <a:gd name="connsiteX42" fmla="*/ 2874723 w 7780257"/>
              <a:gd name="connsiteY42" fmla="*/ 2937353 h 3757808"/>
              <a:gd name="connsiteX43" fmla="*/ 2931090 w 7780257"/>
              <a:gd name="connsiteY43" fmla="*/ 3018772 h 3757808"/>
              <a:gd name="connsiteX44" fmla="*/ 2931090 w 7780257"/>
              <a:gd name="connsiteY44" fmla="*/ 3018772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3162822 w 7780257"/>
              <a:gd name="connsiteY34" fmla="*/ 2787041 h 3757808"/>
              <a:gd name="connsiteX35" fmla="*/ 2699359 w 7780257"/>
              <a:gd name="connsiteY35" fmla="*/ 2812093 h 3757808"/>
              <a:gd name="connsiteX36" fmla="*/ 2661781 w 7780257"/>
              <a:gd name="connsiteY36" fmla="*/ 2830882 h 3757808"/>
              <a:gd name="connsiteX37" fmla="*/ 2636729 w 7780257"/>
              <a:gd name="connsiteY37" fmla="*/ 2812093 h 3757808"/>
              <a:gd name="connsiteX38" fmla="*/ 2542784 w 7780257"/>
              <a:gd name="connsiteY38" fmla="*/ 2855934 h 3757808"/>
              <a:gd name="connsiteX39" fmla="*/ 2730674 w 7780257"/>
              <a:gd name="connsiteY39" fmla="*/ 2874723 h 3757808"/>
              <a:gd name="connsiteX40" fmla="*/ 2780778 w 7780257"/>
              <a:gd name="connsiteY40" fmla="*/ 2887249 h 3757808"/>
              <a:gd name="connsiteX41" fmla="*/ 2874723 w 7780257"/>
              <a:gd name="connsiteY41" fmla="*/ 2937353 h 3757808"/>
              <a:gd name="connsiteX42" fmla="*/ 2931090 w 7780257"/>
              <a:gd name="connsiteY42" fmla="*/ 3018772 h 3757808"/>
              <a:gd name="connsiteX43" fmla="*/ 2931090 w 7780257"/>
              <a:gd name="connsiteY43" fmla="*/ 3018772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661781 w 7780257"/>
              <a:gd name="connsiteY35" fmla="*/ 2830882 h 3757808"/>
              <a:gd name="connsiteX36" fmla="*/ 2636729 w 7780257"/>
              <a:gd name="connsiteY36" fmla="*/ 2812093 h 3757808"/>
              <a:gd name="connsiteX37" fmla="*/ 2542784 w 7780257"/>
              <a:gd name="connsiteY37" fmla="*/ 2855934 h 3757808"/>
              <a:gd name="connsiteX38" fmla="*/ 2730674 w 7780257"/>
              <a:gd name="connsiteY38" fmla="*/ 2874723 h 3757808"/>
              <a:gd name="connsiteX39" fmla="*/ 2780778 w 7780257"/>
              <a:gd name="connsiteY39" fmla="*/ 2887249 h 3757808"/>
              <a:gd name="connsiteX40" fmla="*/ 2874723 w 7780257"/>
              <a:gd name="connsiteY40" fmla="*/ 2937353 h 3757808"/>
              <a:gd name="connsiteX41" fmla="*/ 2931090 w 7780257"/>
              <a:gd name="connsiteY41" fmla="*/ 3018772 h 3757808"/>
              <a:gd name="connsiteX42" fmla="*/ 2931090 w 7780257"/>
              <a:gd name="connsiteY42" fmla="*/ 3018772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661781 w 7780257"/>
              <a:gd name="connsiteY35" fmla="*/ 2830882 h 3757808"/>
              <a:gd name="connsiteX36" fmla="*/ 2636729 w 7780257"/>
              <a:gd name="connsiteY36" fmla="*/ 2812093 h 3757808"/>
              <a:gd name="connsiteX37" fmla="*/ 2730674 w 7780257"/>
              <a:gd name="connsiteY37" fmla="*/ 2874723 h 3757808"/>
              <a:gd name="connsiteX38" fmla="*/ 2780778 w 7780257"/>
              <a:gd name="connsiteY38" fmla="*/ 2887249 h 3757808"/>
              <a:gd name="connsiteX39" fmla="*/ 2874723 w 7780257"/>
              <a:gd name="connsiteY39" fmla="*/ 2937353 h 3757808"/>
              <a:gd name="connsiteX40" fmla="*/ 2931090 w 7780257"/>
              <a:gd name="connsiteY40" fmla="*/ 3018772 h 3757808"/>
              <a:gd name="connsiteX41" fmla="*/ 2931090 w 7780257"/>
              <a:gd name="connsiteY41" fmla="*/ 3018772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661781 w 7780257"/>
              <a:gd name="connsiteY35" fmla="*/ 2830882 h 3757808"/>
              <a:gd name="connsiteX36" fmla="*/ 2492679 w 7780257"/>
              <a:gd name="connsiteY36" fmla="*/ 2874723 h 3757808"/>
              <a:gd name="connsiteX37" fmla="*/ 2730674 w 7780257"/>
              <a:gd name="connsiteY37" fmla="*/ 2874723 h 3757808"/>
              <a:gd name="connsiteX38" fmla="*/ 2780778 w 7780257"/>
              <a:gd name="connsiteY38" fmla="*/ 2887249 h 3757808"/>
              <a:gd name="connsiteX39" fmla="*/ 2874723 w 7780257"/>
              <a:gd name="connsiteY39" fmla="*/ 2937353 h 3757808"/>
              <a:gd name="connsiteX40" fmla="*/ 2931090 w 7780257"/>
              <a:gd name="connsiteY40" fmla="*/ 3018772 h 3757808"/>
              <a:gd name="connsiteX41" fmla="*/ 2931090 w 7780257"/>
              <a:gd name="connsiteY41" fmla="*/ 3018772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492679 w 7780257"/>
              <a:gd name="connsiteY35" fmla="*/ 2874723 h 3757808"/>
              <a:gd name="connsiteX36" fmla="*/ 2730674 w 7780257"/>
              <a:gd name="connsiteY36" fmla="*/ 2874723 h 3757808"/>
              <a:gd name="connsiteX37" fmla="*/ 2780778 w 7780257"/>
              <a:gd name="connsiteY37" fmla="*/ 2887249 h 3757808"/>
              <a:gd name="connsiteX38" fmla="*/ 2874723 w 7780257"/>
              <a:gd name="connsiteY38" fmla="*/ 2937353 h 3757808"/>
              <a:gd name="connsiteX39" fmla="*/ 2931090 w 7780257"/>
              <a:gd name="connsiteY39" fmla="*/ 3018772 h 3757808"/>
              <a:gd name="connsiteX40" fmla="*/ 2931090 w 7780257"/>
              <a:gd name="connsiteY40" fmla="*/ 3018772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492679 w 7780257"/>
              <a:gd name="connsiteY35" fmla="*/ 2874723 h 3757808"/>
              <a:gd name="connsiteX36" fmla="*/ 2693096 w 7780257"/>
              <a:gd name="connsiteY36" fmla="*/ 2937353 h 3757808"/>
              <a:gd name="connsiteX37" fmla="*/ 2780778 w 7780257"/>
              <a:gd name="connsiteY37" fmla="*/ 2887249 h 3757808"/>
              <a:gd name="connsiteX38" fmla="*/ 2874723 w 7780257"/>
              <a:gd name="connsiteY38" fmla="*/ 2937353 h 3757808"/>
              <a:gd name="connsiteX39" fmla="*/ 2931090 w 7780257"/>
              <a:gd name="connsiteY39" fmla="*/ 3018772 h 3757808"/>
              <a:gd name="connsiteX40" fmla="*/ 2931090 w 7780257"/>
              <a:gd name="connsiteY40" fmla="*/ 3018772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492679 w 7780257"/>
              <a:gd name="connsiteY35" fmla="*/ 2874723 h 3757808"/>
              <a:gd name="connsiteX36" fmla="*/ 2693096 w 7780257"/>
              <a:gd name="connsiteY36" fmla="*/ 2937353 h 3757808"/>
              <a:gd name="connsiteX37" fmla="*/ 2780778 w 7780257"/>
              <a:gd name="connsiteY37" fmla="*/ 2937353 h 3757808"/>
              <a:gd name="connsiteX38" fmla="*/ 2874723 w 7780257"/>
              <a:gd name="connsiteY38" fmla="*/ 2937353 h 3757808"/>
              <a:gd name="connsiteX39" fmla="*/ 2931090 w 7780257"/>
              <a:gd name="connsiteY39" fmla="*/ 3018772 h 3757808"/>
              <a:gd name="connsiteX40" fmla="*/ 2931090 w 7780257"/>
              <a:gd name="connsiteY40" fmla="*/ 3018772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492679 w 7780257"/>
              <a:gd name="connsiteY35" fmla="*/ 2874723 h 3757808"/>
              <a:gd name="connsiteX36" fmla="*/ 2693096 w 7780257"/>
              <a:gd name="connsiteY36" fmla="*/ 2937353 h 3757808"/>
              <a:gd name="connsiteX37" fmla="*/ 2874723 w 7780257"/>
              <a:gd name="connsiteY37" fmla="*/ 2937353 h 3757808"/>
              <a:gd name="connsiteX38" fmla="*/ 2931090 w 7780257"/>
              <a:gd name="connsiteY38" fmla="*/ 3018772 h 3757808"/>
              <a:gd name="connsiteX39" fmla="*/ 2931090 w 7780257"/>
              <a:gd name="connsiteY39" fmla="*/ 3018772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486416 w 7780257"/>
              <a:gd name="connsiteY35" fmla="*/ 2824619 h 3757808"/>
              <a:gd name="connsiteX36" fmla="*/ 2693096 w 7780257"/>
              <a:gd name="connsiteY36" fmla="*/ 2937353 h 3757808"/>
              <a:gd name="connsiteX37" fmla="*/ 2874723 w 7780257"/>
              <a:gd name="connsiteY37" fmla="*/ 2937353 h 3757808"/>
              <a:gd name="connsiteX38" fmla="*/ 2931090 w 7780257"/>
              <a:gd name="connsiteY38" fmla="*/ 3018772 h 3757808"/>
              <a:gd name="connsiteX39" fmla="*/ 2931090 w 7780257"/>
              <a:gd name="connsiteY39" fmla="*/ 3018772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486416 w 7780257"/>
              <a:gd name="connsiteY35" fmla="*/ 2824619 h 3757808"/>
              <a:gd name="connsiteX36" fmla="*/ 2549047 w 7780257"/>
              <a:gd name="connsiteY36" fmla="*/ 2943616 h 3757808"/>
              <a:gd name="connsiteX37" fmla="*/ 2874723 w 7780257"/>
              <a:gd name="connsiteY37" fmla="*/ 2937353 h 3757808"/>
              <a:gd name="connsiteX38" fmla="*/ 2931090 w 7780257"/>
              <a:gd name="connsiteY38" fmla="*/ 3018772 h 3757808"/>
              <a:gd name="connsiteX39" fmla="*/ 2931090 w 7780257"/>
              <a:gd name="connsiteY39" fmla="*/ 3018772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505205 w 7780257"/>
              <a:gd name="connsiteY35" fmla="*/ 2799567 h 3757808"/>
              <a:gd name="connsiteX36" fmla="*/ 2549047 w 7780257"/>
              <a:gd name="connsiteY36" fmla="*/ 2943616 h 3757808"/>
              <a:gd name="connsiteX37" fmla="*/ 2874723 w 7780257"/>
              <a:gd name="connsiteY37" fmla="*/ 2937353 h 3757808"/>
              <a:gd name="connsiteX38" fmla="*/ 2931090 w 7780257"/>
              <a:gd name="connsiteY38" fmla="*/ 3018772 h 3757808"/>
              <a:gd name="connsiteX39" fmla="*/ 2931090 w 7780257"/>
              <a:gd name="connsiteY39" fmla="*/ 3018772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549047 w 7780257"/>
              <a:gd name="connsiteY35" fmla="*/ 2943616 h 3757808"/>
              <a:gd name="connsiteX36" fmla="*/ 2874723 w 7780257"/>
              <a:gd name="connsiteY36" fmla="*/ 2937353 h 3757808"/>
              <a:gd name="connsiteX37" fmla="*/ 2931090 w 7780257"/>
              <a:gd name="connsiteY37" fmla="*/ 3018772 h 3757808"/>
              <a:gd name="connsiteX38" fmla="*/ 2931090 w 7780257"/>
              <a:gd name="connsiteY38" fmla="*/ 3018772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549047 w 7780257"/>
              <a:gd name="connsiteY35" fmla="*/ 2943616 h 3757808"/>
              <a:gd name="connsiteX36" fmla="*/ 2874723 w 7780257"/>
              <a:gd name="connsiteY36" fmla="*/ 2937353 h 3757808"/>
              <a:gd name="connsiteX37" fmla="*/ 2931090 w 7780257"/>
              <a:gd name="connsiteY37" fmla="*/ 3018772 h 3757808"/>
              <a:gd name="connsiteX38" fmla="*/ 2517732 w 7780257"/>
              <a:gd name="connsiteY38" fmla="*/ 2661781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549047 w 7780257"/>
              <a:gd name="connsiteY35" fmla="*/ 2943616 h 3757808"/>
              <a:gd name="connsiteX36" fmla="*/ 2931090 w 7780257"/>
              <a:gd name="connsiteY36" fmla="*/ 3018772 h 3757808"/>
              <a:gd name="connsiteX37" fmla="*/ 2517732 w 7780257"/>
              <a:gd name="connsiteY37" fmla="*/ 2661781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549047 w 7780257"/>
              <a:gd name="connsiteY35" fmla="*/ 2943616 h 3757808"/>
              <a:gd name="connsiteX36" fmla="*/ 2931090 w 7780257"/>
              <a:gd name="connsiteY36" fmla="*/ 3018772 h 3757808"/>
              <a:gd name="connsiteX37" fmla="*/ 2373682 w 7780257"/>
              <a:gd name="connsiteY37" fmla="*/ 2567835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549047 w 7780257"/>
              <a:gd name="connsiteY35" fmla="*/ 2943616 h 3757808"/>
              <a:gd name="connsiteX36" fmla="*/ 2843408 w 7780257"/>
              <a:gd name="connsiteY36" fmla="*/ 2999983 h 3757808"/>
              <a:gd name="connsiteX37" fmla="*/ 2373682 w 7780257"/>
              <a:gd name="connsiteY37" fmla="*/ 2567835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549047 w 7780257"/>
              <a:gd name="connsiteY35" fmla="*/ 2943616 h 3757808"/>
              <a:gd name="connsiteX36" fmla="*/ 2843408 w 7780257"/>
              <a:gd name="connsiteY36" fmla="*/ 2999983 h 3757808"/>
              <a:gd name="connsiteX37" fmla="*/ 2373682 w 7780257"/>
              <a:gd name="connsiteY37" fmla="*/ 2567835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549047 w 7780257"/>
              <a:gd name="connsiteY35" fmla="*/ 2943616 h 3757808"/>
              <a:gd name="connsiteX36" fmla="*/ 2843408 w 7780257"/>
              <a:gd name="connsiteY36" fmla="*/ 2999983 h 3757808"/>
              <a:gd name="connsiteX37" fmla="*/ 2311052 w 7780257"/>
              <a:gd name="connsiteY37" fmla="*/ 2711885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549047 w 7780257"/>
              <a:gd name="connsiteY35" fmla="*/ 2943616 h 3757808"/>
              <a:gd name="connsiteX36" fmla="*/ 2843408 w 7780257"/>
              <a:gd name="connsiteY36" fmla="*/ 2999983 h 3757808"/>
              <a:gd name="connsiteX37" fmla="*/ 2311052 w 7780257"/>
              <a:gd name="connsiteY37" fmla="*/ 2711885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549047 w 7780257"/>
              <a:gd name="connsiteY35" fmla="*/ 2943616 h 3757808"/>
              <a:gd name="connsiteX36" fmla="*/ 2843408 w 7780257"/>
              <a:gd name="connsiteY36" fmla="*/ 2999983 h 3757808"/>
              <a:gd name="connsiteX37" fmla="*/ 2311052 w 7780257"/>
              <a:gd name="connsiteY37" fmla="*/ 2711885 h 3757808"/>
              <a:gd name="connsiteX0" fmla="*/ 2935373 w 10715630"/>
              <a:gd name="connsiteY0" fmla="*/ 3757808 h 3799348"/>
              <a:gd name="connsiteX1" fmla="*/ 0 w 10715630"/>
              <a:gd name="connsiteY1" fmla="*/ 3799348 h 3799348"/>
              <a:gd name="connsiteX2" fmla="*/ 3968770 w 10715630"/>
              <a:gd name="connsiteY2" fmla="*/ 3739019 h 3799348"/>
              <a:gd name="connsiteX3" fmla="*/ 4162924 w 10715630"/>
              <a:gd name="connsiteY3" fmla="*/ 3720230 h 3799348"/>
              <a:gd name="connsiteX4" fmla="*/ 4344551 w 10715630"/>
              <a:gd name="connsiteY4" fmla="*/ 3682652 h 3799348"/>
              <a:gd name="connsiteX5" fmla="*/ 4876907 w 10715630"/>
              <a:gd name="connsiteY5" fmla="*/ 3482235 h 3799348"/>
              <a:gd name="connsiteX6" fmla="*/ 5321581 w 10715630"/>
              <a:gd name="connsiteY6" fmla="*/ 3156559 h 3799348"/>
              <a:gd name="connsiteX7" fmla="*/ 5634732 w 10715630"/>
              <a:gd name="connsiteY7" fmla="*/ 2774515 h 3799348"/>
              <a:gd name="connsiteX8" fmla="*/ 5716151 w 10715630"/>
              <a:gd name="connsiteY8" fmla="*/ 2617939 h 3799348"/>
              <a:gd name="connsiteX9" fmla="*/ 5866463 w 10715630"/>
              <a:gd name="connsiteY9" fmla="*/ 2254685 h 3799348"/>
              <a:gd name="connsiteX10" fmla="*/ 5997987 w 10715630"/>
              <a:gd name="connsiteY10" fmla="*/ 1803748 h 3799348"/>
              <a:gd name="connsiteX11" fmla="*/ 6411346 w 10715630"/>
              <a:gd name="connsiteY11" fmla="*/ 1108553 h 3799348"/>
              <a:gd name="connsiteX12" fmla="*/ 6693181 w 10715630"/>
              <a:gd name="connsiteY12" fmla="*/ 770350 h 3799348"/>
              <a:gd name="connsiteX13" fmla="*/ 6843494 w 10715630"/>
              <a:gd name="connsiteY13" fmla="*/ 632564 h 3799348"/>
              <a:gd name="connsiteX14" fmla="*/ 7306957 w 10715630"/>
              <a:gd name="connsiteY14" fmla="*/ 319413 h 3799348"/>
              <a:gd name="connsiteX15" fmla="*/ 7826787 w 10715630"/>
              <a:gd name="connsiteY15" fmla="*/ 112734 h 3799348"/>
              <a:gd name="connsiteX16" fmla="*/ 8071044 w 10715630"/>
              <a:gd name="connsiteY16" fmla="*/ 43841 h 3799348"/>
              <a:gd name="connsiteX17" fmla="*/ 8534507 w 10715630"/>
              <a:gd name="connsiteY17" fmla="*/ 0 h 3799348"/>
              <a:gd name="connsiteX18" fmla="*/ 9142020 w 10715630"/>
              <a:gd name="connsiteY18" fmla="*/ 31315 h 3799348"/>
              <a:gd name="connsiteX19" fmla="*/ 9386277 w 10715630"/>
              <a:gd name="connsiteY19" fmla="*/ 93945 h 3799348"/>
              <a:gd name="connsiteX20" fmla="*/ 9592957 w 10715630"/>
              <a:gd name="connsiteY20" fmla="*/ 169101 h 3799348"/>
              <a:gd name="connsiteX21" fmla="*/ 9981263 w 10715630"/>
              <a:gd name="connsiteY21" fmla="*/ 375781 h 3799348"/>
              <a:gd name="connsiteX22" fmla="*/ 10425937 w 10715630"/>
              <a:gd name="connsiteY22" fmla="*/ 751561 h 3799348"/>
              <a:gd name="connsiteX23" fmla="*/ 10670195 w 10715630"/>
              <a:gd name="connsiteY23" fmla="*/ 1240076 h 3799348"/>
              <a:gd name="connsiteX24" fmla="*/ 10714036 w 10715630"/>
              <a:gd name="connsiteY24" fmla="*/ 1791222 h 3799348"/>
              <a:gd name="connsiteX25" fmla="*/ 10707773 w 10715630"/>
              <a:gd name="connsiteY25" fmla="*/ 2035479 h 3799348"/>
              <a:gd name="connsiteX26" fmla="*/ 10632617 w 10715630"/>
              <a:gd name="connsiteY26" fmla="*/ 2311052 h 3799348"/>
              <a:gd name="connsiteX27" fmla="*/ 10432200 w 10715630"/>
              <a:gd name="connsiteY27" fmla="*/ 2680570 h 3799348"/>
              <a:gd name="connsiteX28" fmla="*/ 10269362 w 10715630"/>
              <a:gd name="connsiteY28" fmla="*/ 2843408 h 3799348"/>
              <a:gd name="connsiteX29" fmla="*/ 10012578 w 10715630"/>
              <a:gd name="connsiteY29" fmla="*/ 2987457 h 3799348"/>
              <a:gd name="connsiteX30" fmla="*/ 9430118 w 10715630"/>
              <a:gd name="connsiteY30" fmla="*/ 3118981 h 3799348"/>
              <a:gd name="connsiteX31" fmla="*/ 8496929 w 10715630"/>
              <a:gd name="connsiteY31" fmla="*/ 3106455 h 3799348"/>
              <a:gd name="connsiteX32" fmla="*/ 7632633 w 10715630"/>
              <a:gd name="connsiteY32" fmla="*/ 3043824 h 3799348"/>
              <a:gd name="connsiteX33" fmla="*/ 7106540 w 10715630"/>
              <a:gd name="connsiteY33" fmla="*/ 2974931 h 3799348"/>
              <a:gd name="connsiteX34" fmla="*/ 5634732 w 10715630"/>
              <a:gd name="connsiteY34" fmla="*/ 2812093 h 3799348"/>
              <a:gd name="connsiteX35" fmla="*/ 5484420 w 10715630"/>
              <a:gd name="connsiteY35" fmla="*/ 2943616 h 3799348"/>
              <a:gd name="connsiteX36" fmla="*/ 5778781 w 10715630"/>
              <a:gd name="connsiteY36" fmla="*/ 2999983 h 3799348"/>
              <a:gd name="connsiteX37" fmla="*/ 5246425 w 10715630"/>
              <a:gd name="connsiteY37" fmla="*/ 2711885 h 3799348"/>
              <a:gd name="connsiteX0" fmla="*/ 2935373 w 10715630"/>
              <a:gd name="connsiteY0" fmla="*/ 3757808 h 3799348"/>
              <a:gd name="connsiteX1" fmla="*/ 0 w 10715630"/>
              <a:gd name="connsiteY1" fmla="*/ 3799348 h 3799348"/>
              <a:gd name="connsiteX2" fmla="*/ 3968770 w 10715630"/>
              <a:gd name="connsiteY2" fmla="*/ 3739019 h 3799348"/>
              <a:gd name="connsiteX3" fmla="*/ 4344551 w 10715630"/>
              <a:gd name="connsiteY3" fmla="*/ 3682652 h 3799348"/>
              <a:gd name="connsiteX4" fmla="*/ 4876907 w 10715630"/>
              <a:gd name="connsiteY4" fmla="*/ 3482235 h 3799348"/>
              <a:gd name="connsiteX5" fmla="*/ 5321581 w 10715630"/>
              <a:gd name="connsiteY5" fmla="*/ 3156559 h 3799348"/>
              <a:gd name="connsiteX6" fmla="*/ 5634732 w 10715630"/>
              <a:gd name="connsiteY6" fmla="*/ 2774515 h 3799348"/>
              <a:gd name="connsiteX7" fmla="*/ 5716151 w 10715630"/>
              <a:gd name="connsiteY7" fmla="*/ 2617939 h 3799348"/>
              <a:gd name="connsiteX8" fmla="*/ 5866463 w 10715630"/>
              <a:gd name="connsiteY8" fmla="*/ 2254685 h 3799348"/>
              <a:gd name="connsiteX9" fmla="*/ 5997987 w 10715630"/>
              <a:gd name="connsiteY9" fmla="*/ 1803748 h 3799348"/>
              <a:gd name="connsiteX10" fmla="*/ 6411346 w 10715630"/>
              <a:gd name="connsiteY10" fmla="*/ 1108553 h 3799348"/>
              <a:gd name="connsiteX11" fmla="*/ 6693181 w 10715630"/>
              <a:gd name="connsiteY11" fmla="*/ 770350 h 3799348"/>
              <a:gd name="connsiteX12" fmla="*/ 6843494 w 10715630"/>
              <a:gd name="connsiteY12" fmla="*/ 632564 h 3799348"/>
              <a:gd name="connsiteX13" fmla="*/ 7306957 w 10715630"/>
              <a:gd name="connsiteY13" fmla="*/ 319413 h 3799348"/>
              <a:gd name="connsiteX14" fmla="*/ 7826787 w 10715630"/>
              <a:gd name="connsiteY14" fmla="*/ 112734 h 3799348"/>
              <a:gd name="connsiteX15" fmla="*/ 8071044 w 10715630"/>
              <a:gd name="connsiteY15" fmla="*/ 43841 h 3799348"/>
              <a:gd name="connsiteX16" fmla="*/ 8534507 w 10715630"/>
              <a:gd name="connsiteY16" fmla="*/ 0 h 3799348"/>
              <a:gd name="connsiteX17" fmla="*/ 9142020 w 10715630"/>
              <a:gd name="connsiteY17" fmla="*/ 31315 h 3799348"/>
              <a:gd name="connsiteX18" fmla="*/ 9386277 w 10715630"/>
              <a:gd name="connsiteY18" fmla="*/ 93945 h 3799348"/>
              <a:gd name="connsiteX19" fmla="*/ 9592957 w 10715630"/>
              <a:gd name="connsiteY19" fmla="*/ 169101 h 3799348"/>
              <a:gd name="connsiteX20" fmla="*/ 9981263 w 10715630"/>
              <a:gd name="connsiteY20" fmla="*/ 375781 h 3799348"/>
              <a:gd name="connsiteX21" fmla="*/ 10425937 w 10715630"/>
              <a:gd name="connsiteY21" fmla="*/ 751561 h 3799348"/>
              <a:gd name="connsiteX22" fmla="*/ 10670195 w 10715630"/>
              <a:gd name="connsiteY22" fmla="*/ 1240076 h 3799348"/>
              <a:gd name="connsiteX23" fmla="*/ 10714036 w 10715630"/>
              <a:gd name="connsiteY23" fmla="*/ 1791222 h 3799348"/>
              <a:gd name="connsiteX24" fmla="*/ 10707773 w 10715630"/>
              <a:gd name="connsiteY24" fmla="*/ 2035479 h 3799348"/>
              <a:gd name="connsiteX25" fmla="*/ 10632617 w 10715630"/>
              <a:gd name="connsiteY25" fmla="*/ 2311052 h 3799348"/>
              <a:gd name="connsiteX26" fmla="*/ 10432200 w 10715630"/>
              <a:gd name="connsiteY26" fmla="*/ 2680570 h 3799348"/>
              <a:gd name="connsiteX27" fmla="*/ 10269362 w 10715630"/>
              <a:gd name="connsiteY27" fmla="*/ 2843408 h 3799348"/>
              <a:gd name="connsiteX28" fmla="*/ 10012578 w 10715630"/>
              <a:gd name="connsiteY28" fmla="*/ 2987457 h 3799348"/>
              <a:gd name="connsiteX29" fmla="*/ 9430118 w 10715630"/>
              <a:gd name="connsiteY29" fmla="*/ 3118981 h 3799348"/>
              <a:gd name="connsiteX30" fmla="*/ 8496929 w 10715630"/>
              <a:gd name="connsiteY30" fmla="*/ 3106455 h 3799348"/>
              <a:gd name="connsiteX31" fmla="*/ 7632633 w 10715630"/>
              <a:gd name="connsiteY31" fmla="*/ 3043824 h 3799348"/>
              <a:gd name="connsiteX32" fmla="*/ 7106540 w 10715630"/>
              <a:gd name="connsiteY32" fmla="*/ 2974931 h 3799348"/>
              <a:gd name="connsiteX33" fmla="*/ 5634732 w 10715630"/>
              <a:gd name="connsiteY33" fmla="*/ 2812093 h 3799348"/>
              <a:gd name="connsiteX34" fmla="*/ 5484420 w 10715630"/>
              <a:gd name="connsiteY34" fmla="*/ 2943616 h 3799348"/>
              <a:gd name="connsiteX35" fmla="*/ 5778781 w 10715630"/>
              <a:gd name="connsiteY35" fmla="*/ 2999983 h 3799348"/>
              <a:gd name="connsiteX36" fmla="*/ 5246425 w 10715630"/>
              <a:gd name="connsiteY36" fmla="*/ 2711885 h 3799348"/>
              <a:gd name="connsiteX0" fmla="*/ 2935373 w 10715630"/>
              <a:gd name="connsiteY0" fmla="*/ 3757808 h 3799348"/>
              <a:gd name="connsiteX1" fmla="*/ 0 w 10715630"/>
              <a:gd name="connsiteY1" fmla="*/ 3799348 h 3799348"/>
              <a:gd name="connsiteX2" fmla="*/ 3968770 w 10715630"/>
              <a:gd name="connsiteY2" fmla="*/ 3739019 h 3799348"/>
              <a:gd name="connsiteX3" fmla="*/ 4876907 w 10715630"/>
              <a:gd name="connsiteY3" fmla="*/ 3482235 h 3799348"/>
              <a:gd name="connsiteX4" fmla="*/ 5321581 w 10715630"/>
              <a:gd name="connsiteY4" fmla="*/ 3156559 h 3799348"/>
              <a:gd name="connsiteX5" fmla="*/ 5634732 w 10715630"/>
              <a:gd name="connsiteY5" fmla="*/ 2774515 h 3799348"/>
              <a:gd name="connsiteX6" fmla="*/ 5716151 w 10715630"/>
              <a:gd name="connsiteY6" fmla="*/ 2617939 h 3799348"/>
              <a:gd name="connsiteX7" fmla="*/ 5866463 w 10715630"/>
              <a:gd name="connsiteY7" fmla="*/ 2254685 h 3799348"/>
              <a:gd name="connsiteX8" fmla="*/ 5997987 w 10715630"/>
              <a:gd name="connsiteY8" fmla="*/ 1803748 h 3799348"/>
              <a:gd name="connsiteX9" fmla="*/ 6411346 w 10715630"/>
              <a:gd name="connsiteY9" fmla="*/ 1108553 h 3799348"/>
              <a:gd name="connsiteX10" fmla="*/ 6693181 w 10715630"/>
              <a:gd name="connsiteY10" fmla="*/ 770350 h 3799348"/>
              <a:gd name="connsiteX11" fmla="*/ 6843494 w 10715630"/>
              <a:gd name="connsiteY11" fmla="*/ 632564 h 3799348"/>
              <a:gd name="connsiteX12" fmla="*/ 7306957 w 10715630"/>
              <a:gd name="connsiteY12" fmla="*/ 319413 h 3799348"/>
              <a:gd name="connsiteX13" fmla="*/ 7826787 w 10715630"/>
              <a:gd name="connsiteY13" fmla="*/ 112734 h 3799348"/>
              <a:gd name="connsiteX14" fmla="*/ 8071044 w 10715630"/>
              <a:gd name="connsiteY14" fmla="*/ 43841 h 3799348"/>
              <a:gd name="connsiteX15" fmla="*/ 8534507 w 10715630"/>
              <a:gd name="connsiteY15" fmla="*/ 0 h 3799348"/>
              <a:gd name="connsiteX16" fmla="*/ 9142020 w 10715630"/>
              <a:gd name="connsiteY16" fmla="*/ 31315 h 3799348"/>
              <a:gd name="connsiteX17" fmla="*/ 9386277 w 10715630"/>
              <a:gd name="connsiteY17" fmla="*/ 93945 h 3799348"/>
              <a:gd name="connsiteX18" fmla="*/ 9592957 w 10715630"/>
              <a:gd name="connsiteY18" fmla="*/ 169101 h 3799348"/>
              <a:gd name="connsiteX19" fmla="*/ 9981263 w 10715630"/>
              <a:gd name="connsiteY19" fmla="*/ 375781 h 3799348"/>
              <a:gd name="connsiteX20" fmla="*/ 10425937 w 10715630"/>
              <a:gd name="connsiteY20" fmla="*/ 751561 h 3799348"/>
              <a:gd name="connsiteX21" fmla="*/ 10670195 w 10715630"/>
              <a:gd name="connsiteY21" fmla="*/ 1240076 h 3799348"/>
              <a:gd name="connsiteX22" fmla="*/ 10714036 w 10715630"/>
              <a:gd name="connsiteY22" fmla="*/ 1791222 h 3799348"/>
              <a:gd name="connsiteX23" fmla="*/ 10707773 w 10715630"/>
              <a:gd name="connsiteY23" fmla="*/ 2035479 h 3799348"/>
              <a:gd name="connsiteX24" fmla="*/ 10632617 w 10715630"/>
              <a:gd name="connsiteY24" fmla="*/ 2311052 h 3799348"/>
              <a:gd name="connsiteX25" fmla="*/ 10432200 w 10715630"/>
              <a:gd name="connsiteY25" fmla="*/ 2680570 h 3799348"/>
              <a:gd name="connsiteX26" fmla="*/ 10269362 w 10715630"/>
              <a:gd name="connsiteY26" fmla="*/ 2843408 h 3799348"/>
              <a:gd name="connsiteX27" fmla="*/ 10012578 w 10715630"/>
              <a:gd name="connsiteY27" fmla="*/ 2987457 h 3799348"/>
              <a:gd name="connsiteX28" fmla="*/ 9430118 w 10715630"/>
              <a:gd name="connsiteY28" fmla="*/ 3118981 h 3799348"/>
              <a:gd name="connsiteX29" fmla="*/ 8496929 w 10715630"/>
              <a:gd name="connsiteY29" fmla="*/ 3106455 h 3799348"/>
              <a:gd name="connsiteX30" fmla="*/ 7632633 w 10715630"/>
              <a:gd name="connsiteY30" fmla="*/ 3043824 h 3799348"/>
              <a:gd name="connsiteX31" fmla="*/ 7106540 w 10715630"/>
              <a:gd name="connsiteY31" fmla="*/ 2974931 h 3799348"/>
              <a:gd name="connsiteX32" fmla="*/ 5634732 w 10715630"/>
              <a:gd name="connsiteY32" fmla="*/ 2812093 h 3799348"/>
              <a:gd name="connsiteX33" fmla="*/ 5484420 w 10715630"/>
              <a:gd name="connsiteY33" fmla="*/ 2943616 h 3799348"/>
              <a:gd name="connsiteX34" fmla="*/ 5778781 w 10715630"/>
              <a:gd name="connsiteY34" fmla="*/ 2999983 h 3799348"/>
              <a:gd name="connsiteX35" fmla="*/ 5246425 w 10715630"/>
              <a:gd name="connsiteY35" fmla="*/ 2711885 h 3799348"/>
              <a:gd name="connsiteX0" fmla="*/ 2935373 w 10715630"/>
              <a:gd name="connsiteY0" fmla="*/ 3757808 h 3799348"/>
              <a:gd name="connsiteX1" fmla="*/ 0 w 10715630"/>
              <a:gd name="connsiteY1" fmla="*/ 3799348 h 3799348"/>
              <a:gd name="connsiteX2" fmla="*/ 3968770 w 10715630"/>
              <a:gd name="connsiteY2" fmla="*/ 3739019 h 3799348"/>
              <a:gd name="connsiteX3" fmla="*/ 5321581 w 10715630"/>
              <a:gd name="connsiteY3" fmla="*/ 3156559 h 3799348"/>
              <a:gd name="connsiteX4" fmla="*/ 5634732 w 10715630"/>
              <a:gd name="connsiteY4" fmla="*/ 2774515 h 3799348"/>
              <a:gd name="connsiteX5" fmla="*/ 5716151 w 10715630"/>
              <a:gd name="connsiteY5" fmla="*/ 2617939 h 3799348"/>
              <a:gd name="connsiteX6" fmla="*/ 5866463 w 10715630"/>
              <a:gd name="connsiteY6" fmla="*/ 2254685 h 3799348"/>
              <a:gd name="connsiteX7" fmla="*/ 5997987 w 10715630"/>
              <a:gd name="connsiteY7" fmla="*/ 1803748 h 3799348"/>
              <a:gd name="connsiteX8" fmla="*/ 6411346 w 10715630"/>
              <a:gd name="connsiteY8" fmla="*/ 1108553 h 3799348"/>
              <a:gd name="connsiteX9" fmla="*/ 6693181 w 10715630"/>
              <a:gd name="connsiteY9" fmla="*/ 770350 h 3799348"/>
              <a:gd name="connsiteX10" fmla="*/ 6843494 w 10715630"/>
              <a:gd name="connsiteY10" fmla="*/ 632564 h 3799348"/>
              <a:gd name="connsiteX11" fmla="*/ 7306957 w 10715630"/>
              <a:gd name="connsiteY11" fmla="*/ 319413 h 3799348"/>
              <a:gd name="connsiteX12" fmla="*/ 7826787 w 10715630"/>
              <a:gd name="connsiteY12" fmla="*/ 112734 h 3799348"/>
              <a:gd name="connsiteX13" fmla="*/ 8071044 w 10715630"/>
              <a:gd name="connsiteY13" fmla="*/ 43841 h 3799348"/>
              <a:gd name="connsiteX14" fmla="*/ 8534507 w 10715630"/>
              <a:gd name="connsiteY14" fmla="*/ 0 h 3799348"/>
              <a:gd name="connsiteX15" fmla="*/ 9142020 w 10715630"/>
              <a:gd name="connsiteY15" fmla="*/ 31315 h 3799348"/>
              <a:gd name="connsiteX16" fmla="*/ 9386277 w 10715630"/>
              <a:gd name="connsiteY16" fmla="*/ 93945 h 3799348"/>
              <a:gd name="connsiteX17" fmla="*/ 9592957 w 10715630"/>
              <a:gd name="connsiteY17" fmla="*/ 169101 h 3799348"/>
              <a:gd name="connsiteX18" fmla="*/ 9981263 w 10715630"/>
              <a:gd name="connsiteY18" fmla="*/ 375781 h 3799348"/>
              <a:gd name="connsiteX19" fmla="*/ 10425937 w 10715630"/>
              <a:gd name="connsiteY19" fmla="*/ 751561 h 3799348"/>
              <a:gd name="connsiteX20" fmla="*/ 10670195 w 10715630"/>
              <a:gd name="connsiteY20" fmla="*/ 1240076 h 3799348"/>
              <a:gd name="connsiteX21" fmla="*/ 10714036 w 10715630"/>
              <a:gd name="connsiteY21" fmla="*/ 1791222 h 3799348"/>
              <a:gd name="connsiteX22" fmla="*/ 10707773 w 10715630"/>
              <a:gd name="connsiteY22" fmla="*/ 2035479 h 3799348"/>
              <a:gd name="connsiteX23" fmla="*/ 10632617 w 10715630"/>
              <a:gd name="connsiteY23" fmla="*/ 2311052 h 3799348"/>
              <a:gd name="connsiteX24" fmla="*/ 10432200 w 10715630"/>
              <a:gd name="connsiteY24" fmla="*/ 2680570 h 3799348"/>
              <a:gd name="connsiteX25" fmla="*/ 10269362 w 10715630"/>
              <a:gd name="connsiteY25" fmla="*/ 2843408 h 3799348"/>
              <a:gd name="connsiteX26" fmla="*/ 10012578 w 10715630"/>
              <a:gd name="connsiteY26" fmla="*/ 2987457 h 3799348"/>
              <a:gd name="connsiteX27" fmla="*/ 9430118 w 10715630"/>
              <a:gd name="connsiteY27" fmla="*/ 3118981 h 3799348"/>
              <a:gd name="connsiteX28" fmla="*/ 8496929 w 10715630"/>
              <a:gd name="connsiteY28" fmla="*/ 3106455 h 3799348"/>
              <a:gd name="connsiteX29" fmla="*/ 7632633 w 10715630"/>
              <a:gd name="connsiteY29" fmla="*/ 3043824 h 3799348"/>
              <a:gd name="connsiteX30" fmla="*/ 7106540 w 10715630"/>
              <a:gd name="connsiteY30" fmla="*/ 2974931 h 3799348"/>
              <a:gd name="connsiteX31" fmla="*/ 5634732 w 10715630"/>
              <a:gd name="connsiteY31" fmla="*/ 2812093 h 3799348"/>
              <a:gd name="connsiteX32" fmla="*/ 5484420 w 10715630"/>
              <a:gd name="connsiteY32" fmla="*/ 2943616 h 3799348"/>
              <a:gd name="connsiteX33" fmla="*/ 5778781 w 10715630"/>
              <a:gd name="connsiteY33" fmla="*/ 2999983 h 3799348"/>
              <a:gd name="connsiteX34" fmla="*/ 5246425 w 10715630"/>
              <a:gd name="connsiteY34" fmla="*/ 2711885 h 3799348"/>
              <a:gd name="connsiteX0" fmla="*/ 2935373 w 10715630"/>
              <a:gd name="connsiteY0" fmla="*/ 3757808 h 3828276"/>
              <a:gd name="connsiteX1" fmla="*/ 0 w 10715630"/>
              <a:gd name="connsiteY1" fmla="*/ 3799348 h 3828276"/>
              <a:gd name="connsiteX2" fmla="*/ 3968770 w 10715630"/>
              <a:gd name="connsiteY2" fmla="*/ 3739019 h 3828276"/>
              <a:gd name="connsiteX3" fmla="*/ 5634732 w 10715630"/>
              <a:gd name="connsiteY3" fmla="*/ 2774515 h 3828276"/>
              <a:gd name="connsiteX4" fmla="*/ 5716151 w 10715630"/>
              <a:gd name="connsiteY4" fmla="*/ 2617939 h 3828276"/>
              <a:gd name="connsiteX5" fmla="*/ 5866463 w 10715630"/>
              <a:gd name="connsiteY5" fmla="*/ 2254685 h 3828276"/>
              <a:gd name="connsiteX6" fmla="*/ 5997987 w 10715630"/>
              <a:gd name="connsiteY6" fmla="*/ 1803748 h 3828276"/>
              <a:gd name="connsiteX7" fmla="*/ 6411346 w 10715630"/>
              <a:gd name="connsiteY7" fmla="*/ 1108553 h 3828276"/>
              <a:gd name="connsiteX8" fmla="*/ 6693181 w 10715630"/>
              <a:gd name="connsiteY8" fmla="*/ 770350 h 3828276"/>
              <a:gd name="connsiteX9" fmla="*/ 6843494 w 10715630"/>
              <a:gd name="connsiteY9" fmla="*/ 632564 h 3828276"/>
              <a:gd name="connsiteX10" fmla="*/ 7306957 w 10715630"/>
              <a:gd name="connsiteY10" fmla="*/ 319413 h 3828276"/>
              <a:gd name="connsiteX11" fmla="*/ 7826787 w 10715630"/>
              <a:gd name="connsiteY11" fmla="*/ 112734 h 3828276"/>
              <a:gd name="connsiteX12" fmla="*/ 8071044 w 10715630"/>
              <a:gd name="connsiteY12" fmla="*/ 43841 h 3828276"/>
              <a:gd name="connsiteX13" fmla="*/ 8534507 w 10715630"/>
              <a:gd name="connsiteY13" fmla="*/ 0 h 3828276"/>
              <a:gd name="connsiteX14" fmla="*/ 9142020 w 10715630"/>
              <a:gd name="connsiteY14" fmla="*/ 31315 h 3828276"/>
              <a:gd name="connsiteX15" fmla="*/ 9386277 w 10715630"/>
              <a:gd name="connsiteY15" fmla="*/ 93945 h 3828276"/>
              <a:gd name="connsiteX16" fmla="*/ 9592957 w 10715630"/>
              <a:gd name="connsiteY16" fmla="*/ 169101 h 3828276"/>
              <a:gd name="connsiteX17" fmla="*/ 9981263 w 10715630"/>
              <a:gd name="connsiteY17" fmla="*/ 375781 h 3828276"/>
              <a:gd name="connsiteX18" fmla="*/ 10425937 w 10715630"/>
              <a:gd name="connsiteY18" fmla="*/ 751561 h 3828276"/>
              <a:gd name="connsiteX19" fmla="*/ 10670195 w 10715630"/>
              <a:gd name="connsiteY19" fmla="*/ 1240076 h 3828276"/>
              <a:gd name="connsiteX20" fmla="*/ 10714036 w 10715630"/>
              <a:gd name="connsiteY20" fmla="*/ 1791222 h 3828276"/>
              <a:gd name="connsiteX21" fmla="*/ 10707773 w 10715630"/>
              <a:gd name="connsiteY21" fmla="*/ 2035479 h 3828276"/>
              <a:gd name="connsiteX22" fmla="*/ 10632617 w 10715630"/>
              <a:gd name="connsiteY22" fmla="*/ 2311052 h 3828276"/>
              <a:gd name="connsiteX23" fmla="*/ 10432200 w 10715630"/>
              <a:gd name="connsiteY23" fmla="*/ 2680570 h 3828276"/>
              <a:gd name="connsiteX24" fmla="*/ 10269362 w 10715630"/>
              <a:gd name="connsiteY24" fmla="*/ 2843408 h 3828276"/>
              <a:gd name="connsiteX25" fmla="*/ 10012578 w 10715630"/>
              <a:gd name="connsiteY25" fmla="*/ 2987457 h 3828276"/>
              <a:gd name="connsiteX26" fmla="*/ 9430118 w 10715630"/>
              <a:gd name="connsiteY26" fmla="*/ 3118981 h 3828276"/>
              <a:gd name="connsiteX27" fmla="*/ 8496929 w 10715630"/>
              <a:gd name="connsiteY27" fmla="*/ 3106455 h 3828276"/>
              <a:gd name="connsiteX28" fmla="*/ 7632633 w 10715630"/>
              <a:gd name="connsiteY28" fmla="*/ 3043824 h 3828276"/>
              <a:gd name="connsiteX29" fmla="*/ 7106540 w 10715630"/>
              <a:gd name="connsiteY29" fmla="*/ 2974931 h 3828276"/>
              <a:gd name="connsiteX30" fmla="*/ 5634732 w 10715630"/>
              <a:gd name="connsiteY30" fmla="*/ 2812093 h 3828276"/>
              <a:gd name="connsiteX31" fmla="*/ 5484420 w 10715630"/>
              <a:gd name="connsiteY31" fmla="*/ 2943616 h 3828276"/>
              <a:gd name="connsiteX32" fmla="*/ 5778781 w 10715630"/>
              <a:gd name="connsiteY32" fmla="*/ 2999983 h 3828276"/>
              <a:gd name="connsiteX33" fmla="*/ 5246425 w 10715630"/>
              <a:gd name="connsiteY33" fmla="*/ 2711885 h 3828276"/>
              <a:gd name="connsiteX0" fmla="*/ 2935373 w 10715630"/>
              <a:gd name="connsiteY0" fmla="*/ 3757808 h 3828276"/>
              <a:gd name="connsiteX1" fmla="*/ 0 w 10715630"/>
              <a:gd name="connsiteY1" fmla="*/ 3799348 h 3828276"/>
              <a:gd name="connsiteX2" fmla="*/ 3968770 w 10715630"/>
              <a:gd name="connsiteY2" fmla="*/ 3739019 h 3828276"/>
              <a:gd name="connsiteX3" fmla="*/ 5634732 w 10715630"/>
              <a:gd name="connsiteY3" fmla="*/ 2774515 h 3828276"/>
              <a:gd name="connsiteX4" fmla="*/ 5866463 w 10715630"/>
              <a:gd name="connsiteY4" fmla="*/ 2254685 h 3828276"/>
              <a:gd name="connsiteX5" fmla="*/ 5997987 w 10715630"/>
              <a:gd name="connsiteY5" fmla="*/ 1803748 h 3828276"/>
              <a:gd name="connsiteX6" fmla="*/ 6411346 w 10715630"/>
              <a:gd name="connsiteY6" fmla="*/ 1108553 h 3828276"/>
              <a:gd name="connsiteX7" fmla="*/ 6693181 w 10715630"/>
              <a:gd name="connsiteY7" fmla="*/ 770350 h 3828276"/>
              <a:gd name="connsiteX8" fmla="*/ 6843494 w 10715630"/>
              <a:gd name="connsiteY8" fmla="*/ 632564 h 3828276"/>
              <a:gd name="connsiteX9" fmla="*/ 7306957 w 10715630"/>
              <a:gd name="connsiteY9" fmla="*/ 319413 h 3828276"/>
              <a:gd name="connsiteX10" fmla="*/ 7826787 w 10715630"/>
              <a:gd name="connsiteY10" fmla="*/ 112734 h 3828276"/>
              <a:gd name="connsiteX11" fmla="*/ 8071044 w 10715630"/>
              <a:gd name="connsiteY11" fmla="*/ 43841 h 3828276"/>
              <a:gd name="connsiteX12" fmla="*/ 8534507 w 10715630"/>
              <a:gd name="connsiteY12" fmla="*/ 0 h 3828276"/>
              <a:gd name="connsiteX13" fmla="*/ 9142020 w 10715630"/>
              <a:gd name="connsiteY13" fmla="*/ 31315 h 3828276"/>
              <a:gd name="connsiteX14" fmla="*/ 9386277 w 10715630"/>
              <a:gd name="connsiteY14" fmla="*/ 93945 h 3828276"/>
              <a:gd name="connsiteX15" fmla="*/ 9592957 w 10715630"/>
              <a:gd name="connsiteY15" fmla="*/ 169101 h 3828276"/>
              <a:gd name="connsiteX16" fmla="*/ 9981263 w 10715630"/>
              <a:gd name="connsiteY16" fmla="*/ 375781 h 3828276"/>
              <a:gd name="connsiteX17" fmla="*/ 10425937 w 10715630"/>
              <a:gd name="connsiteY17" fmla="*/ 751561 h 3828276"/>
              <a:gd name="connsiteX18" fmla="*/ 10670195 w 10715630"/>
              <a:gd name="connsiteY18" fmla="*/ 1240076 h 3828276"/>
              <a:gd name="connsiteX19" fmla="*/ 10714036 w 10715630"/>
              <a:gd name="connsiteY19" fmla="*/ 1791222 h 3828276"/>
              <a:gd name="connsiteX20" fmla="*/ 10707773 w 10715630"/>
              <a:gd name="connsiteY20" fmla="*/ 2035479 h 3828276"/>
              <a:gd name="connsiteX21" fmla="*/ 10632617 w 10715630"/>
              <a:gd name="connsiteY21" fmla="*/ 2311052 h 3828276"/>
              <a:gd name="connsiteX22" fmla="*/ 10432200 w 10715630"/>
              <a:gd name="connsiteY22" fmla="*/ 2680570 h 3828276"/>
              <a:gd name="connsiteX23" fmla="*/ 10269362 w 10715630"/>
              <a:gd name="connsiteY23" fmla="*/ 2843408 h 3828276"/>
              <a:gd name="connsiteX24" fmla="*/ 10012578 w 10715630"/>
              <a:gd name="connsiteY24" fmla="*/ 2987457 h 3828276"/>
              <a:gd name="connsiteX25" fmla="*/ 9430118 w 10715630"/>
              <a:gd name="connsiteY25" fmla="*/ 3118981 h 3828276"/>
              <a:gd name="connsiteX26" fmla="*/ 8496929 w 10715630"/>
              <a:gd name="connsiteY26" fmla="*/ 3106455 h 3828276"/>
              <a:gd name="connsiteX27" fmla="*/ 7632633 w 10715630"/>
              <a:gd name="connsiteY27" fmla="*/ 3043824 h 3828276"/>
              <a:gd name="connsiteX28" fmla="*/ 7106540 w 10715630"/>
              <a:gd name="connsiteY28" fmla="*/ 2974931 h 3828276"/>
              <a:gd name="connsiteX29" fmla="*/ 5634732 w 10715630"/>
              <a:gd name="connsiteY29" fmla="*/ 2812093 h 3828276"/>
              <a:gd name="connsiteX30" fmla="*/ 5484420 w 10715630"/>
              <a:gd name="connsiteY30" fmla="*/ 2943616 h 3828276"/>
              <a:gd name="connsiteX31" fmla="*/ 5778781 w 10715630"/>
              <a:gd name="connsiteY31" fmla="*/ 2999983 h 3828276"/>
              <a:gd name="connsiteX32" fmla="*/ 5246425 w 10715630"/>
              <a:gd name="connsiteY32" fmla="*/ 2711885 h 3828276"/>
              <a:gd name="connsiteX0" fmla="*/ 0 w 10715630"/>
              <a:gd name="connsiteY0" fmla="*/ 3799348 h 3828276"/>
              <a:gd name="connsiteX1" fmla="*/ 3968770 w 10715630"/>
              <a:gd name="connsiteY1" fmla="*/ 3739019 h 3828276"/>
              <a:gd name="connsiteX2" fmla="*/ 5634732 w 10715630"/>
              <a:gd name="connsiteY2" fmla="*/ 2774515 h 3828276"/>
              <a:gd name="connsiteX3" fmla="*/ 5866463 w 10715630"/>
              <a:gd name="connsiteY3" fmla="*/ 2254685 h 3828276"/>
              <a:gd name="connsiteX4" fmla="*/ 5997987 w 10715630"/>
              <a:gd name="connsiteY4" fmla="*/ 1803748 h 3828276"/>
              <a:gd name="connsiteX5" fmla="*/ 6411346 w 10715630"/>
              <a:gd name="connsiteY5" fmla="*/ 1108553 h 3828276"/>
              <a:gd name="connsiteX6" fmla="*/ 6693181 w 10715630"/>
              <a:gd name="connsiteY6" fmla="*/ 770350 h 3828276"/>
              <a:gd name="connsiteX7" fmla="*/ 6843494 w 10715630"/>
              <a:gd name="connsiteY7" fmla="*/ 632564 h 3828276"/>
              <a:gd name="connsiteX8" fmla="*/ 7306957 w 10715630"/>
              <a:gd name="connsiteY8" fmla="*/ 319413 h 3828276"/>
              <a:gd name="connsiteX9" fmla="*/ 7826787 w 10715630"/>
              <a:gd name="connsiteY9" fmla="*/ 112734 h 3828276"/>
              <a:gd name="connsiteX10" fmla="*/ 8071044 w 10715630"/>
              <a:gd name="connsiteY10" fmla="*/ 43841 h 3828276"/>
              <a:gd name="connsiteX11" fmla="*/ 8534507 w 10715630"/>
              <a:gd name="connsiteY11" fmla="*/ 0 h 3828276"/>
              <a:gd name="connsiteX12" fmla="*/ 9142020 w 10715630"/>
              <a:gd name="connsiteY12" fmla="*/ 31315 h 3828276"/>
              <a:gd name="connsiteX13" fmla="*/ 9386277 w 10715630"/>
              <a:gd name="connsiteY13" fmla="*/ 93945 h 3828276"/>
              <a:gd name="connsiteX14" fmla="*/ 9592957 w 10715630"/>
              <a:gd name="connsiteY14" fmla="*/ 169101 h 3828276"/>
              <a:gd name="connsiteX15" fmla="*/ 9981263 w 10715630"/>
              <a:gd name="connsiteY15" fmla="*/ 375781 h 3828276"/>
              <a:gd name="connsiteX16" fmla="*/ 10425937 w 10715630"/>
              <a:gd name="connsiteY16" fmla="*/ 751561 h 3828276"/>
              <a:gd name="connsiteX17" fmla="*/ 10670195 w 10715630"/>
              <a:gd name="connsiteY17" fmla="*/ 1240076 h 3828276"/>
              <a:gd name="connsiteX18" fmla="*/ 10714036 w 10715630"/>
              <a:gd name="connsiteY18" fmla="*/ 1791222 h 3828276"/>
              <a:gd name="connsiteX19" fmla="*/ 10707773 w 10715630"/>
              <a:gd name="connsiteY19" fmla="*/ 2035479 h 3828276"/>
              <a:gd name="connsiteX20" fmla="*/ 10632617 w 10715630"/>
              <a:gd name="connsiteY20" fmla="*/ 2311052 h 3828276"/>
              <a:gd name="connsiteX21" fmla="*/ 10432200 w 10715630"/>
              <a:gd name="connsiteY21" fmla="*/ 2680570 h 3828276"/>
              <a:gd name="connsiteX22" fmla="*/ 10269362 w 10715630"/>
              <a:gd name="connsiteY22" fmla="*/ 2843408 h 3828276"/>
              <a:gd name="connsiteX23" fmla="*/ 10012578 w 10715630"/>
              <a:gd name="connsiteY23" fmla="*/ 2987457 h 3828276"/>
              <a:gd name="connsiteX24" fmla="*/ 9430118 w 10715630"/>
              <a:gd name="connsiteY24" fmla="*/ 3118981 h 3828276"/>
              <a:gd name="connsiteX25" fmla="*/ 8496929 w 10715630"/>
              <a:gd name="connsiteY25" fmla="*/ 3106455 h 3828276"/>
              <a:gd name="connsiteX26" fmla="*/ 7632633 w 10715630"/>
              <a:gd name="connsiteY26" fmla="*/ 3043824 h 3828276"/>
              <a:gd name="connsiteX27" fmla="*/ 7106540 w 10715630"/>
              <a:gd name="connsiteY27" fmla="*/ 2974931 h 3828276"/>
              <a:gd name="connsiteX28" fmla="*/ 5634732 w 10715630"/>
              <a:gd name="connsiteY28" fmla="*/ 2812093 h 3828276"/>
              <a:gd name="connsiteX29" fmla="*/ 5484420 w 10715630"/>
              <a:gd name="connsiteY29" fmla="*/ 2943616 h 3828276"/>
              <a:gd name="connsiteX30" fmla="*/ 5778781 w 10715630"/>
              <a:gd name="connsiteY30" fmla="*/ 2999983 h 3828276"/>
              <a:gd name="connsiteX31" fmla="*/ 5246425 w 10715630"/>
              <a:gd name="connsiteY31" fmla="*/ 2711885 h 3828276"/>
              <a:gd name="connsiteX0" fmla="*/ 0 w 10302990"/>
              <a:gd name="connsiteY0" fmla="*/ 3799348 h 3828276"/>
              <a:gd name="connsiteX1" fmla="*/ 3556130 w 10302990"/>
              <a:gd name="connsiteY1" fmla="*/ 3739019 h 3828276"/>
              <a:gd name="connsiteX2" fmla="*/ 5222092 w 10302990"/>
              <a:gd name="connsiteY2" fmla="*/ 2774515 h 3828276"/>
              <a:gd name="connsiteX3" fmla="*/ 5453823 w 10302990"/>
              <a:gd name="connsiteY3" fmla="*/ 2254685 h 3828276"/>
              <a:gd name="connsiteX4" fmla="*/ 5585347 w 10302990"/>
              <a:gd name="connsiteY4" fmla="*/ 1803748 h 3828276"/>
              <a:gd name="connsiteX5" fmla="*/ 5998706 w 10302990"/>
              <a:gd name="connsiteY5" fmla="*/ 1108553 h 3828276"/>
              <a:gd name="connsiteX6" fmla="*/ 6280541 w 10302990"/>
              <a:gd name="connsiteY6" fmla="*/ 770350 h 3828276"/>
              <a:gd name="connsiteX7" fmla="*/ 6430854 w 10302990"/>
              <a:gd name="connsiteY7" fmla="*/ 632564 h 3828276"/>
              <a:gd name="connsiteX8" fmla="*/ 6894317 w 10302990"/>
              <a:gd name="connsiteY8" fmla="*/ 319413 h 3828276"/>
              <a:gd name="connsiteX9" fmla="*/ 7414147 w 10302990"/>
              <a:gd name="connsiteY9" fmla="*/ 112734 h 3828276"/>
              <a:gd name="connsiteX10" fmla="*/ 7658404 w 10302990"/>
              <a:gd name="connsiteY10" fmla="*/ 43841 h 3828276"/>
              <a:gd name="connsiteX11" fmla="*/ 8121867 w 10302990"/>
              <a:gd name="connsiteY11" fmla="*/ 0 h 3828276"/>
              <a:gd name="connsiteX12" fmla="*/ 8729380 w 10302990"/>
              <a:gd name="connsiteY12" fmla="*/ 31315 h 3828276"/>
              <a:gd name="connsiteX13" fmla="*/ 8973637 w 10302990"/>
              <a:gd name="connsiteY13" fmla="*/ 93945 h 3828276"/>
              <a:gd name="connsiteX14" fmla="*/ 9180317 w 10302990"/>
              <a:gd name="connsiteY14" fmla="*/ 169101 h 3828276"/>
              <a:gd name="connsiteX15" fmla="*/ 9568623 w 10302990"/>
              <a:gd name="connsiteY15" fmla="*/ 375781 h 3828276"/>
              <a:gd name="connsiteX16" fmla="*/ 10013297 w 10302990"/>
              <a:gd name="connsiteY16" fmla="*/ 751561 h 3828276"/>
              <a:gd name="connsiteX17" fmla="*/ 10257555 w 10302990"/>
              <a:gd name="connsiteY17" fmla="*/ 1240076 h 3828276"/>
              <a:gd name="connsiteX18" fmla="*/ 10301396 w 10302990"/>
              <a:gd name="connsiteY18" fmla="*/ 1791222 h 3828276"/>
              <a:gd name="connsiteX19" fmla="*/ 10295133 w 10302990"/>
              <a:gd name="connsiteY19" fmla="*/ 2035479 h 3828276"/>
              <a:gd name="connsiteX20" fmla="*/ 10219977 w 10302990"/>
              <a:gd name="connsiteY20" fmla="*/ 2311052 h 3828276"/>
              <a:gd name="connsiteX21" fmla="*/ 10019560 w 10302990"/>
              <a:gd name="connsiteY21" fmla="*/ 2680570 h 3828276"/>
              <a:gd name="connsiteX22" fmla="*/ 9856722 w 10302990"/>
              <a:gd name="connsiteY22" fmla="*/ 2843408 h 3828276"/>
              <a:gd name="connsiteX23" fmla="*/ 9599938 w 10302990"/>
              <a:gd name="connsiteY23" fmla="*/ 2987457 h 3828276"/>
              <a:gd name="connsiteX24" fmla="*/ 9017478 w 10302990"/>
              <a:gd name="connsiteY24" fmla="*/ 3118981 h 3828276"/>
              <a:gd name="connsiteX25" fmla="*/ 8084289 w 10302990"/>
              <a:gd name="connsiteY25" fmla="*/ 3106455 h 3828276"/>
              <a:gd name="connsiteX26" fmla="*/ 7219993 w 10302990"/>
              <a:gd name="connsiteY26" fmla="*/ 3043824 h 3828276"/>
              <a:gd name="connsiteX27" fmla="*/ 6693900 w 10302990"/>
              <a:gd name="connsiteY27" fmla="*/ 2974931 h 3828276"/>
              <a:gd name="connsiteX28" fmla="*/ 5222092 w 10302990"/>
              <a:gd name="connsiteY28" fmla="*/ 2812093 h 3828276"/>
              <a:gd name="connsiteX29" fmla="*/ 5071780 w 10302990"/>
              <a:gd name="connsiteY29" fmla="*/ 2943616 h 3828276"/>
              <a:gd name="connsiteX30" fmla="*/ 5366141 w 10302990"/>
              <a:gd name="connsiteY30" fmla="*/ 2999983 h 3828276"/>
              <a:gd name="connsiteX31" fmla="*/ 4833785 w 10302990"/>
              <a:gd name="connsiteY31" fmla="*/ 2711885 h 3828276"/>
              <a:gd name="connsiteX0" fmla="*/ 0 w 9402684"/>
              <a:gd name="connsiteY0" fmla="*/ 4164902 h 4164902"/>
              <a:gd name="connsiteX1" fmla="*/ 2655824 w 9402684"/>
              <a:gd name="connsiteY1" fmla="*/ 3739019 h 4164902"/>
              <a:gd name="connsiteX2" fmla="*/ 4321786 w 9402684"/>
              <a:gd name="connsiteY2" fmla="*/ 2774515 h 4164902"/>
              <a:gd name="connsiteX3" fmla="*/ 4553517 w 9402684"/>
              <a:gd name="connsiteY3" fmla="*/ 2254685 h 4164902"/>
              <a:gd name="connsiteX4" fmla="*/ 4685041 w 9402684"/>
              <a:gd name="connsiteY4" fmla="*/ 1803748 h 4164902"/>
              <a:gd name="connsiteX5" fmla="*/ 5098400 w 9402684"/>
              <a:gd name="connsiteY5" fmla="*/ 1108553 h 4164902"/>
              <a:gd name="connsiteX6" fmla="*/ 5380235 w 9402684"/>
              <a:gd name="connsiteY6" fmla="*/ 770350 h 4164902"/>
              <a:gd name="connsiteX7" fmla="*/ 5530548 w 9402684"/>
              <a:gd name="connsiteY7" fmla="*/ 632564 h 4164902"/>
              <a:gd name="connsiteX8" fmla="*/ 5994011 w 9402684"/>
              <a:gd name="connsiteY8" fmla="*/ 319413 h 4164902"/>
              <a:gd name="connsiteX9" fmla="*/ 6513841 w 9402684"/>
              <a:gd name="connsiteY9" fmla="*/ 112734 h 4164902"/>
              <a:gd name="connsiteX10" fmla="*/ 6758098 w 9402684"/>
              <a:gd name="connsiteY10" fmla="*/ 43841 h 4164902"/>
              <a:gd name="connsiteX11" fmla="*/ 7221561 w 9402684"/>
              <a:gd name="connsiteY11" fmla="*/ 0 h 4164902"/>
              <a:gd name="connsiteX12" fmla="*/ 7829074 w 9402684"/>
              <a:gd name="connsiteY12" fmla="*/ 31315 h 4164902"/>
              <a:gd name="connsiteX13" fmla="*/ 8073331 w 9402684"/>
              <a:gd name="connsiteY13" fmla="*/ 93945 h 4164902"/>
              <a:gd name="connsiteX14" fmla="*/ 8280011 w 9402684"/>
              <a:gd name="connsiteY14" fmla="*/ 169101 h 4164902"/>
              <a:gd name="connsiteX15" fmla="*/ 8668317 w 9402684"/>
              <a:gd name="connsiteY15" fmla="*/ 375781 h 4164902"/>
              <a:gd name="connsiteX16" fmla="*/ 9112991 w 9402684"/>
              <a:gd name="connsiteY16" fmla="*/ 751561 h 4164902"/>
              <a:gd name="connsiteX17" fmla="*/ 9357249 w 9402684"/>
              <a:gd name="connsiteY17" fmla="*/ 1240076 h 4164902"/>
              <a:gd name="connsiteX18" fmla="*/ 9401090 w 9402684"/>
              <a:gd name="connsiteY18" fmla="*/ 1791222 h 4164902"/>
              <a:gd name="connsiteX19" fmla="*/ 9394827 w 9402684"/>
              <a:gd name="connsiteY19" fmla="*/ 2035479 h 4164902"/>
              <a:gd name="connsiteX20" fmla="*/ 9319671 w 9402684"/>
              <a:gd name="connsiteY20" fmla="*/ 2311052 h 4164902"/>
              <a:gd name="connsiteX21" fmla="*/ 9119254 w 9402684"/>
              <a:gd name="connsiteY21" fmla="*/ 2680570 h 4164902"/>
              <a:gd name="connsiteX22" fmla="*/ 8956416 w 9402684"/>
              <a:gd name="connsiteY22" fmla="*/ 2843408 h 4164902"/>
              <a:gd name="connsiteX23" fmla="*/ 8699632 w 9402684"/>
              <a:gd name="connsiteY23" fmla="*/ 2987457 h 4164902"/>
              <a:gd name="connsiteX24" fmla="*/ 8117172 w 9402684"/>
              <a:gd name="connsiteY24" fmla="*/ 3118981 h 4164902"/>
              <a:gd name="connsiteX25" fmla="*/ 7183983 w 9402684"/>
              <a:gd name="connsiteY25" fmla="*/ 3106455 h 4164902"/>
              <a:gd name="connsiteX26" fmla="*/ 6319687 w 9402684"/>
              <a:gd name="connsiteY26" fmla="*/ 3043824 h 4164902"/>
              <a:gd name="connsiteX27" fmla="*/ 5793594 w 9402684"/>
              <a:gd name="connsiteY27" fmla="*/ 2974931 h 4164902"/>
              <a:gd name="connsiteX28" fmla="*/ 4321786 w 9402684"/>
              <a:gd name="connsiteY28" fmla="*/ 2812093 h 4164902"/>
              <a:gd name="connsiteX29" fmla="*/ 4171474 w 9402684"/>
              <a:gd name="connsiteY29" fmla="*/ 2943616 h 4164902"/>
              <a:gd name="connsiteX30" fmla="*/ 4465835 w 9402684"/>
              <a:gd name="connsiteY30" fmla="*/ 2999983 h 4164902"/>
              <a:gd name="connsiteX31" fmla="*/ 3933479 w 9402684"/>
              <a:gd name="connsiteY31" fmla="*/ 2711885 h 4164902"/>
              <a:gd name="connsiteX0" fmla="*/ 0 w 9402684"/>
              <a:gd name="connsiteY0" fmla="*/ 4164902 h 4164902"/>
              <a:gd name="connsiteX1" fmla="*/ 2655824 w 9402684"/>
              <a:gd name="connsiteY1" fmla="*/ 3739019 h 4164902"/>
              <a:gd name="connsiteX2" fmla="*/ 4321786 w 9402684"/>
              <a:gd name="connsiteY2" fmla="*/ 2774515 h 4164902"/>
              <a:gd name="connsiteX3" fmla="*/ 4553517 w 9402684"/>
              <a:gd name="connsiteY3" fmla="*/ 2254685 h 4164902"/>
              <a:gd name="connsiteX4" fmla="*/ 4685041 w 9402684"/>
              <a:gd name="connsiteY4" fmla="*/ 1803748 h 4164902"/>
              <a:gd name="connsiteX5" fmla="*/ 5098400 w 9402684"/>
              <a:gd name="connsiteY5" fmla="*/ 1108553 h 4164902"/>
              <a:gd name="connsiteX6" fmla="*/ 5380235 w 9402684"/>
              <a:gd name="connsiteY6" fmla="*/ 770350 h 4164902"/>
              <a:gd name="connsiteX7" fmla="*/ 5530548 w 9402684"/>
              <a:gd name="connsiteY7" fmla="*/ 632564 h 4164902"/>
              <a:gd name="connsiteX8" fmla="*/ 5994011 w 9402684"/>
              <a:gd name="connsiteY8" fmla="*/ 319413 h 4164902"/>
              <a:gd name="connsiteX9" fmla="*/ 6513841 w 9402684"/>
              <a:gd name="connsiteY9" fmla="*/ 112734 h 4164902"/>
              <a:gd name="connsiteX10" fmla="*/ 6758098 w 9402684"/>
              <a:gd name="connsiteY10" fmla="*/ 43841 h 4164902"/>
              <a:gd name="connsiteX11" fmla="*/ 7221561 w 9402684"/>
              <a:gd name="connsiteY11" fmla="*/ 0 h 4164902"/>
              <a:gd name="connsiteX12" fmla="*/ 7829074 w 9402684"/>
              <a:gd name="connsiteY12" fmla="*/ 31315 h 4164902"/>
              <a:gd name="connsiteX13" fmla="*/ 8073331 w 9402684"/>
              <a:gd name="connsiteY13" fmla="*/ 93945 h 4164902"/>
              <a:gd name="connsiteX14" fmla="*/ 8280011 w 9402684"/>
              <a:gd name="connsiteY14" fmla="*/ 169101 h 4164902"/>
              <a:gd name="connsiteX15" fmla="*/ 8668317 w 9402684"/>
              <a:gd name="connsiteY15" fmla="*/ 375781 h 4164902"/>
              <a:gd name="connsiteX16" fmla="*/ 9112991 w 9402684"/>
              <a:gd name="connsiteY16" fmla="*/ 751561 h 4164902"/>
              <a:gd name="connsiteX17" fmla="*/ 9357249 w 9402684"/>
              <a:gd name="connsiteY17" fmla="*/ 1240076 h 4164902"/>
              <a:gd name="connsiteX18" fmla="*/ 9401090 w 9402684"/>
              <a:gd name="connsiteY18" fmla="*/ 1791222 h 4164902"/>
              <a:gd name="connsiteX19" fmla="*/ 9394827 w 9402684"/>
              <a:gd name="connsiteY19" fmla="*/ 2035479 h 4164902"/>
              <a:gd name="connsiteX20" fmla="*/ 9319671 w 9402684"/>
              <a:gd name="connsiteY20" fmla="*/ 2311052 h 4164902"/>
              <a:gd name="connsiteX21" fmla="*/ 9119254 w 9402684"/>
              <a:gd name="connsiteY21" fmla="*/ 2680570 h 4164902"/>
              <a:gd name="connsiteX22" fmla="*/ 8956416 w 9402684"/>
              <a:gd name="connsiteY22" fmla="*/ 2843408 h 4164902"/>
              <a:gd name="connsiteX23" fmla="*/ 8731095 w 9402684"/>
              <a:gd name="connsiteY23" fmla="*/ 2974295 h 4164902"/>
              <a:gd name="connsiteX24" fmla="*/ 8699632 w 9402684"/>
              <a:gd name="connsiteY24" fmla="*/ 2987457 h 4164902"/>
              <a:gd name="connsiteX25" fmla="*/ 8117172 w 9402684"/>
              <a:gd name="connsiteY25" fmla="*/ 3118981 h 4164902"/>
              <a:gd name="connsiteX26" fmla="*/ 7183983 w 9402684"/>
              <a:gd name="connsiteY26" fmla="*/ 3106455 h 4164902"/>
              <a:gd name="connsiteX27" fmla="*/ 6319687 w 9402684"/>
              <a:gd name="connsiteY27" fmla="*/ 3043824 h 4164902"/>
              <a:gd name="connsiteX28" fmla="*/ 5793594 w 9402684"/>
              <a:gd name="connsiteY28" fmla="*/ 2974931 h 4164902"/>
              <a:gd name="connsiteX29" fmla="*/ 4321786 w 9402684"/>
              <a:gd name="connsiteY29" fmla="*/ 2812093 h 4164902"/>
              <a:gd name="connsiteX30" fmla="*/ 4171474 w 9402684"/>
              <a:gd name="connsiteY30" fmla="*/ 2943616 h 4164902"/>
              <a:gd name="connsiteX31" fmla="*/ 4465835 w 9402684"/>
              <a:gd name="connsiteY31" fmla="*/ 2999983 h 4164902"/>
              <a:gd name="connsiteX32" fmla="*/ 3933479 w 9402684"/>
              <a:gd name="connsiteY32" fmla="*/ 2711885 h 4164902"/>
              <a:gd name="connsiteX0" fmla="*/ 0 w 9402684"/>
              <a:gd name="connsiteY0" fmla="*/ 4164902 h 4164902"/>
              <a:gd name="connsiteX1" fmla="*/ 2655824 w 9402684"/>
              <a:gd name="connsiteY1" fmla="*/ 3739019 h 4164902"/>
              <a:gd name="connsiteX2" fmla="*/ 4321786 w 9402684"/>
              <a:gd name="connsiteY2" fmla="*/ 2774515 h 4164902"/>
              <a:gd name="connsiteX3" fmla="*/ 4553517 w 9402684"/>
              <a:gd name="connsiteY3" fmla="*/ 2254685 h 4164902"/>
              <a:gd name="connsiteX4" fmla="*/ 4685041 w 9402684"/>
              <a:gd name="connsiteY4" fmla="*/ 1803748 h 4164902"/>
              <a:gd name="connsiteX5" fmla="*/ 5098400 w 9402684"/>
              <a:gd name="connsiteY5" fmla="*/ 1108553 h 4164902"/>
              <a:gd name="connsiteX6" fmla="*/ 5380235 w 9402684"/>
              <a:gd name="connsiteY6" fmla="*/ 770350 h 4164902"/>
              <a:gd name="connsiteX7" fmla="*/ 5530548 w 9402684"/>
              <a:gd name="connsiteY7" fmla="*/ 632564 h 4164902"/>
              <a:gd name="connsiteX8" fmla="*/ 5994011 w 9402684"/>
              <a:gd name="connsiteY8" fmla="*/ 319413 h 4164902"/>
              <a:gd name="connsiteX9" fmla="*/ 6513841 w 9402684"/>
              <a:gd name="connsiteY9" fmla="*/ 112734 h 4164902"/>
              <a:gd name="connsiteX10" fmla="*/ 6758098 w 9402684"/>
              <a:gd name="connsiteY10" fmla="*/ 43841 h 4164902"/>
              <a:gd name="connsiteX11" fmla="*/ 7221561 w 9402684"/>
              <a:gd name="connsiteY11" fmla="*/ 0 h 4164902"/>
              <a:gd name="connsiteX12" fmla="*/ 7829074 w 9402684"/>
              <a:gd name="connsiteY12" fmla="*/ 31315 h 4164902"/>
              <a:gd name="connsiteX13" fmla="*/ 8073331 w 9402684"/>
              <a:gd name="connsiteY13" fmla="*/ 93945 h 4164902"/>
              <a:gd name="connsiteX14" fmla="*/ 8280011 w 9402684"/>
              <a:gd name="connsiteY14" fmla="*/ 169101 h 4164902"/>
              <a:gd name="connsiteX15" fmla="*/ 8668317 w 9402684"/>
              <a:gd name="connsiteY15" fmla="*/ 375781 h 4164902"/>
              <a:gd name="connsiteX16" fmla="*/ 9112991 w 9402684"/>
              <a:gd name="connsiteY16" fmla="*/ 751561 h 4164902"/>
              <a:gd name="connsiteX17" fmla="*/ 9357249 w 9402684"/>
              <a:gd name="connsiteY17" fmla="*/ 1240076 h 4164902"/>
              <a:gd name="connsiteX18" fmla="*/ 9401090 w 9402684"/>
              <a:gd name="connsiteY18" fmla="*/ 1791222 h 4164902"/>
              <a:gd name="connsiteX19" fmla="*/ 9394827 w 9402684"/>
              <a:gd name="connsiteY19" fmla="*/ 2035479 h 4164902"/>
              <a:gd name="connsiteX20" fmla="*/ 9319671 w 9402684"/>
              <a:gd name="connsiteY20" fmla="*/ 2311052 h 4164902"/>
              <a:gd name="connsiteX21" fmla="*/ 9119254 w 9402684"/>
              <a:gd name="connsiteY21" fmla="*/ 2680570 h 4164902"/>
              <a:gd name="connsiteX22" fmla="*/ 8731095 w 9402684"/>
              <a:gd name="connsiteY22" fmla="*/ 2974295 h 4164902"/>
              <a:gd name="connsiteX23" fmla="*/ 8699632 w 9402684"/>
              <a:gd name="connsiteY23" fmla="*/ 2987457 h 4164902"/>
              <a:gd name="connsiteX24" fmla="*/ 8117172 w 9402684"/>
              <a:gd name="connsiteY24" fmla="*/ 3118981 h 4164902"/>
              <a:gd name="connsiteX25" fmla="*/ 7183983 w 9402684"/>
              <a:gd name="connsiteY25" fmla="*/ 3106455 h 4164902"/>
              <a:gd name="connsiteX26" fmla="*/ 6319687 w 9402684"/>
              <a:gd name="connsiteY26" fmla="*/ 3043824 h 4164902"/>
              <a:gd name="connsiteX27" fmla="*/ 5793594 w 9402684"/>
              <a:gd name="connsiteY27" fmla="*/ 2974931 h 4164902"/>
              <a:gd name="connsiteX28" fmla="*/ 4321786 w 9402684"/>
              <a:gd name="connsiteY28" fmla="*/ 2812093 h 4164902"/>
              <a:gd name="connsiteX29" fmla="*/ 4171474 w 9402684"/>
              <a:gd name="connsiteY29" fmla="*/ 2943616 h 4164902"/>
              <a:gd name="connsiteX30" fmla="*/ 4465835 w 9402684"/>
              <a:gd name="connsiteY30" fmla="*/ 2999983 h 4164902"/>
              <a:gd name="connsiteX31" fmla="*/ 3933479 w 9402684"/>
              <a:gd name="connsiteY31" fmla="*/ 2711885 h 4164902"/>
              <a:gd name="connsiteX0" fmla="*/ 0 w 9402684"/>
              <a:gd name="connsiteY0" fmla="*/ 4164902 h 4164902"/>
              <a:gd name="connsiteX1" fmla="*/ 2655824 w 9402684"/>
              <a:gd name="connsiteY1" fmla="*/ 3739019 h 4164902"/>
              <a:gd name="connsiteX2" fmla="*/ 4321786 w 9402684"/>
              <a:gd name="connsiteY2" fmla="*/ 2774515 h 4164902"/>
              <a:gd name="connsiteX3" fmla="*/ 4553517 w 9402684"/>
              <a:gd name="connsiteY3" fmla="*/ 2254685 h 4164902"/>
              <a:gd name="connsiteX4" fmla="*/ 4685041 w 9402684"/>
              <a:gd name="connsiteY4" fmla="*/ 1803748 h 4164902"/>
              <a:gd name="connsiteX5" fmla="*/ 5098400 w 9402684"/>
              <a:gd name="connsiteY5" fmla="*/ 1108553 h 4164902"/>
              <a:gd name="connsiteX6" fmla="*/ 5380235 w 9402684"/>
              <a:gd name="connsiteY6" fmla="*/ 770350 h 4164902"/>
              <a:gd name="connsiteX7" fmla="*/ 5530548 w 9402684"/>
              <a:gd name="connsiteY7" fmla="*/ 632564 h 4164902"/>
              <a:gd name="connsiteX8" fmla="*/ 5994011 w 9402684"/>
              <a:gd name="connsiteY8" fmla="*/ 319413 h 4164902"/>
              <a:gd name="connsiteX9" fmla="*/ 6513841 w 9402684"/>
              <a:gd name="connsiteY9" fmla="*/ 112734 h 4164902"/>
              <a:gd name="connsiteX10" fmla="*/ 6758098 w 9402684"/>
              <a:gd name="connsiteY10" fmla="*/ 43841 h 4164902"/>
              <a:gd name="connsiteX11" fmla="*/ 7221561 w 9402684"/>
              <a:gd name="connsiteY11" fmla="*/ 0 h 4164902"/>
              <a:gd name="connsiteX12" fmla="*/ 7829074 w 9402684"/>
              <a:gd name="connsiteY12" fmla="*/ 31315 h 4164902"/>
              <a:gd name="connsiteX13" fmla="*/ 8073331 w 9402684"/>
              <a:gd name="connsiteY13" fmla="*/ 93945 h 4164902"/>
              <a:gd name="connsiteX14" fmla="*/ 8280011 w 9402684"/>
              <a:gd name="connsiteY14" fmla="*/ 169101 h 4164902"/>
              <a:gd name="connsiteX15" fmla="*/ 8668317 w 9402684"/>
              <a:gd name="connsiteY15" fmla="*/ 375781 h 4164902"/>
              <a:gd name="connsiteX16" fmla="*/ 9112991 w 9402684"/>
              <a:gd name="connsiteY16" fmla="*/ 751561 h 4164902"/>
              <a:gd name="connsiteX17" fmla="*/ 9357249 w 9402684"/>
              <a:gd name="connsiteY17" fmla="*/ 1240076 h 4164902"/>
              <a:gd name="connsiteX18" fmla="*/ 9401090 w 9402684"/>
              <a:gd name="connsiteY18" fmla="*/ 1791222 h 4164902"/>
              <a:gd name="connsiteX19" fmla="*/ 9394827 w 9402684"/>
              <a:gd name="connsiteY19" fmla="*/ 2035479 h 4164902"/>
              <a:gd name="connsiteX20" fmla="*/ 9319671 w 9402684"/>
              <a:gd name="connsiteY20" fmla="*/ 2311052 h 4164902"/>
              <a:gd name="connsiteX21" fmla="*/ 9119254 w 9402684"/>
              <a:gd name="connsiteY21" fmla="*/ 2680570 h 4164902"/>
              <a:gd name="connsiteX22" fmla="*/ 8731095 w 9402684"/>
              <a:gd name="connsiteY22" fmla="*/ 2974295 h 4164902"/>
              <a:gd name="connsiteX23" fmla="*/ 8117172 w 9402684"/>
              <a:gd name="connsiteY23" fmla="*/ 3118981 h 4164902"/>
              <a:gd name="connsiteX24" fmla="*/ 7183983 w 9402684"/>
              <a:gd name="connsiteY24" fmla="*/ 3106455 h 4164902"/>
              <a:gd name="connsiteX25" fmla="*/ 6319687 w 9402684"/>
              <a:gd name="connsiteY25" fmla="*/ 3043824 h 4164902"/>
              <a:gd name="connsiteX26" fmla="*/ 5793594 w 9402684"/>
              <a:gd name="connsiteY26" fmla="*/ 2974931 h 4164902"/>
              <a:gd name="connsiteX27" fmla="*/ 4321786 w 9402684"/>
              <a:gd name="connsiteY27" fmla="*/ 2812093 h 4164902"/>
              <a:gd name="connsiteX28" fmla="*/ 4171474 w 9402684"/>
              <a:gd name="connsiteY28" fmla="*/ 2943616 h 4164902"/>
              <a:gd name="connsiteX29" fmla="*/ 4465835 w 9402684"/>
              <a:gd name="connsiteY29" fmla="*/ 2999983 h 4164902"/>
              <a:gd name="connsiteX30" fmla="*/ 3933479 w 9402684"/>
              <a:gd name="connsiteY30" fmla="*/ 2711885 h 4164902"/>
              <a:gd name="connsiteX0" fmla="*/ 0 w 9402684"/>
              <a:gd name="connsiteY0" fmla="*/ 4164902 h 4164902"/>
              <a:gd name="connsiteX1" fmla="*/ 2655824 w 9402684"/>
              <a:gd name="connsiteY1" fmla="*/ 3739019 h 4164902"/>
              <a:gd name="connsiteX2" fmla="*/ 4321786 w 9402684"/>
              <a:gd name="connsiteY2" fmla="*/ 2774515 h 4164902"/>
              <a:gd name="connsiteX3" fmla="*/ 4553517 w 9402684"/>
              <a:gd name="connsiteY3" fmla="*/ 2254685 h 4164902"/>
              <a:gd name="connsiteX4" fmla="*/ 4685041 w 9402684"/>
              <a:gd name="connsiteY4" fmla="*/ 1803748 h 4164902"/>
              <a:gd name="connsiteX5" fmla="*/ 5098400 w 9402684"/>
              <a:gd name="connsiteY5" fmla="*/ 1108553 h 4164902"/>
              <a:gd name="connsiteX6" fmla="*/ 5380235 w 9402684"/>
              <a:gd name="connsiteY6" fmla="*/ 770350 h 4164902"/>
              <a:gd name="connsiteX7" fmla="*/ 5530548 w 9402684"/>
              <a:gd name="connsiteY7" fmla="*/ 632564 h 4164902"/>
              <a:gd name="connsiteX8" fmla="*/ 5994011 w 9402684"/>
              <a:gd name="connsiteY8" fmla="*/ 319413 h 4164902"/>
              <a:gd name="connsiteX9" fmla="*/ 6513841 w 9402684"/>
              <a:gd name="connsiteY9" fmla="*/ 112734 h 4164902"/>
              <a:gd name="connsiteX10" fmla="*/ 6758098 w 9402684"/>
              <a:gd name="connsiteY10" fmla="*/ 43841 h 4164902"/>
              <a:gd name="connsiteX11" fmla="*/ 7221561 w 9402684"/>
              <a:gd name="connsiteY11" fmla="*/ 0 h 4164902"/>
              <a:gd name="connsiteX12" fmla="*/ 7829074 w 9402684"/>
              <a:gd name="connsiteY12" fmla="*/ 31315 h 4164902"/>
              <a:gd name="connsiteX13" fmla="*/ 8073331 w 9402684"/>
              <a:gd name="connsiteY13" fmla="*/ 93945 h 4164902"/>
              <a:gd name="connsiteX14" fmla="*/ 8280011 w 9402684"/>
              <a:gd name="connsiteY14" fmla="*/ 169101 h 4164902"/>
              <a:gd name="connsiteX15" fmla="*/ 8668317 w 9402684"/>
              <a:gd name="connsiteY15" fmla="*/ 375781 h 4164902"/>
              <a:gd name="connsiteX16" fmla="*/ 9112991 w 9402684"/>
              <a:gd name="connsiteY16" fmla="*/ 751561 h 4164902"/>
              <a:gd name="connsiteX17" fmla="*/ 9357249 w 9402684"/>
              <a:gd name="connsiteY17" fmla="*/ 1240076 h 4164902"/>
              <a:gd name="connsiteX18" fmla="*/ 9401090 w 9402684"/>
              <a:gd name="connsiteY18" fmla="*/ 1791222 h 4164902"/>
              <a:gd name="connsiteX19" fmla="*/ 9394827 w 9402684"/>
              <a:gd name="connsiteY19" fmla="*/ 2035479 h 4164902"/>
              <a:gd name="connsiteX20" fmla="*/ 9319671 w 9402684"/>
              <a:gd name="connsiteY20" fmla="*/ 2311052 h 4164902"/>
              <a:gd name="connsiteX21" fmla="*/ 9119254 w 9402684"/>
              <a:gd name="connsiteY21" fmla="*/ 2680570 h 4164902"/>
              <a:gd name="connsiteX22" fmla="*/ 8117172 w 9402684"/>
              <a:gd name="connsiteY22" fmla="*/ 3118981 h 4164902"/>
              <a:gd name="connsiteX23" fmla="*/ 7183983 w 9402684"/>
              <a:gd name="connsiteY23" fmla="*/ 3106455 h 4164902"/>
              <a:gd name="connsiteX24" fmla="*/ 6319687 w 9402684"/>
              <a:gd name="connsiteY24" fmla="*/ 3043824 h 4164902"/>
              <a:gd name="connsiteX25" fmla="*/ 5793594 w 9402684"/>
              <a:gd name="connsiteY25" fmla="*/ 2974931 h 4164902"/>
              <a:gd name="connsiteX26" fmla="*/ 4321786 w 9402684"/>
              <a:gd name="connsiteY26" fmla="*/ 2812093 h 4164902"/>
              <a:gd name="connsiteX27" fmla="*/ 4171474 w 9402684"/>
              <a:gd name="connsiteY27" fmla="*/ 2943616 h 4164902"/>
              <a:gd name="connsiteX28" fmla="*/ 4465835 w 9402684"/>
              <a:gd name="connsiteY28" fmla="*/ 2999983 h 4164902"/>
              <a:gd name="connsiteX29" fmla="*/ 3933479 w 9402684"/>
              <a:gd name="connsiteY29" fmla="*/ 2711885 h 4164902"/>
              <a:gd name="connsiteX0" fmla="*/ 0 w 9402684"/>
              <a:gd name="connsiteY0" fmla="*/ 4164902 h 4164902"/>
              <a:gd name="connsiteX1" fmla="*/ 2655824 w 9402684"/>
              <a:gd name="connsiteY1" fmla="*/ 3739019 h 4164902"/>
              <a:gd name="connsiteX2" fmla="*/ 4321786 w 9402684"/>
              <a:gd name="connsiteY2" fmla="*/ 2774515 h 4164902"/>
              <a:gd name="connsiteX3" fmla="*/ 4553517 w 9402684"/>
              <a:gd name="connsiteY3" fmla="*/ 2254685 h 4164902"/>
              <a:gd name="connsiteX4" fmla="*/ 4685041 w 9402684"/>
              <a:gd name="connsiteY4" fmla="*/ 1803748 h 4164902"/>
              <a:gd name="connsiteX5" fmla="*/ 5098400 w 9402684"/>
              <a:gd name="connsiteY5" fmla="*/ 1108553 h 4164902"/>
              <a:gd name="connsiteX6" fmla="*/ 5380235 w 9402684"/>
              <a:gd name="connsiteY6" fmla="*/ 770350 h 4164902"/>
              <a:gd name="connsiteX7" fmla="*/ 5530548 w 9402684"/>
              <a:gd name="connsiteY7" fmla="*/ 632564 h 4164902"/>
              <a:gd name="connsiteX8" fmla="*/ 5994011 w 9402684"/>
              <a:gd name="connsiteY8" fmla="*/ 319413 h 4164902"/>
              <a:gd name="connsiteX9" fmla="*/ 6513841 w 9402684"/>
              <a:gd name="connsiteY9" fmla="*/ 112734 h 4164902"/>
              <a:gd name="connsiteX10" fmla="*/ 6758098 w 9402684"/>
              <a:gd name="connsiteY10" fmla="*/ 43841 h 4164902"/>
              <a:gd name="connsiteX11" fmla="*/ 7221561 w 9402684"/>
              <a:gd name="connsiteY11" fmla="*/ 0 h 4164902"/>
              <a:gd name="connsiteX12" fmla="*/ 7829074 w 9402684"/>
              <a:gd name="connsiteY12" fmla="*/ 31315 h 4164902"/>
              <a:gd name="connsiteX13" fmla="*/ 8073331 w 9402684"/>
              <a:gd name="connsiteY13" fmla="*/ 93945 h 4164902"/>
              <a:gd name="connsiteX14" fmla="*/ 8280011 w 9402684"/>
              <a:gd name="connsiteY14" fmla="*/ 169101 h 4164902"/>
              <a:gd name="connsiteX15" fmla="*/ 8668317 w 9402684"/>
              <a:gd name="connsiteY15" fmla="*/ 375781 h 4164902"/>
              <a:gd name="connsiteX16" fmla="*/ 9112991 w 9402684"/>
              <a:gd name="connsiteY16" fmla="*/ 751561 h 4164902"/>
              <a:gd name="connsiteX17" fmla="*/ 9357249 w 9402684"/>
              <a:gd name="connsiteY17" fmla="*/ 1240076 h 4164902"/>
              <a:gd name="connsiteX18" fmla="*/ 9401090 w 9402684"/>
              <a:gd name="connsiteY18" fmla="*/ 1791222 h 4164902"/>
              <a:gd name="connsiteX19" fmla="*/ 9394827 w 9402684"/>
              <a:gd name="connsiteY19" fmla="*/ 2035479 h 4164902"/>
              <a:gd name="connsiteX20" fmla="*/ 9319671 w 9402684"/>
              <a:gd name="connsiteY20" fmla="*/ 2311052 h 4164902"/>
              <a:gd name="connsiteX21" fmla="*/ 9119254 w 9402684"/>
              <a:gd name="connsiteY21" fmla="*/ 2680570 h 4164902"/>
              <a:gd name="connsiteX22" fmla="*/ 7183983 w 9402684"/>
              <a:gd name="connsiteY22" fmla="*/ 3106455 h 4164902"/>
              <a:gd name="connsiteX23" fmla="*/ 6319687 w 9402684"/>
              <a:gd name="connsiteY23" fmla="*/ 3043824 h 4164902"/>
              <a:gd name="connsiteX24" fmla="*/ 5793594 w 9402684"/>
              <a:gd name="connsiteY24" fmla="*/ 2974931 h 4164902"/>
              <a:gd name="connsiteX25" fmla="*/ 4321786 w 9402684"/>
              <a:gd name="connsiteY25" fmla="*/ 2812093 h 4164902"/>
              <a:gd name="connsiteX26" fmla="*/ 4171474 w 9402684"/>
              <a:gd name="connsiteY26" fmla="*/ 2943616 h 4164902"/>
              <a:gd name="connsiteX27" fmla="*/ 4465835 w 9402684"/>
              <a:gd name="connsiteY27" fmla="*/ 2999983 h 4164902"/>
              <a:gd name="connsiteX28" fmla="*/ 3933479 w 9402684"/>
              <a:gd name="connsiteY28" fmla="*/ 2711885 h 4164902"/>
              <a:gd name="connsiteX0" fmla="*/ 0 w 9501499"/>
              <a:gd name="connsiteY0" fmla="*/ 4164902 h 4164902"/>
              <a:gd name="connsiteX1" fmla="*/ 2655824 w 9501499"/>
              <a:gd name="connsiteY1" fmla="*/ 3739019 h 4164902"/>
              <a:gd name="connsiteX2" fmla="*/ 4321786 w 9501499"/>
              <a:gd name="connsiteY2" fmla="*/ 2774515 h 4164902"/>
              <a:gd name="connsiteX3" fmla="*/ 4553517 w 9501499"/>
              <a:gd name="connsiteY3" fmla="*/ 2254685 h 4164902"/>
              <a:gd name="connsiteX4" fmla="*/ 4685041 w 9501499"/>
              <a:gd name="connsiteY4" fmla="*/ 1803748 h 4164902"/>
              <a:gd name="connsiteX5" fmla="*/ 5098400 w 9501499"/>
              <a:gd name="connsiteY5" fmla="*/ 1108553 h 4164902"/>
              <a:gd name="connsiteX6" fmla="*/ 5380235 w 9501499"/>
              <a:gd name="connsiteY6" fmla="*/ 770350 h 4164902"/>
              <a:gd name="connsiteX7" fmla="*/ 5530548 w 9501499"/>
              <a:gd name="connsiteY7" fmla="*/ 632564 h 4164902"/>
              <a:gd name="connsiteX8" fmla="*/ 5994011 w 9501499"/>
              <a:gd name="connsiteY8" fmla="*/ 319413 h 4164902"/>
              <a:gd name="connsiteX9" fmla="*/ 6513841 w 9501499"/>
              <a:gd name="connsiteY9" fmla="*/ 112734 h 4164902"/>
              <a:gd name="connsiteX10" fmla="*/ 6758098 w 9501499"/>
              <a:gd name="connsiteY10" fmla="*/ 43841 h 4164902"/>
              <a:gd name="connsiteX11" fmla="*/ 7221561 w 9501499"/>
              <a:gd name="connsiteY11" fmla="*/ 0 h 4164902"/>
              <a:gd name="connsiteX12" fmla="*/ 7829074 w 9501499"/>
              <a:gd name="connsiteY12" fmla="*/ 31315 h 4164902"/>
              <a:gd name="connsiteX13" fmla="*/ 8073331 w 9501499"/>
              <a:gd name="connsiteY13" fmla="*/ 93945 h 4164902"/>
              <a:gd name="connsiteX14" fmla="*/ 8280011 w 9501499"/>
              <a:gd name="connsiteY14" fmla="*/ 169101 h 4164902"/>
              <a:gd name="connsiteX15" fmla="*/ 8668317 w 9501499"/>
              <a:gd name="connsiteY15" fmla="*/ 375781 h 4164902"/>
              <a:gd name="connsiteX16" fmla="*/ 9112991 w 9501499"/>
              <a:gd name="connsiteY16" fmla="*/ 751561 h 4164902"/>
              <a:gd name="connsiteX17" fmla="*/ 9357249 w 9501499"/>
              <a:gd name="connsiteY17" fmla="*/ 1240076 h 4164902"/>
              <a:gd name="connsiteX18" fmla="*/ 9401090 w 9501499"/>
              <a:gd name="connsiteY18" fmla="*/ 1791222 h 4164902"/>
              <a:gd name="connsiteX19" fmla="*/ 9394827 w 9501499"/>
              <a:gd name="connsiteY19" fmla="*/ 2035479 h 4164902"/>
              <a:gd name="connsiteX20" fmla="*/ 9319671 w 9501499"/>
              <a:gd name="connsiteY20" fmla="*/ 2311052 h 4164902"/>
              <a:gd name="connsiteX21" fmla="*/ 7183983 w 9501499"/>
              <a:gd name="connsiteY21" fmla="*/ 3106455 h 4164902"/>
              <a:gd name="connsiteX22" fmla="*/ 6319687 w 9501499"/>
              <a:gd name="connsiteY22" fmla="*/ 3043824 h 4164902"/>
              <a:gd name="connsiteX23" fmla="*/ 5793594 w 9501499"/>
              <a:gd name="connsiteY23" fmla="*/ 2974931 h 4164902"/>
              <a:gd name="connsiteX24" fmla="*/ 4321786 w 9501499"/>
              <a:gd name="connsiteY24" fmla="*/ 2812093 h 4164902"/>
              <a:gd name="connsiteX25" fmla="*/ 4171474 w 9501499"/>
              <a:gd name="connsiteY25" fmla="*/ 2943616 h 4164902"/>
              <a:gd name="connsiteX26" fmla="*/ 4465835 w 9501499"/>
              <a:gd name="connsiteY26" fmla="*/ 2999983 h 4164902"/>
              <a:gd name="connsiteX27" fmla="*/ 3933479 w 9501499"/>
              <a:gd name="connsiteY27" fmla="*/ 2711885 h 4164902"/>
              <a:gd name="connsiteX0" fmla="*/ 0 w 9560696"/>
              <a:gd name="connsiteY0" fmla="*/ 4164902 h 4164902"/>
              <a:gd name="connsiteX1" fmla="*/ 2655824 w 9560696"/>
              <a:gd name="connsiteY1" fmla="*/ 3739019 h 4164902"/>
              <a:gd name="connsiteX2" fmla="*/ 4321786 w 9560696"/>
              <a:gd name="connsiteY2" fmla="*/ 2774515 h 4164902"/>
              <a:gd name="connsiteX3" fmla="*/ 4553517 w 9560696"/>
              <a:gd name="connsiteY3" fmla="*/ 2254685 h 4164902"/>
              <a:gd name="connsiteX4" fmla="*/ 4685041 w 9560696"/>
              <a:gd name="connsiteY4" fmla="*/ 1803748 h 4164902"/>
              <a:gd name="connsiteX5" fmla="*/ 5098400 w 9560696"/>
              <a:gd name="connsiteY5" fmla="*/ 1108553 h 4164902"/>
              <a:gd name="connsiteX6" fmla="*/ 5380235 w 9560696"/>
              <a:gd name="connsiteY6" fmla="*/ 770350 h 4164902"/>
              <a:gd name="connsiteX7" fmla="*/ 5530548 w 9560696"/>
              <a:gd name="connsiteY7" fmla="*/ 632564 h 4164902"/>
              <a:gd name="connsiteX8" fmla="*/ 5994011 w 9560696"/>
              <a:gd name="connsiteY8" fmla="*/ 319413 h 4164902"/>
              <a:gd name="connsiteX9" fmla="*/ 6513841 w 9560696"/>
              <a:gd name="connsiteY9" fmla="*/ 112734 h 4164902"/>
              <a:gd name="connsiteX10" fmla="*/ 6758098 w 9560696"/>
              <a:gd name="connsiteY10" fmla="*/ 43841 h 4164902"/>
              <a:gd name="connsiteX11" fmla="*/ 7221561 w 9560696"/>
              <a:gd name="connsiteY11" fmla="*/ 0 h 4164902"/>
              <a:gd name="connsiteX12" fmla="*/ 7829074 w 9560696"/>
              <a:gd name="connsiteY12" fmla="*/ 31315 h 4164902"/>
              <a:gd name="connsiteX13" fmla="*/ 8073331 w 9560696"/>
              <a:gd name="connsiteY13" fmla="*/ 93945 h 4164902"/>
              <a:gd name="connsiteX14" fmla="*/ 8280011 w 9560696"/>
              <a:gd name="connsiteY14" fmla="*/ 169101 h 4164902"/>
              <a:gd name="connsiteX15" fmla="*/ 8668317 w 9560696"/>
              <a:gd name="connsiteY15" fmla="*/ 375781 h 4164902"/>
              <a:gd name="connsiteX16" fmla="*/ 9112991 w 9560696"/>
              <a:gd name="connsiteY16" fmla="*/ 751561 h 4164902"/>
              <a:gd name="connsiteX17" fmla="*/ 9357249 w 9560696"/>
              <a:gd name="connsiteY17" fmla="*/ 1240076 h 4164902"/>
              <a:gd name="connsiteX18" fmla="*/ 9401090 w 9560696"/>
              <a:gd name="connsiteY18" fmla="*/ 1791222 h 4164902"/>
              <a:gd name="connsiteX19" fmla="*/ 9394827 w 9560696"/>
              <a:gd name="connsiteY19" fmla="*/ 2035479 h 4164902"/>
              <a:gd name="connsiteX20" fmla="*/ 7183983 w 9560696"/>
              <a:gd name="connsiteY20" fmla="*/ 3106455 h 4164902"/>
              <a:gd name="connsiteX21" fmla="*/ 6319687 w 9560696"/>
              <a:gd name="connsiteY21" fmla="*/ 3043824 h 4164902"/>
              <a:gd name="connsiteX22" fmla="*/ 5793594 w 9560696"/>
              <a:gd name="connsiteY22" fmla="*/ 2974931 h 4164902"/>
              <a:gd name="connsiteX23" fmla="*/ 4321786 w 9560696"/>
              <a:gd name="connsiteY23" fmla="*/ 2812093 h 4164902"/>
              <a:gd name="connsiteX24" fmla="*/ 4171474 w 9560696"/>
              <a:gd name="connsiteY24" fmla="*/ 2943616 h 4164902"/>
              <a:gd name="connsiteX25" fmla="*/ 4465835 w 9560696"/>
              <a:gd name="connsiteY25" fmla="*/ 2999983 h 4164902"/>
              <a:gd name="connsiteX26" fmla="*/ 3933479 w 9560696"/>
              <a:gd name="connsiteY26" fmla="*/ 2711885 h 4164902"/>
              <a:gd name="connsiteX0" fmla="*/ 0 w 9434827"/>
              <a:gd name="connsiteY0" fmla="*/ 4164902 h 4164902"/>
              <a:gd name="connsiteX1" fmla="*/ 2655824 w 9434827"/>
              <a:gd name="connsiteY1" fmla="*/ 3739019 h 4164902"/>
              <a:gd name="connsiteX2" fmla="*/ 4321786 w 9434827"/>
              <a:gd name="connsiteY2" fmla="*/ 2774515 h 4164902"/>
              <a:gd name="connsiteX3" fmla="*/ 4553517 w 9434827"/>
              <a:gd name="connsiteY3" fmla="*/ 2254685 h 4164902"/>
              <a:gd name="connsiteX4" fmla="*/ 4685041 w 9434827"/>
              <a:gd name="connsiteY4" fmla="*/ 1803748 h 4164902"/>
              <a:gd name="connsiteX5" fmla="*/ 5098400 w 9434827"/>
              <a:gd name="connsiteY5" fmla="*/ 1108553 h 4164902"/>
              <a:gd name="connsiteX6" fmla="*/ 5380235 w 9434827"/>
              <a:gd name="connsiteY6" fmla="*/ 770350 h 4164902"/>
              <a:gd name="connsiteX7" fmla="*/ 5530548 w 9434827"/>
              <a:gd name="connsiteY7" fmla="*/ 632564 h 4164902"/>
              <a:gd name="connsiteX8" fmla="*/ 5994011 w 9434827"/>
              <a:gd name="connsiteY8" fmla="*/ 319413 h 4164902"/>
              <a:gd name="connsiteX9" fmla="*/ 6513841 w 9434827"/>
              <a:gd name="connsiteY9" fmla="*/ 112734 h 4164902"/>
              <a:gd name="connsiteX10" fmla="*/ 6758098 w 9434827"/>
              <a:gd name="connsiteY10" fmla="*/ 43841 h 4164902"/>
              <a:gd name="connsiteX11" fmla="*/ 7221561 w 9434827"/>
              <a:gd name="connsiteY11" fmla="*/ 0 h 4164902"/>
              <a:gd name="connsiteX12" fmla="*/ 7829074 w 9434827"/>
              <a:gd name="connsiteY12" fmla="*/ 31315 h 4164902"/>
              <a:gd name="connsiteX13" fmla="*/ 8073331 w 9434827"/>
              <a:gd name="connsiteY13" fmla="*/ 93945 h 4164902"/>
              <a:gd name="connsiteX14" fmla="*/ 8280011 w 9434827"/>
              <a:gd name="connsiteY14" fmla="*/ 169101 h 4164902"/>
              <a:gd name="connsiteX15" fmla="*/ 8668317 w 9434827"/>
              <a:gd name="connsiteY15" fmla="*/ 375781 h 4164902"/>
              <a:gd name="connsiteX16" fmla="*/ 9112991 w 9434827"/>
              <a:gd name="connsiteY16" fmla="*/ 751561 h 4164902"/>
              <a:gd name="connsiteX17" fmla="*/ 9357249 w 9434827"/>
              <a:gd name="connsiteY17" fmla="*/ 1240076 h 4164902"/>
              <a:gd name="connsiteX18" fmla="*/ 9401090 w 9434827"/>
              <a:gd name="connsiteY18" fmla="*/ 1791222 h 4164902"/>
              <a:gd name="connsiteX19" fmla="*/ 8879025 w 9434827"/>
              <a:gd name="connsiteY19" fmla="*/ 2907829 h 4164902"/>
              <a:gd name="connsiteX20" fmla="*/ 7183983 w 9434827"/>
              <a:gd name="connsiteY20" fmla="*/ 3106455 h 4164902"/>
              <a:gd name="connsiteX21" fmla="*/ 6319687 w 9434827"/>
              <a:gd name="connsiteY21" fmla="*/ 3043824 h 4164902"/>
              <a:gd name="connsiteX22" fmla="*/ 5793594 w 9434827"/>
              <a:gd name="connsiteY22" fmla="*/ 2974931 h 4164902"/>
              <a:gd name="connsiteX23" fmla="*/ 4321786 w 9434827"/>
              <a:gd name="connsiteY23" fmla="*/ 2812093 h 4164902"/>
              <a:gd name="connsiteX24" fmla="*/ 4171474 w 9434827"/>
              <a:gd name="connsiteY24" fmla="*/ 2943616 h 4164902"/>
              <a:gd name="connsiteX25" fmla="*/ 4465835 w 9434827"/>
              <a:gd name="connsiteY25" fmla="*/ 2999983 h 4164902"/>
              <a:gd name="connsiteX26" fmla="*/ 3933479 w 9434827"/>
              <a:gd name="connsiteY26" fmla="*/ 2711885 h 4164902"/>
              <a:gd name="connsiteX0" fmla="*/ 0 w 9405946"/>
              <a:gd name="connsiteY0" fmla="*/ 4164902 h 4164902"/>
              <a:gd name="connsiteX1" fmla="*/ 2655824 w 9405946"/>
              <a:gd name="connsiteY1" fmla="*/ 3739019 h 4164902"/>
              <a:gd name="connsiteX2" fmla="*/ 4321786 w 9405946"/>
              <a:gd name="connsiteY2" fmla="*/ 2774515 h 4164902"/>
              <a:gd name="connsiteX3" fmla="*/ 4553517 w 9405946"/>
              <a:gd name="connsiteY3" fmla="*/ 2254685 h 4164902"/>
              <a:gd name="connsiteX4" fmla="*/ 4685041 w 9405946"/>
              <a:gd name="connsiteY4" fmla="*/ 1803748 h 4164902"/>
              <a:gd name="connsiteX5" fmla="*/ 5098400 w 9405946"/>
              <a:gd name="connsiteY5" fmla="*/ 1108553 h 4164902"/>
              <a:gd name="connsiteX6" fmla="*/ 5380235 w 9405946"/>
              <a:gd name="connsiteY6" fmla="*/ 770350 h 4164902"/>
              <a:gd name="connsiteX7" fmla="*/ 5530548 w 9405946"/>
              <a:gd name="connsiteY7" fmla="*/ 632564 h 4164902"/>
              <a:gd name="connsiteX8" fmla="*/ 5994011 w 9405946"/>
              <a:gd name="connsiteY8" fmla="*/ 319413 h 4164902"/>
              <a:gd name="connsiteX9" fmla="*/ 6513841 w 9405946"/>
              <a:gd name="connsiteY9" fmla="*/ 112734 h 4164902"/>
              <a:gd name="connsiteX10" fmla="*/ 6758098 w 9405946"/>
              <a:gd name="connsiteY10" fmla="*/ 43841 h 4164902"/>
              <a:gd name="connsiteX11" fmla="*/ 7221561 w 9405946"/>
              <a:gd name="connsiteY11" fmla="*/ 0 h 4164902"/>
              <a:gd name="connsiteX12" fmla="*/ 7829074 w 9405946"/>
              <a:gd name="connsiteY12" fmla="*/ 31315 h 4164902"/>
              <a:gd name="connsiteX13" fmla="*/ 8073331 w 9405946"/>
              <a:gd name="connsiteY13" fmla="*/ 93945 h 4164902"/>
              <a:gd name="connsiteX14" fmla="*/ 8280011 w 9405946"/>
              <a:gd name="connsiteY14" fmla="*/ 169101 h 4164902"/>
              <a:gd name="connsiteX15" fmla="*/ 8668317 w 9405946"/>
              <a:gd name="connsiteY15" fmla="*/ 375781 h 4164902"/>
              <a:gd name="connsiteX16" fmla="*/ 9112991 w 9405946"/>
              <a:gd name="connsiteY16" fmla="*/ 751561 h 4164902"/>
              <a:gd name="connsiteX17" fmla="*/ 9401090 w 9405946"/>
              <a:gd name="connsiteY17" fmla="*/ 1791222 h 4164902"/>
              <a:gd name="connsiteX18" fmla="*/ 8879025 w 9405946"/>
              <a:gd name="connsiteY18" fmla="*/ 2907829 h 4164902"/>
              <a:gd name="connsiteX19" fmla="*/ 7183983 w 9405946"/>
              <a:gd name="connsiteY19" fmla="*/ 3106455 h 4164902"/>
              <a:gd name="connsiteX20" fmla="*/ 6319687 w 9405946"/>
              <a:gd name="connsiteY20" fmla="*/ 3043824 h 4164902"/>
              <a:gd name="connsiteX21" fmla="*/ 5793594 w 9405946"/>
              <a:gd name="connsiteY21" fmla="*/ 2974931 h 4164902"/>
              <a:gd name="connsiteX22" fmla="*/ 4321786 w 9405946"/>
              <a:gd name="connsiteY22" fmla="*/ 2812093 h 4164902"/>
              <a:gd name="connsiteX23" fmla="*/ 4171474 w 9405946"/>
              <a:gd name="connsiteY23" fmla="*/ 2943616 h 4164902"/>
              <a:gd name="connsiteX24" fmla="*/ 4465835 w 9405946"/>
              <a:gd name="connsiteY24" fmla="*/ 2999983 h 4164902"/>
              <a:gd name="connsiteX25" fmla="*/ 3933479 w 9405946"/>
              <a:gd name="connsiteY25" fmla="*/ 2711885 h 4164902"/>
              <a:gd name="connsiteX0" fmla="*/ 0 w 9407634"/>
              <a:gd name="connsiteY0" fmla="*/ 4164902 h 4164902"/>
              <a:gd name="connsiteX1" fmla="*/ 2655824 w 9407634"/>
              <a:gd name="connsiteY1" fmla="*/ 3739019 h 4164902"/>
              <a:gd name="connsiteX2" fmla="*/ 4321786 w 9407634"/>
              <a:gd name="connsiteY2" fmla="*/ 2774515 h 4164902"/>
              <a:gd name="connsiteX3" fmla="*/ 4553517 w 9407634"/>
              <a:gd name="connsiteY3" fmla="*/ 2254685 h 4164902"/>
              <a:gd name="connsiteX4" fmla="*/ 4685041 w 9407634"/>
              <a:gd name="connsiteY4" fmla="*/ 1803748 h 4164902"/>
              <a:gd name="connsiteX5" fmla="*/ 5098400 w 9407634"/>
              <a:gd name="connsiteY5" fmla="*/ 1108553 h 4164902"/>
              <a:gd name="connsiteX6" fmla="*/ 5380235 w 9407634"/>
              <a:gd name="connsiteY6" fmla="*/ 770350 h 4164902"/>
              <a:gd name="connsiteX7" fmla="*/ 5530548 w 9407634"/>
              <a:gd name="connsiteY7" fmla="*/ 632564 h 4164902"/>
              <a:gd name="connsiteX8" fmla="*/ 5994011 w 9407634"/>
              <a:gd name="connsiteY8" fmla="*/ 319413 h 4164902"/>
              <a:gd name="connsiteX9" fmla="*/ 6513841 w 9407634"/>
              <a:gd name="connsiteY9" fmla="*/ 112734 h 4164902"/>
              <a:gd name="connsiteX10" fmla="*/ 6758098 w 9407634"/>
              <a:gd name="connsiteY10" fmla="*/ 43841 h 4164902"/>
              <a:gd name="connsiteX11" fmla="*/ 7221561 w 9407634"/>
              <a:gd name="connsiteY11" fmla="*/ 0 h 4164902"/>
              <a:gd name="connsiteX12" fmla="*/ 7829074 w 9407634"/>
              <a:gd name="connsiteY12" fmla="*/ 31315 h 4164902"/>
              <a:gd name="connsiteX13" fmla="*/ 8073331 w 9407634"/>
              <a:gd name="connsiteY13" fmla="*/ 93945 h 4164902"/>
              <a:gd name="connsiteX14" fmla="*/ 8280011 w 9407634"/>
              <a:gd name="connsiteY14" fmla="*/ 169101 h 4164902"/>
              <a:gd name="connsiteX15" fmla="*/ 9112991 w 9407634"/>
              <a:gd name="connsiteY15" fmla="*/ 751561 h 4164902"/>
              <a:gd name="connsiteX16" fmla="*/ 9401090 w 9407634"/>
              <a:gd name="connsiteY16" fmla="*/ 1791222 h 4164902"/>
              <a:gd name="connsiteX17" fmla="*/ 8879025 w 9407634"/>
              <a:gd name="connsiteY17" fmla="*/ 2907829 h 4164902"/>
              <a:gd name="connsiteX18" fmla="*/ 7183983 w 9407634"/>
              <a:gd name="connsiteY18" fmla="*/ 3106455 h 4164902"/>
              <a:gd name="connsiteX19" fmla="*/ 6319687 w 9407634"/>
              <a:gd name="connsiteY19" fmla="*/ 3043824 h 4164902"/>
              <a:gd name="connsiteX20" fmla="*/ 5793594 w 9407634"/>
              <a:gd name="connsiteY20" fmla="*/ 2974931 h 4164902"/>
              <a:gd name="connsiteX21" fmla="*/ 4321786 w 9407634"/>
              <a:gd name="connsiteY21" fmla="*/ 2812093 h 4164902"/>
              <a:gd name="connsiteX22" fmla="*/ 4171474 w 9407634"/>
              <a:gd name="connsiteY22" fmla="*/ 2943616 h 4164902"/>
              <a:gd name="connsiteX23" fmla="*/ 4465835 w 9407634"/>
              <a:gd name="connsiteY23" fmla="*/ 2999983 h 4164902"/>
              <a:gd name="connsiteX24" fmla="*/ 3933479 w 9407634"/>
              <a:gd name="connsiteY24" fmla="*/ 2711885 h 4164902"/>
              <a:gd name="connsiteX0" fmla="*/ 0 w 9409039"/>
              <a:gd name="connsiteY0" fmla="*/ 4164902 h 4164902"/>
              <a:gd name="connsiteX1" fmla="*/ 2655824 w 9409039"/>
              <a:gd name="connsiteY1" fmla="*/ 3739019 h 4164902"/>
              <a:gd name="connsiteX2" fmla="*/ 4321786 w 9409039"/>
              <a:gd name="connsiteY2" fmla="*/ 2774515 h 4164902"/>
              <a:gd name="connsiteX3" fmla="*/ 4553517 w 9409039"/>
              <a:gd name="connsiteY3" fmla="*/ 2254685 h 4164902"/>
              <a:gd name="connsiteX4" fmla="*/ 4685041 w 9409039"/>
              <a:gd name="connsiteY4" fmla="*/ 1803748 h 4164902"/>
              <a:gd name="connsiteX5" fmla="*/ 5098400 w 9409039"/>
              <a:gd name="connsiteY5" fmla="*/ 1108553 h 4164902"/>
              <a:gd name="connsiteX6" fmla="*/ 5380235 w 9409039"/>
              <a:gd name="connsiteY6" fmla="*/ 770350 h 4164902"/>
              <a:gd name="connsiteX7" fmla="*/ 5530548 w 9409039"/>
              <a:gd name="connsiteY7" fmla="*/ 632564 h 4164902"/>
              <a:gd name="connsiteX8" fmla="*/ 5994011 w 9409039"/>
              <a:gd name="connsiteY8" fmla="*/ 319413 h 4164902"/>
              <a:gd name="connsiteX9" fmla="*/ 6513841 w 9409039"/>
              <a:gd name="connsiteY9" fmla="*/ 112734 h 4164902"/>
              <a:gd name="connsiteX10" fmla="*/ 6758098 w 9409039"/>
              <a:gd name="connsiteY10" fmla="*/ 43841 h 4164902"/>
              <a:gd name="connsiteX11" fmla="*/ 7221561 w 9409039"/>
              <a:gd name="connsiteY11" fmla="*/ 0 h 4164902"/>
              <a:gd name="connsiteX12" fmla="*/ 7829074 w 9409039"/>
              <a:gd name="connsiteY12" fmla="*/ 31315 h 4164902"/>
              <a:gd name="connsiteX13" fmla="*/ 8073331 w 9409039"/>
              <a:gd name="connsiteY13" fmla="*/ 93945 h 4164902"/>
              <a:gd name="connsiteX14" fmla="*/ 9112991 w 9409039"/>
              <a:gd name="connsiteY14" fmla="*/ 751561 h 4164902"/>
              <a:gd name="connsiteX15" fmla="*/ 9401090 w 9409039"/>
              <a:gd name="connsiteY15" fmla="*/ 1791222 h 4164902"/>
              <a:gd name="connsiteX16" fmla="*/ 8879025 w 9409039"/>
              <a:gd name="connsiteY16" fmla="*/ 2907829 h 4164902"/>
              <a:gd name="connsiteX17" fmla="*/ 7183983 w 9409039"/>
              <a:gd name="connsiteY17" fmla="*/ 3106455 h 4164902"/>
              <a:gd name="connsiteX18" fmla="*/ 6319687 w 9409039"/>
              <a:gd name="connsiteY18" fmla="*/ 3043824 h 4164902"/>
              <a:gd name="connsiteX19" fmla="*/ 5793594 w 9409039"/>
              <a:gd name="connsiteY19" fmla="*/ 2974931 h 4164902"/>
              <a:gd name="connsiteX20" fmla="*/ 4321786 w 9409039"/>
              <a:gd name="connsiteY20" fmla="*/ 2812093 h 4164902"/>
              <a:gd name="connsiteX21" fmla="*/ 4171474 w 9409039"/>
              <a:gd name="connsiteY21" fmla="*/ 2943616 h 4164902"/>
              <a:gd name="connsiteX22" fmla="*/ 4465835 w 9409039"/>
              <a:gd name="connsiteY22" fmla="*/ 2999983 h 4164902"/>
              <a:gd name="connsiteX23" fmla="*/ 3933479 w 9409039"/>
              <a:gd name="connsiteY23" fmla="*/ 2711885 h 4164902"/>
              <a:gd name="connsiteX0" fmla="*/ 0 w 9409039"/>
              <a:gd name="connsiteY0" fmla="*/ 4164902 h 4164902"/>
              <a:gd name="connsiteX1" fmla="*/ 2655824 w 9409039"/>
              <a:gd name="connsiteY1" fmla="*/ 3739019 h 4164902"/>
              <a:gd name="connsiteX2" fmla="*/ 4321786 w 9409039"/>
              <a:gd name="connsiteY2" fmla="*/ 2774515 h 4164902"/>
              <a:gd name="connsiteX3" fmla="*/ 4553517 w 9409039"/>
              <a:gd name="connsiteY3" fmla="*/ 2254685 h 4164902"/>
              <a:gd name="connsiteX4" fmla="*/ 4685041 w 9409039"/>
              <a:gd name="connsiteY4" fmla="*/ 1803748 h 4164902"/>
              <a:gd name="connsiteX5" fmla="*/ 5098400 w 9409039"/>
              <a:gd name="connsiteY5" fmla="*/ 1108553 h 4164902"/>
              <a:gd name="connsiteX6" fmla="*/ 5380235 w 9409039"/>
              <a:gd name="connsiteY6" fmla="*/ 770350 h 4164902"/>
              <a:gd name="connsiteX7" fmla="*/ 5530548 w 9409039"/>
              <a:gd name="connsiteY7" fmla="*/ 632564 h 4164902"/>
              <a:gd name="connsiteX8" fmla="*/ 5994011 w 9409039"/>
              <a:gd name="connsiteY8" fmla="*/ 319413 h 4164902"/>
              <a:gd name="connsiteX9" fmla="*/ 6513841 w 9409039"/>
              <a:gd name="connsiteY9" fmla="*/ 112734 h 4164902"/>
              <a:gd name="connsiteX10" fmla="*/ 6758098 w 9409039"/>
              <a:gd name="connsiteY10" fmla="*/ 43841 h 4164902"/>
              <a:gd name="connsiteX11" fmla="*/ 7221561 w 9409039"/>
              <a:gd name="connsiteY11" fmla="*/ 0 h 4164902"/>
              <a:gd name="connsiteX12" fmla="*/ 7829074 w 9409039"/>
              <a:gd name="connsiteY12" fmla="*/ 31315 h 4164902"/>
              <a:gd name="connsiteX13" fmla="*/ 8018350 w 9409039"/>
              <a:gd name="connsiteY13" fmla="*/ 74773 h 4164902"/>
              <a:gd name="connsiteX14" fmla="*/ 8073331 w 9409039"/>
              <a:gd name="connsiteY14" fmla="*/ 93945 h 4164902"/>
              <a:gd name="connsiteX15" fmla="*/ 9112991 w 9409039"/>
              <a:gd name="connsiteY15" fmla="*/ 751561 h 4164902"/>
              <a:gd name="connsiteX16" fmla="*/ 9401090 w 9409039"/>
              <a:gd name="connsiteY16" fmla="*/ 1791222 h 4164902"/>
              <a:gd name="connsiteX17" fmla="*/ 8879025 w 9409039"/>
              <a:gd name="connsiteY17" fmla="*/ 2907829 h 4164902"/>
              <a:gd name="connsiteX18" fmla="*/ 7183983 w 9409039"/>
              <a:gd name="connsiteY18" fmla="*/ 3106455 h 4164902"/>
              <a:gd name="connsiteX19" fmla="*/ 6319687 w 9409039"/>
              <a:gd name="connsiteY19" fmla="*/ 3043824 h 4164902"/>
              <a:gd name="connsiteX20" fmla="*/ 5793594 w 9409039"/>
              <a:gd name="connsiteY20" fmla="*/ 2974931 h 4164902"/>
              <a:gd name="connsiteX21" fmla="*/ 4321786 w 9409039"/>
              <a:gd name="connsiteY21" fmla="*/ 2812093 h 4164902"/>
              <a:gd name="connsiteX22" fmla="*/ 4171474 w 9409039"/>
              <a:gd name="connsiteY22" fmla="*/ 2943616 h 4164902"/>
              <a:gd name="connsiteX23" fmla="*/ 4465835 w 9409039"/>
              <a:gd name="connsiteY23" fmla="*/ 2999983 h 4164902"/>
              <a:gd name="connsiteX24" fmla="*/ 3933479 w 9409039"/>
              <a:gd name="connsiteY24" fmla="*/ 2711885 h 4164902"/>
              <a:gd name="connsiteX0" fmla="*/ 0 w 9409039"/>
              <a:gd name="connsiteY0" fmla="*/ 4164902 h 4164902"/>
              <a:gd name="connsiteX1" fmla="*/ 2655824 w 9409039"/>
              <a:gd name="connsiteY1" fmla="*/ 3739019 h 4164902"/>
              <a:gd name="connsiteX2" fmla="*/ 4321786 w 9409039"/>
              <a:gd name="connsiteY2" fmla="*/ 2774515 h 4164902"/>
              <a:gd name="connsiteX3" fmla="*/ 4553517 w 9409039"/>
              <a:gd name="connsiteY3" fmla="*/ 2254685 h 4164902"/>
              <a:gd name="connsiteX4" fmla="*/ 4685041 w 9409039"/>
              <a:gd name="connsiteY4" fmla="*/ 1803748 h 4164902"/>
              <a:gd name="connsiteX5" fmla="*/ 5098400 w 9409039"/>
              <a:gd name="connsiteY5" fmla="*/ 1108553 h 4164902"/>
              <a:gd name="connsiteX6" fmla="*/ 5380235 w 9409039"/>
              <a:gd name="connsiteY6" fmla="*/ 770350 h 4164902"/>
              <a:gd name="connsiteX7" fmla="*/ 5530548 w 9409039"/>
              <a:gd name="connsiteY7" fmla="*/ 632564 h 4164902"/>
              <a:gd name="connsiteX8" fmla="*/ 5994011 w 9409039"/>
              <a:gd name="connsiteY8" fmla="*/ 319413 h 4164902"/>
              <a:gd name="connsiteX9" fmla="*/ 6513841 w 9409039"/>
              <a:gd name="connsiteY9" fmla="*/ 112734 h 4164902"/>
              <a:gd name="connsiteX10" fmla="*/ 6758098 w 9409039"/>
              <a:gd name="connsiteY10" fmla="*/ 43841 h 4164902"/>
              <a:gd name="connsiteX11" fmla="*/ 7221561 w 9409039"/>
              <a:gd name="connsiteY11" fmla="*/ 0 h 4164902"/>
              <a:gd name="connsiteX12" fmla="*/ 8018350 w 9409039"/>
              <a:gd name="connsiteY12" fmla="*/ 74773 h 4164902"/>
              <a:gd name="connsiteX13" fmla="*/ 8073331 w 9409039"/>
              <a:gd name="connsiteY13" fmla="*/ 93945 h 4164902"/>
              <a:gd name="connsiteX14" fmla="*/ 9112991 w 9409039"/>
              <a:gd name="connsiteY14" fmla="*/ 751561 h 4164902"/>
              <a:gd name="connsiteX15" fmla="*/ 9401090 w 9409039"/>
              <a:gd name="connsiteY15" fmla="*/ 1791222 h 4164902"/>
              <a:gd name="connsiteX16" fmla="*/ 8879025 w 9409039"/>
              <a:gd name="connsiteY16" fmla="*/ 2907829 h 4164902"/>
              <a:gd name="connsiteX17" fmla="*/ 7183983 w 9409039"/>
              <a:gd name="connsiteY17" fmla="*/ 3106455 h 4164902"/>
              <a:gd name="connsiteX18" fmla="*/ 6319687 w 9409039"/>
              <a:gd name="connsiteY18" fmla="*/ 3043824 h 4164902"/>
              <a:gd name="connsiteX19" fmla="*/ 5793594 w 9409039"/>
              <a:gd name="connsiteY19" fmla="*/ 2974931 h 4164902"/>
              <a:gd name="connsiteX20" fmla="*/ 4321786 w 9409039"/>
              <a:gd name="connsiteY20" fmla="*/ 2812093 h 4164902"/>
              <a:gd name="connsiteX21" fmla="*/ 4171474 w 9409039"/>
              <a:gd name="connsiteY21" fmla="*/ 2943616 h 4164902"/>
              <a:gd name="connsiteX22" fmla="*/ 4465835 w 9409039"/>
              <a:gd name="connsiteY22" fmla="*/ 2999983 h 4164902"/>
              <a:gd name="connsiteX23" fmla="*/ 3933479 w 9409039"/>
              <a:gd name="connsiteY23" fmla="*/ 2711885 h 4164902"/>
              <a:gd name="connsiteX0" fmla="*/ 0 w 9409502"/>
              <a:gd name="connsiteY0" fmla="*/ 4172857 h 4172857"/>
              <a:gd name="connsiteX1" fmla="*/ 2655824 w 9409502"/>
              <a:gd name="connsiteY1" fmla="*/ 3746974 h 4172857"/>
              <a:gd name="connsiteX2" fmla="*/ 4321786 w 9409502"/>
              <a:gd name="connsiteY2" fmla="*/ 2782470 h 4172857"/>
              <a:gd name="connsiteX3" fmla="*/ 4553517 w 9409502"/>
              <a:gd name="connsiteY3" fmla="*/ 2262640 h 4172857"/>
              <a:gd name="connsiteX4" fmla="*/ 4685041 w 9409502"/>
              <a:gd name="connsiteY4" fmla="*/ 1811703 h 4172857"/>
              <a:gd name="connsiteX5" fmla="*/ 5098400 w 9409502"/>
              <a:gd name="connsiteY5" fmla="*/ 1116508 h 4172857"/>
              <a:gd name="connsiteX6" fmla="*/ 5380235 w 9409502"/>
              <a:gd name="connsiteY6" fmla="*/ 778305 h 4172857"/>
              <a:gd name="connsiteX7" fmla="*/ 5530548 w 9409502"/>
              <a:gd name="connsiteY7" fmla="*/ 640519 h 4172857"/>
              <a:gd name="connsiteX8" fmla="*/ 5994011 w 9409502"/>
              <a:gd name="connsiteY8" fmla="*/ 327368 h 4172857"/>
              <a:gd name="connsiteX9" fmla="*/ 6513841 w 9409502"/>
              <a:gd name="connsiteY9" fmla="*/ 120689 h 4172857"/>
              <a:gd name="connsiteX10" fmla="*/ 6758098 w 9409502"/>
              <a:gd name="connsiteY10" fmla="*/ 51796 h 4172857"/>
              <a:gd name="connsiteX11" fmla="*/ 7221561 w 9409502"/>
              <a:gd name="connsiteY11" fmla="*/ 7955 h 4172857"/>
              <a:gd name="connsiteX12" fmla="*/ 8018350 w 9409502"/>
              <a:gd name="connsiteY12" fmla="*/ 82728 h 4172857"/>
              <a:gd name="connsiteX13" fmla="*/ 9112991 w 9409502"/>
              <a:gd name="connsiteY13" fmla="*/ 759516 h 4172857"/>
              <a:gd name="connsiteX14" fmla="*/ 9401090 w 9409502"/>
              <a:gd name="connsiteY14" fmla="*/ 1799177 h 4172857"/>
              <a:gd name="connsiteX15" fmla="*/ 8879025 w 9409502"/>
              <a:gd name="connsiteY15" fmla="*/ 2915784 h 4172857"/>
              <a:gd name="connsiteX16" fmla="*/ 7183983 w 9409502"/>
              <a:gd name="connsiteY16" fmla="*/ 3114410 h 4172857"/>
              <a:gd name="connsiteX17" fmla="*/ 6319687 w 9409502"/>
              <a:gd name="connsiteY17" fmla="*/ 3051779 h 4172857"/>
              <a:gd name="connsiteX18" fmla="*/ 5793594 w 9409502"/>
              <a:gd name="connsiteY18" fmla="*/ 2982886 h 4172857"/>
              <a:gd name="connsiteX19" fmla="*/ 4321786 w 9409502"/>
              <a:gd name="connsiteY19" fmla="*/ 2820048 h 4172857"/>
              <a:gd name="connsiteX20" fmla="*/ 4171474 w 9409502"/>
              <a:gd name="connsiteY20" fmla="*/ 2951571 h 4172857"/>
              <a:gd name="connsiteX21" fmla="*/ 4465835 w 9409502"/>
              <a:gd name="connsiteY21" fmla="*/ 3007938 h 4172857"/>
              <a:gd name="connsiteX22" fmla="*/ 3933479 w 9409502"/>
              <a:gd name="connsiteY22" fmla="*/ 2719840 h 4172857"/>
              <a:gd name="connsiteX0" fmla="*/ 0 w 9409105"/>
              <a:gd name="connsiteY0" fmla="*/ 4172858 h 4172858"/>
              <a:gd name="connsiteX1" fmla="*/ 2655824 w 9409105"/>
              <a:gd name="connsiteY1" fmla="*/ 3746975 h 4172858"/>
              <a:gd name="connsiteX2" fmla="*/ 4321786 w 9409105"/>
              <a:gd name="connsiteY2" fmla="*/ 2782471 h 4172858"/>
              <a:gd name="connsiteX3" fmla="*/ 4553517 w 9409105"/>
              <a:gd name="connsiteY3" fmla="*/ 2262641 h 4172858"/>
              <a:gd name="connsiteX4" fmla="*/ 4685041 w 9409105"/>
              <a:gd name="connsiteY4" fmla="*/ 1811704 h 4172858"/>
              <a:gd name="connsiteX5" fmla="*/ 5098400 w 9409105"/>
              <a:gd name="connsiteY5" fmla="*/ 1116509 h 4172858"/>
              <a:gd name="connsiteX6" fmla="*/ 5380235 w 9409105"/>
              <a:gd name="connsiteY6" fmla="*/ 778306 h 4172858"/>
              <a:gd name="connsiteX7" fmla="*/ 5530548 w 9409105"/>
              <a:gd name="connsiteY7" fmla="*/ 640520 h 4172858"/>
              <a:gd name="connsiteX8" fmla="*/ 5994011 w 9409105"/>
              <a:gd name="connsiteY8" fmla="*/ 327369 h 4172858"/>
              <a:gd name="connsiteX9" fmla="*/ 6513841 w 9409105"/>
              <a:gd name="connsiteY9" fmla="*/ 120690 h 4172858"/>
              <a:gd name="connsiteX10" fmla="*/ 6758098 w 9409105"/>
              <a:gd name="connsiteY10" fmla="*/ 51797 h 4172858"/>
              <a:gd name="connsiteX11" fmla="*/ 7221561 w 9409105"/>
              <a:gd name="connsiteY11" fmla="*/ 7956 h 4172858"/>
              <a:gd name="connsiteX12" fmla="*/ 8018350 w 9409105"/>
              <a:gd name="connsiteY12" fmla="*/ 82729 h 4172858"/>
              <a:gd name="connsiteX13" fmla="*/ 8065240 w 9409105"/>
              <a:gd name="connsiteY13" fmla="*/ 99347 h 4172858"/>
              <a:gd name="connsiteX14" fmla="*/ 9112991 w 9409105"/>
              <a:gd name="connsiteY14" fmla="*/ 759517 h 4172858"/>
              <a:gd name="connsiteX15" fmla="*/ 9401090 w 9409105"/>
              <a:gd name="connsiteY15" fmla="*/ 1799178 h 4172858"/>
              <a:gd name="connsiteX16" fmla="*/ 8879025 w 9409105"/>
              <a:gd name="connsiteY16" fmla="*/ 2915785 h 4172858"/>
              <a:gd name="connsiteX17" fmla="*/ 7183983 w 9409105"/>
              <a:gd name="connsiteY17" fmla="*/ 3114411 h 4172858"/>
              <a:gd name="connsiteX18" fmla="*/ 6319687 w 9409105"/>
              <a:gd name="connsiteY18" fmla="*/ 3051780 h 4172858"/>
              <a:gd name="connsiteX19" fmla="*/ 5793594 w 9409105"/>
              <a:gd name="connsiteY19" fmla="*/ 2982887 h 4172858"/>
              <a:gd name="connsiteX20" fmla="*/ 4321786 w 9409105"/>
              <a:gd name="connsiteY20" fmla="*/ 2820049 h 4172858"/>
              <a:gd name="connsiteX21" fmla="*/ 4171474 w 9409105"/>
              <a:gd name="connsiteY21" fmla="*/ 2951572 h 4172858"/>
              <a:gd name="connsiteX22" fmla="*/ 4465835 w 9409105"/>
              <a:gd name="connsiteY22" fmla="*/ 3007939 h 4172858"/>
              <a:gd name="connsiteX23" fmla="*/ 3933479 w 9409105"/>
              <a:gd name="connsiteY23" fmla="*/ 2719841 h 4172858"/>
              <a:gd name="connsiteX0" fmla="*/ 0 w 9409502"/>
              <a:gd name="connsiteY0" fmla="*/ 4172858 h 4172858"/>
              <a:gd name="connsiteX1" fmla="*/ 2655824 w 9409502"/>
              <a:gd name="connsiteY1" fmla="*/ 3746975 h 4172858"/>
              <a:gd name="connsiteX2" fmla="*/ 4321786 w 9409502"/>
              <a:gd name="connsiteY2" fmla="*/ 2782471 h 4172858"/>
              <a:gd name="connsiteX3" fmla="*/ 4553517 w 9409502"/>
              <a:gd name="connsiteY3" fmla="*/ 2262641 h 4172858"/>
              <a:gd name="connsiteX4" fmla="*/ 4685041 w 9409502"/>
              <a:gd name="connsiteY4" fmla="*/ 1811704 h 4172858"/>
              <a:gd name="connsiteX5" fmla="*/ 5098400 w 9409502"/>
              <a:gd name="connsiteY5" fmla="*/ 1116509 h 4172858"/>
              <a:gd name="connsiteX6" fmla="*/ 5380235 w 9409502"/>
              <a:gd name="connsiteY6" fmla="*/ 778306 h 4172858"/>
              <a:gd name="connsiteX7" fmla="*/ 5530548 w 9409502"/>
              <a:gd name="connsiteY7" fmla="*/ 640520 h 4172858"/>
              <a:gd name="connsiteX8" fmla="*/ 5994011 w 9409502"/>
              <a:gd name="connsiteY8" fmla="*/ 327369 h 4172858"/>
              <a:gd name="connsiteX9" fmla="*/ 6513841 w 9409502"/>
              <a:gd name="connsiteY9" fmla="*/ 120690 h 4172858"/>
              <a:gd name="connsiteX10" fmla="*/ 6758098 w 9409502"/>
              <a:gd name="connsiteY10" fmla="*/ 51797 h 4172858"/>
              <a:gd name="connsiteX11" fmla="*/ 7221561 w 9409502"/>
              <a:gd name="connsiteY11" fmla="*/ 7956 h 4172858"/>
              <a:gd name="connsiteX12" fmla="*/ 8018350 w 9409502"/>
              <a:gd name="connsiteY12" fmla="*/ 82729 h 4172858"/>
              <a:gd name="connsiteX13" fmla="*/ 9112991 w 9409502"/>
              <a:gd name="connsiteY13" fmla="*/ 759517 h 4172858"/>
              <a:gd name="connsiteX14" fmla="*/ 9401090 w 9409502"/>
              <a:gd name="connsiteY14" fmla="*/ 1799178 h 4172858"/>
              <a:gd name="connsiteX15" fmla="*/ 8879025 w 9409502"/>
              <a:gd name="connsiteY15" fmla="*/ 2915785 h 4172858"/>
              <a:gd name="connsiteX16" fmla="*/ 7183983 w 9409502"/>
              <a:gd name="connsiteY16" fmla="*/ 3114411 h 4172858"/>
              <a:gd name="connsiteX17" fmla="*/ 6319687 w 9409502"/>
              <a:gd name="connsiteY17" fmla="*/ 3051780 h 4172858"/>
              <a:gd name="connsiteX18" fmla="*/ 5793594 w 9409502"/>
              <a:gd name="connsiteY18" fmla="*/ 2982887 h 4172858"/>
              <a:gd name="connsiteX19" fmla="*/ 4321786 w 9409502"/>
              <a:gd name="connsiteY19" fmla="*/ 2820049 h 4172858"/>
              <a:gd name="connsiteX20" fmla="*/ 4171474 w 9409502"/>
              <a:gd name="connsiteY20" fmla="*/ 2951572 h 4172858"/>
              <a:gd name="connsiteX21" fmla="*/ 4465835 w 9409502"/>
              <a:gd name="connsiteY21" fmla="*/ 3007939 h 4172858"/>
              <a:gd name="connsiteX22" fmla="*/ 3933479 w 9409502"/>
              <a:gd name="connsiteY22" fmla="*/ 2719841 h 4172858"/>
              <a:gd name="connsiteX0" fmla="*/ 0 w 9424727"/>
              <a:gd name="connsiteY0" fmla="*/ 4164903 h 4164903"/>
              <a:gd name="connsiteX1" fmla="*/ 2655824 w 9424727"/>
              <a:gd name="connsiteY1" fmla="*/ 3739020 h 4164903"/>
              <a:gd name="connsiteX2" fmla="*/ 4321786 w 9424727"/>
              <a:gd name="connsiteY2" fmla="*/ 2774516 h 4164903"/>
              <a:gd name="connsiteX3" fmla="*/ 4553517 w 9424727"/>
              <a:gd name="connsiteY3" fmla="*/ 2254686 h 4164903"/>
              <a:gd name="connsiteX4" fmla="*/ 4685041 w 9424727"/>
              <a:gd name="connsiteY4" fmla="*/ 1803749 h 4164903"/>
              <a:gd name="connsiteX5" fmla="*/ 5098400 w 9424727"/>
              <a:gd name="connsiteY5" fmla="*/ 1108554 h 4164903"/>
              <a:gd name="connsiteX6" fmla="*/ 5380235 w 9424727"/>
              <a:gd name="connsiteY6" fmla="*/ 770351 h 4164903"/>
              <a:gd name="connsiteX7" fmla="*/ 5530548 w 9424727"/>
              <a:gd name="connsiteY7" fmla="*/ 632565 h 4164903"/>
              <a:gd name="connsiteX8" fmla="*/ 5994011 w 9424727"/>
              <a:gd name="connsiteY8" fmla="*/ 319414 h 4164903"/>
              <a:gd name="connsiteX9" fmla="*/ 6513841 w 9424727"/>
              <a:gd name="connsiteY9" fmla="*/ 112735 h 4164903"/>
              <a:gd name="connsiteX10" fmla="*/ 6758098 w 9424727"/>
              <a:gd name="connsiteY10" fmla="*/ 43842 h 4164903"/>
              <a:gd name="connsiteX11" fmla="*/ 7221561 w 9424727"/>
              <a:gd name="connsiteY11" fmla="*/ 1 h 4164903"/>
              <a:gd name="connsiteX12" fmla="*/ 9112991 w 9424727"/>
              <a:gd name="connsiteY12" fmla="*/ 751562 h 4164903"/>
              <a:gd name="connsiteX13" fmla="*/ 9401090 w 9424727"/>
              <a:gd name="connsiteY13" fmla="*/ 1791223 h 4164903"/>
              <a:gd name="connsiteX14" fmla="*/ 8879025 w 9424727"/>
              <a:gd name="connsiteY14" fmla="*/ 2907830 h 4164903"/>
              <a:gd name="connsiteX15" fmla="*/ 7183983 w 9424727"/>
              <a:gd name="connsiteY15" fmla="*/ 3106456 h 4164903"/>
              <a:gd name="connsiteX16" fmla="*/ 6319687 w 9424727"/>
              <a:gd name="connsiteY16" fmla="*/ 3043825 h 4164903"/>
              <a:gd name="connsiteX17" fmla="*/ 5793594 w 9424727"/>
              <a:gd name="connsiteY17" fmla="*/ 2974932 h 4164903"/>
              <a:gd name="connsiteX18" fmla="*/ 4321786 w 9424727"/>
              <a:gd name="connsiteY18" fmla="*/ 2812094 h 4164903"/>
              <a:gd name="connsiteX19" fmla="*/ 4171474 w 9424727"/>
              <a:gd name="connsiteY19" fmla="*/ 2943617 h 4164903"/>
              <a:gd name="connsiteX20" fmla="*/ 4465835 w 9424727"/>
              <a:gd name="connsiteY20" fmla="*/ 2999984 h 4164903"/>
              <a:gd name="connsiteX21" fmla="*/ 3933479 w 9424727"/>
              <a:gd name="connsiteY21" fmla="*/ 2711886 h 4164903"/>
              <a:gd name="connsiteX0" fmla="*/ 0 w 9424727"/>
              <a:gd name="connsiteY0" fmla="*/ 4199826 h 4199826"/>
              <a:gd name="connsiteX1" fmla="*/ 2655824 w 9424727"/>
              <a:gd name="connsiteY1" fmla="*/ 3773943 h 4199826"/>
              <a:gd name="connsiteX2" fmla="*/ 4321786 w 9424727"/>
              <a:gd name="connsiteY2" fmla="*/ 2809439 h 4199826"/>
              <a:gd name="connsiteX3" fmla="*/ 4553517 w 9424727"/>
              <a:gd name="connsiteY3" fmla="*/ 2289609 h 4199826"/>
              <a:gd name="connsiteX4" fmla="*/ 4685041 w 9424727"/>
              <a:gd name="connsiteY4" fmla="*/ 1838672 h 4199826"/>
              <a:gd name="connsiteX5" fmla="*/ 5098400 w 9424727"/>
              <a:gd name="connsiteY5" fmla="*/ 1143477 h 4199826"/>
              <a:gd name="connsiteX6" fmla="*/ 5380235 w 9424727"/>
              <a:gd name="connsiteY6" fmla="*/ 805274 h 4199826"/>
              <a:gd name="connsiteX7" fmla="*/ 5530548 w 9424727"/>
              <a:gd name="connsiteY7" fmla="*/ 667488 h 4199826"/>
              <a:gd name="connsiteX8" fmla="*/ 5994011 w 9424727"/>
              <a:gd name="connsiteY8" fmla="*/ 354337 h 4199826"/>
              <a:gd name="connsiteX9" fmla="*/ 6513841 w 9424727"/>
              <a:gd name="connsiteY9" fmla="*/ 147658 h 4199826"/>
              <a:gd name="connsiteX10" fmla="*/ 7221561 w 9424727"/>
              <a:gd name="connsiteY10" fmla="*/ 34924 h 4199826"/>
              <a:gd name="connsiteX11" fmla="*/ 9112991 w 9424727"/>
              <a:gd name="connsiteY11" fmla="*/ 786485 h 4199826"/>
              <a:gd name="connsiteX12" fmla="*/ 9401090 w 9424727"/>
              <a:gd name="connsiteY12" fmla="*/ 1826146 h 4199826"/>
              <a:gd name="connsiteX13" fmla="*/ 8879025 w 9424727"/>
              <a:gd name="connsiteY13" fmla="*/ 2942753 h 4199826"/>
              <a:gd name="connsiteX14" fmla="*/ 7183983 w 9424727"/>
              <a:gd name="connsiteY14" fmla="*/ 3141379 h 4199826"/>
              <a:gd name="connsiteX15" fmla="*/ 6319687 w 9424727"/>
              <a:gd name="connsiteY15" fmla="*/ 3078748 h 4199826"/>
              <a:gd name="connsiteX16" fmla="*/ 5793594 w 9424727"/>
              <a:gd name="connsiteY16" fmla="*/ 3009855 h 4199826"/>
              <a:gd name="connsiteX17" fmla="*/ 4321786 w 9424727"/>
              <a:gd name="connsiteY17" fmla="*/ 2847017 h 4199826"/>
              <a:gd name="connsiteX18" fmla="*/ 4171474 w 9424727"/>
              <a:gd name="connsiteY18" fmla="*/ 2978540 h 4199826"/>
              <a:gd name="connsiteX19" fmla="*/ 4465835 w 9424727"/>
              <a:gd name="connsiteY19" fmla="*/ 3034907 h 4199826"/>
              <a:gd name="connsiteX20" fmla="*/ 3933479 w 9424727"/>
              <a:gd name="connsiteY20" fmla="*/ 2746809 h 4199826"/>
              <a:gd name="connsiteX0" fmla="*/ 0 w 9455586"/>
              <a:gd name="connsiteY0" fmla="*/ 4067256 h 4067256"/>
              <a:gd name="connsiteX1" fmla="*/ 2655824 w 9455586"/>
              <a:gd name="connsiteY1" fmla="*/ 3641373 h 4067256"/>
              <a:gd name="connsiteX2" fmla="*/ 4321786 w 9455586"/>
              <a:gd name="connsiteY2" fmla="*/ 2676869 h 4067256"/>
              <a:gd name="connsiteX3" fmla="*/ 4553517 w 9455586"/>
              <a:gd name="connsiteY3" fmla="*/ 2157039 h 4067256"/>
              <a:gd name="connsiteX4" fmla="*/ 4685041 w 9455586"/>
              <a:gd name="connsiteY4" fmla="*/ 1706102 h 4067256"/>
              <a:gd name="connsiteX5" fmla="*/ 5098400 w 9455586"/>
              <a:gd name="connsiteY5" fmla="*/ 1010907 h 4067256"/>
              <a:gd name="connsiteX6" fmla="*/ 5380235 w 9455586"/>
              <a:gd name="connsiteY6" fmla="*/ 672704 h 4067256"/>
              <a:gd name="connsiteX7" fmla="*/ 5530548 w 9455586"/>
              <a:gd name="connsiteY7" fmla="*/ 534918 h 4067256"/>
              <a:gd name="connsiteX8" fmla="*/ 5994011 w 9455586"/>
              <a:gd name="connsiteY8" fmla="*/ 221767 h 4067256"/>
              <a:gd name="connsiteX9" fmla="*/ 6513841 w 9455586"/>
              <a:gd name="connsiteY9" fmla="*/ 15088 h 4067256"/>
              <a:gd name="connsiteX10" fmla="*/ 9112991 w 9455586"/>
              <a:gd name="connsiteY10" fmla="*/ 653915 h 4067256"/>
              <a:gd name="connsiteX11" fmla="*/ 9401090 w 9455586"/>
              <a:gd name="connsiteY11" fmla="*/ 1693576 h 4067256"/>
              <a:gd name="connsiteX12" fmla="*/ 8879025 w 9455586"/>
              <a:gd name="connsiteY12" fmla="*/ 2810183 h 4067256"/>
              <a:gd name="connsiteX13" fmla="*/ 7183983 w 9455586"/>
              <a:gd name="connsiteY13" fmla="*/ 3008809 h 4067256"/>
              <a:gd name="connsiteX14" fmla="*/ 6319687 w 9455586"/>
              <a:gd name="connsiteY14" fmla="*/ 2946178 h 4067256"/>
              <a:gd name="connsiteX15" fmla="*/ 5793594 w 9455586"/>
              <a:gd name="connsiteY15" fmla="*/ 2877285 h 4067256"/>
              <a:gd name="connsiteX16" fmla="*/ 4321786 w 9455586"/>
              <a:gd name="connsiteY16" fmla="*/ 2714447 h 4067256"/>
              <a:gd name="connsiteX17" fmla="*/ 4171474 w 9455586"/>
              <a:gd name="connsiteY17" fmla="*/ 2845970 h 4067256"/>
              <a:gd name="connsiteX18" fmla="*/ 4465835 w 9455586"/>
              <a:gd name="connsiteY18" fmla="*/ 2902337 h 4067256"/>
              <a:gd name="connsiteX19" fmla="*/ 3933479 w 9455586"/>
              <a:gd name="connsiteY19" fmla="*/ 2614239 h 4067256"/>
              <a:gd name="connsiteX0" fmla="*/ 0 w 9537828"/>
              <a:gd name="connsiteY0" fmla="*/ 4133826 h 4133826"/>
              <a:gd name="connsiteX1" fmla="*/ 2655824 w 9537828"/>
              <a:gd name="connsiteY1" fmla="*/ 3707943 h 4133826"/>
              <a:gd name="connsiteX2" fmla="*/ 4321786 w 9537828"/>
              <a:gd name="connsiteY2" fmla="*/ 2743439 h 4133826"/>
              <a:gd name="connsiteX3" fmla="*/ 4553517 w 9537828"/>
              <a:gd name="connsiteY3" fmla="*/ 2223609 h 4133826"/>
              <a:gd name="connsiteX4" fmla="*/ 4685041 w 9537828"/>
              <a:gd name="connsiteY4" fmla="*/ 1772672 h 4133826"/>
              <a:gd name="connsiteX5" fmla="*/ 5098400 w 9537828"/>
              <a:gd name="connsiteY5" fmla="*/ 1077477 h 4133826"/>
              <a:gd name="connsiteX6" fmla="*/ 5380235 w 9537828"/>
              <a:gd name="connsiteY6" fmla="*/ 739274 h 4133826"/>
              <a:gd name="connsiteX7" fmla="*/ 5530548 w 9537828"/>
              <a:gd name="connsiteY7" fmla="*/ 601488 h 4133826"/>
              <a:gd name="connsiteX8" fmla="*/ 5994011 w 9537828"/>
              <a:gd name="connsiteY8" fmla="*/ 288337 h 4133826"/>
              <a:gd name="connsiteX9" fmla="*/ 6513841 w 9537828"/>
              <a:gd name="connsiteY9" fmla="*/ 81658 h 4133826"/>
              <a:gd name="connsiteX10" fmla="*/ 9401090 w 9537828"/>
              <a:gd name="connsiteY10" fmla="*/ 1760146 h 4133826"/>
              <a:gd name="connsiteX11" fmla="*/ 8879025 w 9537828"/>
              <a:gd name="connsiteY11" fmla="*/ 2876753 h 4133826"/>
              <a:gd name="connsiteX12" fmla="*/ 7183983 w 9537828"/>
              <a:gd name="connsiteY12" fmla="*/ 3075379 h 4133826"/>
              <a:gd name="connsiteX13" fmla="*/ 6319687 w 9537828"/>
              <a:gd name="connsiteY13" fmla="*/ 3012748 h 4133826"/>
              <a:gd name="connsiteX14" fmla="*/ 5793594 w 9537828"/>
              <a:gd name="connsiteY14" fmla="*/ 2943855 h 4133826"/>
              <a:gd name="connsiteX15" fmla="*/ 4321786 w 9537828"/>
              <a:gd name="connsiteY15" fmla="*/ 2781017 h 4133826"/>
              <a:gd name="connsiteX16" fmla="*/ 4171474 w 9537828"/>
              <a:gd name="connsiteY16" fmla="*/ 2912540 h 4133826"/>
              <a:gd name="connsiteX17" fmla="*/ 4465835 w 9537828"/>
              <a:gd name="connsiteY17" fmla="*/ 2968907 h 4133826"/>
              <a:gd name="connsiteX18" fmla="*/ 3933479 w 9537828"/>
              <a:gd name="connsiteY18" fmla="*/ 2680809 h 4133826"/>
              <a:gd name="connsiteX0" fmla="*/ 0 w 9574428"/>
              <a:gd name="connsiteY0" fmla="*/ 3895190 h 3895190"/>
              <a:gd name="connsiteX1" fmla="*/ 2655824 w 9574428"/>
              <a:gd name="connsiteY1" fmla="*/ 3469307 h 3895190"/>
              <a:gd name="connsiteX2" fmla="*/ 4321786 w 9574428"/>
              <a:gd name="connsiteY2" fmla="*/ 2504803 h 3895190"/>
              <a:gd name="connsiteX3" fmla="*/ 4553517 w 9574428"/>
              <a:gd name="connsiteY3" fmla="*/ 1984973 h 3895190"/>
              <a:gd name="connsiteX4" fmla="*/ 4685041 w 9574428"/>
              <a:gd name="connsiteY4" fmla="*/ 1534036 h 3895190"/>
              <a:gd name="connsiteX5" fmla="*/ 5098400 w 9574428"/>
              <a:gd name="connsiteY5" fmla="*/ 838841 h 3895190"/>
              <a:gd name="connsiteX6" fmla="*/ 5380235 w 9574428"/>
              <a:gd name="connsiteY6" fmla="*/ 500638 h 3895190"/>
              <a:gd name="connsiteX7" fmla="*/ 5530548 w 9574428"/>
              <a:gd name="connsiteY7" fmla="*/ 362852 h 3895190"/>
              <a:gd name="connsiteX8" fmla="*/ 5994011 w 9574428"/>
              <a:gd name="connsiteY8" fmla="*/ 49701 h 3895190"/>
              <a:gd name="connsiteX9" fmla="*/ 9401090 w 9574428"/>
              <a:gd name="connsiteY9" fmla="*/ 1521510 h 3895190"/>
              <a:gd name="connsiteX10" fmla="*/ 8879025 w 9574428"/>
              <a:gd name="connsiteY10" fmla="*/ 2638117 h 3895190"/>
              <a:gd name="connsiteX11" fmla="*/ 7183983 w 9574428"/>
              <a:gd name="connsiteY11" fmla="*/ 2836743 h 3895190"/>
              <a:gd name="connsiteX12" fmla="*/ 6319687 w 9574428"/>
              <a:gd name="connsiteY12" fmla="*/ 2774112 h 3895190"/>
              <a:gd name="connsiteX13" fmla="*/ 5793594 w 9574428"/>
              <a:gd name="connsiteY13" fmla="*/ 2705219 h 3895190"/>
              <a:gd name="connsiteX14" fmla="*/ 4321786 w 9574428"/>
              <a:gd name="connsiteY14" fmla="*/ 2542381 h 3895190"/>
              <a:gd name="connsiteX15" fmla="*/ 4171474 w 9574428"/>
              <a:gd name="connsiteY15" fmla="*/ 2673904 h 3895190"/>
              <a:gd name="connsiteX16" fmla="*/ 4465835 w 9574428"/>
              <a:gd name="connsiteY16" fmla="*/ 2730271 h 3895190"/>
              <a:gd name="connsiteX17" fmla="*/ 3933479 w 9574428"/>
              <a:gd name="connsiteY17" fmla="*/ 2442173 h 3895190"/>
              <a:gd name="connsiteX0" fmla="*/ 0 w 9434022"/>
              <a:gd name="connsiteY0" fmla="*/ 4067155 h 4067155"/>
              <a:gd name="connsiteX1" fmla="*/ 2655824 w 9434022"/>
              <a:gd name="connsiteY1" fmla="*/ 3641272 h 4067155"/>
              <a:gd name="connsiteX2" fmla="*/ 4321786 w 9434022"/>
              <a:gd name="connsiteY2" fmla="*/ 2676768 h 4067155"/>
              <a:gd name="connsiteX3" fmla="*/ 4553517 w 9434022"/>
              <a:gd name="connsiteY3" fmla="*/ 2156938 h 4067155"/>
              <a:gd name="connsiteX4" fmla="*/ 4685041 w 9434022"/>
              <a:gd name="connsiteY4" fmla="*/ 1706001 h 4067155"/>
              <a:gd name="connsiteX5" fmla="*/ 5098400 w 9434022"/>
              <a:gd name="connsiteY5" fmla="*/ 1010806 h 4067155"/>
              <a:gd name="connsiteX6" fmla="*/ 5380235 w 9434022"/>
              <a:gd name="connsiteY6" fmla="*/ 672603 h 4067155"/>
              <a:gd name="connsiteX7" fmla="*/ 5530548 w 9434022"/>
              <a:gd name="connsiteY7" fmla="*/ 534817 h 4067155"/>
              <a:gd name="connsiteX8" fmla="*/ 8085348 w 9434022"/>
              <a:gd name="connsiteY8" fmla="*/ 38888 h 4067155"/>
              <a:gd name="connsiteX9" fmla="*/ 9401090 w 9434022"/>
              <a:gd name="connsiteY9" fmla="*/ 1693475 h 4067155"/>
              <a:gd name="connsiteX10" fmla="*/ 8879025 w 9434022"/>
              <a:gd name="connsiteY10" fmla="*/ 2810082 h 4067155"/>
              <a:gd name="connsiteX11" fmla="*/ 7183983 w 9434022"/>
              <a:gd name="connsiteY11" fmla="*/ 3008708 h 4067155"/>
              <a:gd name="connsiteX12" fmla="*/ 6319687 w 9434022"/>
              <a:gd name="connsiteY12" fmla="*/ 2946077 h 4067155"/>
              <a:gd name="connsiteX13" fmla="*/ 5793594 w 9434022"/>
              <a:gd name="connsiteY13" fmla="*/ 2877184 h 4067155"/>
              <a:gd name="connsiteX14" fmla="*/ 4321786 w 9434022"/>
              <a:gd name="connsiteY14" fmla="*/ 2714346 h 4067155"/>
              <a:gd name="connsiteX15" fmla="*/ 4171474 w 9434022"/>
              <a:gd name="connsiteY15" fmla="*/ 2845869 h 4067155"/>
              <a:gd name="connsiteX16" fmla="*/ 4465835 w 9434022"/>
              <a:gd name="connsiteY16" fmla="*/ 2902236 h 4067155"/>
              <a:gd name="connsiteX17" fmla="*/ 3933479 w 9434022"/>
              <a:gd name="connsiteY17" fmla="*/ 2614138 h 4067155"/>
              <a:gd name="connsiteX0" fmla="*/ 0 w 9434022"/>
              <a:gd name="connsiteY0" fmla="*/ 4070221 h 4070221"/>
              <a:gd name="connsiteX1" fmla="*/ 2655824 w 9434022"/>
              <a:gd name="connsiteY1" fmla="*/ 3644338 h 4070221"/>
              <a:gd name="connsiteX2" fmla="*/ 4321786 w 9434022"/>
              <a:gd name="connsiteY2" fmla="*/ 2679834 h 4070221"/>
              <a:gd name="connsiteX3" fmla="*/ 4553517 w 9434022"/>
              <a:gd name="connsiteY3" fmla="*/ 2160004 h 4070221"/>
              <a:gd name="connsiteX4" fmla="*/ 4685041 w 9434022"/>
              <a:gd name="connsiteY4" fmla="*/ 1709067 h 4070221"/>
              <a:gd name="connsiteX5" fmla="*/ 5098400 w 9434022"/>
              <a:gd name="connsiteY5" fmla="*/ 1013872 h 4070221"/>
              <a:gd name="connsiteX6" fmla="*/ 5530548 w 9434022"/>
              <a:gd name="connsiteY6" fmla="*/ 537883 h 4070221"/>
              <a:gd name="connsiteX7" fmla="*/ 8085348 w 9434022"/>
              <a:gd name="connsiteY7" fmla="*/ 41954 h 4070221"/>
              <a:gd name="connsiteX8" fmla="*/ 9401090 w 9434022"/>
              <a:gd name="connsiteY8" fmla="*/ 1696541 h 4070221"/>
              <a:gd name="connsiteX9" fmla="*/ 8879025 w 9434022"/>
              <a:gd name="connsiteY9" fmla="*/ 2813148 h 4070221"/>
              <a:gd name="connsiteX10" fmla="*/ 7183983 w 9434022"/>
              <a:gd name="connsiteY10" fmla="*/ 3011774 h 4070221"/>
              <a:gd name="connsiteX11" fmla="*/ 6319687 w 9434022"/>
              <a:gd name="connsiteY11" fmla="*/ 2949143 h 4070221"/>
              <a:gd name="connsiteX12" fmla="*/ 5793594 w 9434022"/>
              <a:gd name="connsiteY12" fmla="*/ 2880250 h 4070221"/>
              <a:gd name="connsiteX13" fmla="*/ 4321786 w 9434022"/>
              <a:gd name="connsiteY13" fmla="*/ 2717412 h 4070221"/>
              <a:gd name="connsiteX14" fmla="*/ 4171474 w 9434022"/>
              <a:gd name="connsiteY14" fmla="*/ 2848935 h 4070221"/>
              <a:gd name="connsiteX15" fmla="*/ 4465835 w 9434022"/>
              <a:gd name="connsiteY15" fmla="*/ 2905302 h 4070221"/>
              <a:gd name="connsiteX16" fmla="*/ 3933479 w 9434022"/>
              <a:gd name="connsiteY16" fmla="*/ 2617204 h 4070221"/>
              <a:gd name="connsiteX0" fmla="*/ 0 w 9434022"/>
              <a:gd name="connsiteY0" fmla="*/ 4078111 h 4078111"/>
              <a:gd name="connsiteX1" fmla="*/ 2655824 w 9434022"/>
              <a:gd name="connsiteY1" fmla="*/ 3652228 h 4078111"/>
              <a:gd name="connsiteX2" fmla="*/ 4321786 w 9434022"/>
              <a:gd name="connsiteY2" fmla="*/ 2687724 h 4078111"/>
              <a:gd name="connsiteX3" fmla="*/ 4553517 w 9434022"/>
              <a:gd name="connsiteY3" fmla="*/ 2167894 h 4078111"/>
              <a:gd name="connsiteX4" fmla="*/ 4685041 w 9434022"/>
              <a:gd name="connsiteY4" fmla="*/ 1716957 h 4078111"/>
              <a:gd name="connsiteX5" fmla="*/ 5530548 w 9434022"/>
              <a:gd name="connsiteY5" fmla="*/ 545773 h 4078111"/>
              <a:gd name="connsiteX6" fmla="*/ 8085348 w 9434022"/>
              <a:gd name="connsiteY6" fmla="*/ 49844 h 4078111"/>
              <a:gd name="connsiteX7" fmla="*/ 9401090 w 9434022"/>
              <a:gd name="connsiteY7" fmla="*/ 1704431 h 4078111"/>
              <a:gd name="connsiteX8" fmla="*/ 8879025 w 9434022"/>
              <a:gd name="connsiteY8" fmla="*/ 2821038 h 4078111"/>
              <a:gd name="connsiteX9" fmla="*/ 7183983 w 9434022"/>
              <a:gd name="connsiteY9" fmla="*/ 3019664 h 4078111"/>
              <a:gd name="connsiteX10" fmla="*/ 6319687 w 9434022"/>
              <a:gd name="connsiteY10" fmla="*/ 2957033 h 4078111"/>
              <a:gd name="connsiteX11" fmla="*/ 5793594 w 9434022"/>
              <a:gd name="connsiteY11" fmla="*/ 2888140 h 4078111"/>
              <a:gd name="connsiteX12" fmla="*/ 4321786 w 9434022"/>
              <a:gd name="connsiteY12" fmla="*/ 2725302 h 4078111"/>
              <a:gd name="connsiteX13" fmla="*/ 4171474 w 9434022"/>
              <a:gd name="connsiteY13" fmla="*/ 2856825 h 4078111"/>
              <a:gd name="connsiteX14" fmla="*/ 4465835 w 9434022"/>
              <a:gd name="connsiteY14" fmla="*/ 2913192 h 4078111"/>
              <a:gd name="connsiteX15" fmla="*/ 3933479 w 9434022"/>
              <a:gd name="connsiteY15" fmla="*/ 2625094 h 4078111"/>
              <a:gd name="connsiteX0" fmla="*/ 0 w 9434022"/>
              <a:gd name="connsiteY0" fmla="*/ 4084740 h 4084740"/>
              <a:gd name="connsiteX1" fmla="*/ 2655824 w 9434022"/>
              <a:gd name="connsiteY1" fmla="*/ 3658857 h 4084740"/>
              <a:gd name="connsiteX2" fmla="*/ 4321786 w 9434022"/>
              <a:gd name="connsiteY2" fmla="*/ 2694353 h 4084740"/>
              <a:gd name="connsiteX3" fmla="*/ 4553517 w 9434022"/>
              <a:gd name="connsiteY3" fmla="*/ 2174523 h 4084740"/>
              <a:gd name="connsiteX4" fmla="*/ 5530548 w 9434022"/>
              <a:gd name="connsiteY4" fmla="*/ 552402 h 4084740"/>
              <a:gd name="connsiteX5" fmla="*/ 8085348 w 9434022"/>
              <a:gd name="connsiteY5" fmla="*/ 56473 h 4084740"/>
              <a:gd name="connsiteX6" fmla="*/ 9401090 w 9434022"/>
              <a:gd name="connsiteY6" fmla="*/ 1711060 h 4084740"/>
              <a:gd name="connsiteX7" fmla="*/ 8879025 w 9434022"/>
              <a:gd name="connsiteY7" fmla="*/ 2827667 h 4084740"/>
              <a:gd name="connsiteX8" fmla="*/ 7183983 w 9434022"/>
              <a:gd name="connsiteY8" fmla="*/ 3026293 h 4084740"/>
              <a:gd name="connsiteX9" fmla="*/ 6319687 w 9434022"/>
              <a:gd name="connsiteY9" fmla="*/ 2963662 h 4084740"/>
              <a:gd name="connsiteX10" fmla="*/ 5793594 w 9434022"/>
              <a:gd name="connsiteY10" fmla="*/ 2894769 h 4084740"/>
              <a:gd name="connsiteX11" fmla="*/ 4321786 w 9434022"/>
              <a:gd name="connsiteY11" fmla="*/ 2731931 h 4084740"/>
              <a:gd name="connsiteX12" fmla="*/ 4171474 w 9434022"/>
              <a:gd name="connsiteY12" fmla="*/ 2863454 h 4084740"/>
              <a:gd name="connsiteX13" fmla="*/ 4465835 w 9434022"/>
              <a:gd name="connsiteY13" fmla="*/ 2919821 h 4084740"/>
              <a:gd name="connsiteX14" fmla="*/ 3933479 w 9434022"/>
              <a:gd name="connsiteY14" fmla="*/ 2631723 h 4084740"/>
              <a:gd name="connsiteX0" fmla="*/ 0 w 9434022"/>
              <a:gd name="connsiteY0" fmla="*/ 4094373 h 4094373"/>
              <a:gd name="connsiteX1" fmla="*/ 2655824 w 9434022"/>
              <a:gd name="connsiteY1" fmla="*/ 3668490 h 4094373"/>
              <a:gd name="connsiteX2" fmla="*/ 4321786 w 9434022"/>
              <a:gd name="connsiteY2" fmla="*/ 2703986 h 4094373"/>
              <a:gd name="connsiteX3" fmla="*/ 5530548 w 9434022"/>
              <a:gd name="connsiteY3" fmla="*/ 562035 h 4094373"/>
              <a:gd name="connsiteX4" fmla="*/ 8085348 w 9434022"/>
              <a:gd name="connsiteY4" fmla="*/ 66106 h 4094373"/>
              <a:gd name="connsiteX5" fmla="*/ 9401090 w 9434022"/>
              <a:gd name="connsiteY5" fmla="*/ 1720693 h 4094373"/>
              <a:gd name="connsiteX6" fmla="*/ 8879025 w 9434022"/>
              <a:gd name="connsiteY6" fmla="*/ 2837300 h 4094373"/>
              <a:gd name="connsiteX7" fmla="*/ 7183983 w 9434022"/>
              <a:gd name="connsiteY7" fmla="*/ 3035926 h 4094373"/>
              <a:gd name="connsiteX8" fmla="*/ 6319687 w 9434022"/>
              <a:gd name="connsiteY8" fmla="*/ 2973295 h 4094373"/>
              <a:gd name="connsiteX9" fmla="*/ 5793594 w 9434022"/>
              <a:gd name="connsiteY9" fmla="*/ 2904402 h 4094373"/>
              <a:gd name="connsiteX10" fmla="*/ 4321786 w 9434022"/>
              <a:gd name="connsiteY10" fmla="*/ 2741564 h 4094373"/>
              <a:gd name="connsiteX11" fmla="*/ 4171474 w 9434022"/>
              <a:gd name="connsiteY11" fmla="*/ 2873087 h 4094373"/>
              <a:gd name="connsiteX12" fmla="*/ 4465835 w 9434022"/>
              <a:gd name="connsiteY12" fmla="*/ 2929454 h 4094373"/>
              <a:gd name="connsiteX13" fmla="*/ 3933479 w 9434022"/>
              <a:gd name="connsiteY13" fmla="*/ 2641356 h 4094373"/>
              <a:gd name="connsiteX0" fmla="*/ 0 w 9434022"/>
              <a:gd name="connsiteY0" fmla="*/ 4111633 h 4111633"/>
              <a:gd name="connsiteX1" fmla="*/ 2655824 w 9434022"/>
              <a:gd name="connsiteY1" fmla="*/ 3685750 h 4111633"/>
              <a:gd name="connsiteX2" fmla="*/ 4321786 w 9434022"/>
              <a:gd name="connsiteY2" fmla="*/ 2721246 h 4111633"/>
              <a:gd name="connsiteX3" fmla="*/ 5530548 w 9434022"/>
              <a:gd name="connsiteY3" fmla="*/ 579295 h 4111633"/>
              <a:gd name="connsiteX4" fmla="*/ 8085348 w 9434022"/>
              <a:gd name="connsiteY4" fmla="*/ 83366 h 4111633"/>
              <a:gd name="connsiteX5" fmla="*/ 9401090 w 9434022"/>
              <a:gd name="connsiteY5" fmla="*/ 1737953 h 4111633"/>
              <a:gd name="connsiteX6" fmla="*/ 8879025 w 9434022"/>
              <a:gd name="connsiteY6" fmla="*/ 2854560 h 4111633"/>
              <a:gd name="connsiteX7" fmla="*/ 7183983 w 9434022"/>
              <a:gd name="connsiteY7" fmla="*/ 3053186 h 4111633"/>
              <a:gd name="connsiteX8" fmla="*/ 6319687 w 9434022"/>
              <a:gd name="connsiteY8" fmla="*/ 2990555 h 4111633"/>
              <a:gd name="connsiteX9" fmla="*/ 5793594 w 9434022"/>
              <a:gd name="connsiteY9" fmla="*/ 2921662 h 4111633"/>
              <a:gd name="connsiteX10" fmla="*/ 4321786 w 9434022"/>
              <a:gd name="connsiteY10" fmla="*/ 2758824 h 4111633"/>
              <a:gd name="connsiteX11" fmla="*/ 4171474 w 9434022"/>
              <a:gd name="connsiteY11" fmla="*/ 2890347 h 4111633"/>
              <a:gd name="connsiteX12" fmla="*/ 4465835 w 9434022"/>
              <a:gd name="connsiteY12" fmla="*/ 2946714 h 4111633"/>
              <a:gd name="connsiteX13" fmla="*/ 3933479 w 9434022"/>
              <a:gd name="connsiteY13" fmla="*/ 2658616 h 4111633"/>
              <a:gd name="connsiteX0" fmla="*/ 0 w 9434022"/>
              <a:gd name="connsiteY0" fmla="*/ 4114443 h 4114443"/>
              <a:gd name="connsiteX1" fmla="*/ 2655824 w 9434022"/>
              <a:gd name="connsiteY1" fmla="*/ 3688560 h 4114443"/>
              <a:gd name="connsiteX2" fmla="*/ 4321786 w 9434022"/>
              <a:gd name="connsiteY2" fmla="*/ 2724056 h 4114443"/>
              <a:gd name="connsiteX3" fmla="*/ 5530548 w 9434022"/>
              <a:gd name="connsiteY3" fmla="*/ 582105 h 4114443"/>
              <a:gd name="connsiteX4" fmla="*/ 8085348 w 9434022"/>
              <a:gd name="connsiteY4" fmla="*/ 86176 h 4114443"/>
              <a:gd name="connsiteX5" fmla="*/ 9401090 w 9434022"/>
              <a:gd name="connsiteY5" fmla="*/ 1740763 h 4114443"/>
              <a:gd name="connsiteX6" fmla="*/ 8879025 w 9434022"/>
              <a:gd name="connsiteY6" fmla="*/ 2857370 h 4114443"/>
              <a:gd name="connsiteX7" fmla="*/ 7183983 w 9434022"/>
              <a:gd name="connsiteY7" fmla="*/ 3055996 h 4114443"/>
              <a:gd name="connsiteX8" fmla="*/ 6319687 w 9434022"/>
              <a:gd name="connsiteY8" fmla="*/ 2993365 h 4114443"/>
              <a:gd name="connsiteX9" fmla="*/ 5793594 w 9434022"/>
              <a:gd name="connsiteY9" fmla="*/ 2924472 h 4114443"/>
              <a:gd name="connsiteX10" fmla="*/ 4321786 w 9434022"/>
              <a:gd name="connsiteY10" fmla="*/ 2761634 h 4114443"/>
              <a:gd name="connsiteX11" fmla="*/ 4171474 w 9434022"/>
              <a:gd name="connsiteY11" fmla="*/ 2893157 h 4114443"/>
              <a:gd name="connsiteX12" fmla="*/ 4465835 w 9434022"/>
              <a:gd name="connsiteY12" fmla="*/ 2949524 h 4114443"/>
              <a:gd name="connsiteX13" fmla="*/ 3933479 w 9434022"/>
              <a:gd name="connsiteY13" fmla="*/ 2661426 h 4114443"/>
              <a:gd name="connsiteX0" fmla="*/ 0 w 9436146"/>
              <a:gd name="connsiteY0" fmla="*/ 4114443 h 4114443"/>
              <a:gd name="connsiteX1" fmla="*/ 2655824 w 9436146"/>
              <a:gd name="connsiteY1" fmla="*/ 3688560 h 4114443"/>
              <a:gd name="connsiteX2" fmla="*/ 4321786 w 9436146"/>
              <a:gd name="connsiteY2" fmla="*/ 2724056 h 4114443"/>
              <a:gd name="connsiteX3" fmla="*/ 5530548 w 9436146"/>
              <a:gd name="connsiteY3" fmla="*/ 582105 h 4114443"/>
              <a:gd name="connsiteX4" fmla="*/ 8085348 w 9436146"/>
              <a:gd name="connsiteY4" fmla="*/ 86176 h 4114443"/>
              <a:gd name="connsiteX5" fmla="*/ 9401090 w 9436146"/>
              <a:gd name="connsiteY5" fmla="*/ 1740763 h 4114443"/>
              <a:gd name="connsiteX6" fmla="*/ 7183983 w 9436146"/>
              <a:gd name="connsiteY6" fmla="*/ 3055996 h 4114443"/>
              <a:gd name="connsiteX7" fmla="*/ 6319687 w 9436146"/>
              <a:gd name="connsiteY7" fmla="*/ 2993365 h 4114443"/>
              <a:gd name="connsiteX8" fmla="*/ 5793594 w 9436146"/>
              <a:gd name="connsiteY8" fmla="*/ 2924472 h 4114443"/>
              <a:gd name="connsiteX9" fmla="*/ 4321786 w 9436146"/>
              <a:gd name="connsiteY9" fmla="*/ 2761634 h 4114443"/>
              <a:gd name="connsiteX10" fmla="*/ 4171474 w 9436146"/>
              <a:gd name="connsiteY10" fmla="*/ 2893157 h 4114443"/>
              <a:gd name="connsiteX11" fmla="*/ 4465835 w 9436146"/>
              <a:gd name="connsiteY11" fmla="*/ 2949524 h 4114443"/>
              <a:gd name="connsiteX12" fmla="*/ 3933479 w 9436146"/>
              <a:gd name="connsiteY12" fmla="*/ 2661426 h 4114443"/>
              <a:gd name="connsiteX0" fmla="*/ 0 w 9487927"/>
              <a:gd name="connsiteY0" fmla="*/ 4114443 h 4114443"/>
              <a:gd name="connsiteX1" fmla="*/ 2655824 w 9487927"/>
              <a:gd name="connsiteY1" fmla="*/ 3688560 h 4114443"/>
              <a:gd name="connsiteX2" fmla="*/ 4321786 w 9487927"/>
              <a:gd name="connsiteY2" fmla="*/ 2724056 h 4114443"/>
              <a:gd name="connsiteX3" fmla="*/ 5530548 w 9487927"/>
              <a:gd name="connsiteY3" fmla="*/ 582105 h 4114443"/>
              <a:gd name="connsiteX4" fmla="*/ 8085348 w 9487927"/>
              <a:gd name="connsiteY4" fmla="*/ 86176 h 4114443"/>
              <a:gd name="connsiteX5" fmla="*/ 9401090 w 9487927"/>
              <a:gd name="connsiteY5" fmla="*/ 1740763 h 4114443"/>
              <a:gd name="connsiteX6" fmla="*/ 6319687 w 9487927"/>
              <a:gd name="connsiteY6" fmla="*/ 2993365 h 4114443"/>
              <a:gd name="connsiteX7" fmla="*/ 5793594 w 9487927"/>
              <a:gd name="connsiteY7" fmla="*/ 2924472 h 4114443"/>
              <a:gd name="connsiteX8" fmla="*/ 4321786 w 9487927"/>
              <a:gd name="connsiteY8" fmla="*/ 2761634 h 4114443"/>
              <a:gd name="connsiteX9" fmla="*/ 4171474 w 9487927"/>
              <a:gd name="connsiteY9" fmla="*/ 2893157 h 4114443"/>
              <a:gd name="connsiteX10" fmla="*/ 4465835 w 9487927"/>
              <a:gd name="connsiteY10" fmla="*/ 2949524 h 4114443"/>
              <a:gd name="connsiteX11" fmla="*/ 3933479 w 9487927"/>
              <a:gd name="connsiteY11" fmla="*/ 2661426 h 4114443"/>
              <a:gd name="connsiteX0" fmla="*/ 0 w 9522079"/>
              <a:gd name="connsiteY0" fmla="*/ 4114443 h 4114443"/>
              <a:gd name="connsiteX1" fmla="*/ 2655824 w 9522079"/>
              <a:gd name="connsiteY1" fmla="*/ 3688560 h 4114443"/>
              <a:gd name="connsiteX2" fmla="*/ 4321786 w 9522079"/>
              <a:gd name="connsiteY2" fmla="*/ 2724056 h 4114443"/>
              <a:gd name="connsiteX3" fmla="*/ 5530548 w 9522079"/>
              <a:gd name="connsiteY3" fmla="*/ 582105 h 4114443"/>
              <a:gd name="connsiteX4" fmla="*/ 8085348 w 9522079"/>
              <a:gd name="connsiteY4" fmla="*/ 86176 h 4114443"/>
              <a:gd name="connsiteX5" fmla="*/ 9401090 w 9522079"/>
              <a:gd name="connsiteY5" fmla="*/ 1740763 h 4114443"/>
              <a:gd name="connsiteX6" fmla="*/ 5793594 w 9522079"/>
              <a:gd name="connsiteY6" fmla="*/ 2924472 h 4114443"/>
              <a:gd name="connsiteX7" fmla="*/ 4321786 w 9522079"/>
              <a:gd name="connsiteY7" fmla="*/ 2761634 h 4114443"/>
              <a:gd name="connsiteX8" fmla="*/ 4171474 w 9522079"/>
              <a:gd name="connsiteY8" fmla="*/ 2893157 h 4114443"/>
              <a:gd name="connsiteX9" fmla="*/ 4465835 w 9522079"/>
              <a:gd name="connsiteY9" fmla="*/ 2949524 h 4114443"/>
              <a:gd name="connsiteX10" fmla="*/ 3933479 w 9522079"/>
              <a:gd name="connsiteY10" fmla="*/ 2661426 h 4114443"/>
              <a:gd name="connsiteX0" fmla="*/ 0 w 9479057"/>
              <a:gd name="connsiteY0" fmla="*/ 4043405 h 4043405"/>
              <a:gd name="connsiteX1" fmla="*/ 2655824 w 9479057"/>
              <a:gd name="connsiteY1" fmla="*/ 3617522 h 4043405"/>
              <a:gd name="connsiteX2" fmla="*/ 4321786 w 9479057"/>
              <a:gd name="connsiteY2" fmla="*/ 2653018 h 4043405"/>
              <a:gd name="connsiteX3" fmla="*/ 5905675 w 9479057"/>
              <a:gd name="connsiteY3" fmla="*/ 951395 h 4043405"/>
              <a:gd name="connsiteX4" fmla="*/ 8085348 w 9479057"/>
              <a:gd name="connsiteY4" fmla="*/ 15138 h 4043405"/>
              <a:gd name="connsiteX5" fmla="*/ 9401090 w 9479057"/>
              <a:gd name="connsiteY5" fmla="*/ 1669725 h 4043405"/>
              <a:gd name="connsiteX6" fmla="*/ 5793594 w 9479057"/>
              <a:gd name="connsiteY6" fmla="*/ 2853434 h 4043405"/>
              <a:gd name="connsiteX7" fmla="*/ 4321786 w 9479057"/>
              <a:gd name="connsiteY7" fmla="*/ 2690596 h 4043405"/>
              <a:gd name="connsiteX8" fmla="*/ 4171474 w 9479057"/>
              <a:gd name="connsiteY8" fmla="*/ 2822119 h 4043405"/>
              <a:gd name="connsiteX9" fmla="*/ 4465835 w 9479057"/>
              <a:gd name="connsiteY9" fmla="*/ 2878486 h 4043405"/>
              <a:gd name="connsiteX10" fmla="*/ 3933479 w 9479057"/>
              <a:gd name="connsiteY10" fmla="*/ 2590388 h 4043405"/>
              <a:gd name="connsiteX0" fmla="*/ 0 w 9603591"/>
              <a:gd name="connsiteY0" fmla="*/ 4028628 h 4028628"/>
              <a:gd name="connsiteX1" fmla="*/ 2655824 w 9603591"/>
              <a:gd name="connsiteY1" fmla="*/ 3602745 h 4028628"/>
              <a:gd name="connsiteX2" fmla="*/ 4321786 w 9603591"/>
              <a:gd name="connsiteY2" fmla="*/ 2638241 h 4028628"/>
              <a:gd name="connsiteX3" fmla="*/ 5905675 w 9603591"/>
              <a:gd name="connsiteY3" fmla="*/ 936618 h 4028628"/>
              <a:gd name="connsiteX4" fmla="*/ 8085348 w 9603591"/>
              <a:gd name="connsiteY4" fmla="*/ 361 h 4028628"/>
              <a:gd name="connsiteX5" fmla="*/ 9401090 w 9603591"/>
              <a:gd name="connsiteY5" fmla="*/ 1654948 h 4028628"/>
              <a:gd name="connsiteX6" fmla="*/ 5793594 w 9603591"/>
              <a:gd name="connsiteY6" fmla="*/ 2838657 h 4028628"/>
              <a:gd name="connsiteX7" fmla="*/ 4321786 w 9603591"/>
              <a:gd name="connsiteY7" fmla="*/ 2675819 h 4028628"/>
              <a:gd name="connsiteX8" fmla="*/ 4171474 w 9603591"/>
              <a:gd name="connsiteY8" fmla="*/ 2807342 h 4028628"/>
              <a:gd name="connsiteX9" fmla="*/ 4465835 w 9603591"/>
              <a:gd name="connsiteY9" fmla="*/ 2863709 h 4028628"/>
              <a:gd name="connsiteX10" fmla="*/ 3933479 w 9603591"/>
              <a:gd name="connsiteY10" fmla="*/ 2575611 h 4028628"/>
              <a:gd name="connsiteX0" fmla="*/ 0 w 9602407"/>
              <a:gd name="connsiteY0" fmla="*/ 4039392 h 4039392"/>
              <a:gd name="connsiteX1" fmla="*/ 2655824 w 9602407"/>
              <a:gd name="connsiteY1" fmla="*/ 3613509 h 4039392"/>
              <a:gd name="connsiteX2" fmla="*/ 4321786 w 9602407"/>
              <a:gd name="connsiteY2" fmla="*/ 2649005 h 4039392"/>
              <a:gd name="connsiteX3" fmla="*/ 5905675 w 9602407"/>
              <a:gd name="connsiteY3" fmla="*/ 947382 h 4039392"/>
              <a:gd name="connsiteX4" fmla="*/ 8085348 w 9602407"/>
              <a:gd name="connsiteY4" fmla="*/ 11125 h 4039392"/>
              <a:gd name="connsiteX5" fmla="*/ 9401090 w 9602407"/>
              <a:gd name="connsiteY5" fmla="*/ 1665712 h 4039392"/>
              <a:gd name="connsiteX6" fmla="*/ 5793594 w 9602407"/>
              <a:gd name="connsiteY6" fmla="*/ 2849421 h 4039392"/>
              <a:gd name="connsiteX7" fmla="*/ 4321786 w 9602407"/>
              <a:gd name="connsiteY7" fmla="*/ 2686583 h 4039392"/>
              <a:gd name="connsiteX8" fmla="*/ 4171474 w 9602407"/>
              <a:gd name="connsiteY8" fmla="*/ 2818106 h 4039392"/>
              <a:gd name="connsiteX9" fmla="*/ 4465835 w 9602407"/>
              <a:gd name="connsiteY9" fmla="*/ 2874473 h 4039392"/>
              <a:gd name="connsiteX10" fmla="*/ 3933479 w 9602407"/>
              <a:gd name="connsiteY10" fmla="*/ 2586375 h 4039392"/>
              <a:gd name="connsiteX0" fmla="*/ 0 w 9656300"/>
              <a:gd name="connsiteY0" fmla="*/ 4038473 h 4038473"/>
              <a:gd name="connsiteX1" fmla="*/ 2655824 w 9656300"/>
              <a:gd name="connsiteY1" fmla="*/ 3612590 h 4038473"/>
              <a:gd name="connsiteX2" fmla="*/ 4321786 w 9656300"/>
              <a:gd name="connsiteY2" fmla="*/ 2648086 h 4038473"/>
              <a:gd name="connsiteX3" fmla="*/ 5905675 w 9656300"/>
              <a:gd name="connsiteY3" fmla="*/ 946463 h 4038473"/>
              <a:gd name="connsiteX4" fmla="*/ 8085348 w 9656300"/>
              <a:gd name="connsiteY4" fmla="*/ 10206 h 4038473"/>
              <a:gd name="connsiteX5" fmla="*/ 9401090 w 9656300"/>
              <a:gd name="connsiteY5" fmla="*/ 1664793 h 4038473"/>
              <a:gd name="connsiteX6" fmla="*/ 5793594 w 9656300"/>
              <a:gd name="connsiteY6" fmla="*/ 2848502 h 4038473"/>
              <a:gd name="connsiteX7" fmla="*/ 4321786 w 9656300"/>
              <a:gd name="connsiteY7" fmla="*/ 2685664 h 4038473"/>
              <a:gd name="connsiteX8" fmla="*/ 4171474 w 9656300"/>
              <a:gd name="connsiteY8" fmla="*/ 2817187 h 4038473"/>
              <a:gd name="connsiteX9" fmla="*/ 4465835 w 9656300"/>
              <a:gd name="connsiteY9" fmla="*/ 2873554 h 4038473"/>
              <a:gd name="connsiteX10" fmla="*/ 3933479 w 9656300"/>
              <a:gd name="connsiteY10" fmla="*/ 2585456 h 4038473"/>
              <a:gd name="connsiteX0" fmla="*/ 0 w 9560122"/>
              <a:gd name="connsiteY0" fmla="*/ 4039269 h 4039269"/>
              <a:gd name="connsiteX1" fmla="*/ 2655824 w 9560122"/>
              <a:gd name="connsiteY1" fmla="*/ 3613386 h 4039269"/>
              <a:gd name="connsiteX2" fmla="*/ 4321786 w 9560122"/>
              <a:gd name="connsiteY2" fmla="*/ 2648882 h 4039269"/>
              <a:gd name="connsiteX3" fmla="*/ 5905675 w 9560122"/>
              <a:gd name="connsiteY3" fmla="*/ 947259 h 4039269"/>
              <a:gd name="connsiteX4" fmla="*/ 8085348 w 9560122"/>
              <a:gd name="connsiteY4" fmla="*/ 11002 h 4039269"/>
              <a:gd name="connsiteX5" fmla="*/ 9401090 w 9560122"/>
              <a:gd name="connsiteY5" fmla="*/ 1665589 h 4039269"/>
              <a:gd name="connsiteX6" fmla="*/ 6365664 w 9560122"/>
              <a:gd name="connsiteY6" fmla="*/ 2749602 h 4039269"/>
              <a:gd name="connsiteX7" fmla="*/ 4321786 w 9560122"/>
              <a:gd name="connsiteY7" fmla="*/ 2686460 h 4039269"/>
              <a:gd name="connsiteX8" fmla="*/ 4171474 w 9560122"/>
              <a:gd name="connsiteY8" fmla="*/ 2817983 h 4039269"/>
              <a:gd name="connsiteX9" fmla="*/ 4465835 w 9560122"/>
              <a:gd name="connsiteY9" fmla="*/ 2874350 h 4039269"/>
              <a:gd name="connsiteX10" fmla="*/ 3933479 w 9560122"/>
              <a:gd name="connsiteY10" fmla="*/ 2586252 h 4039269"/>
              <a:gd name="connsiteX0" fmla="*/ 0 w 9560122"/>
              <a:gd name="connsiteY0" fmla="*/ 4039269 h 4039269"/>
              <a:gd name="connsiteX1" fmla="*/ 2655824 w 9560122"/>
              <a:gd name="connsiteY1" fmla="*/ 3613386 h 4039269"/>
              <a:gd name="connsiteX2" fmla="*/ 4321786 w 9560122"/>
              <a:gd name="connsiteY2" fmla="*/ 2648882 h 4039269"/>
              <a:gd name="connsiteX3" fmla="*/ 5905675 w 9560122"/>
              <a:gd name="connsiteY3" fmla="*/ 947259 h 4039269"/>
              <a:gd name="connsiteX4" fmla="*/ 8085348 w 9560122"/>
              <a:gd name="connsiteY4" fmla="*/ 11002 h 4039269"/>
              <a:gd name="connsiteX5" fmla="*/ 9401090 w 9560122"/>
              <a:gd name="connsiteY5" fmla="*/ 1665589 h 4039269"/>
              <a:gd name="connsiteX6" fmla="*/ 6365664 w 9560122"/>
              <a:gd name="connsiteY6" fmla="*/ 2749602 h 4039269"/>
              <a:gd name="connsiteX7" fmla="*/ 4321786 w 9560122"/>
              <a:gd name="connsiteY7" fmla="*/ 2686460 h 4039269"/>
              <a:gd name="connsiteX8" fmla="*/ 4171474 w 9560122"/>
              <a:gd name="connsiteY8" fmla="*/ 2817983 h 4039269"/>
              <a:gd name="connsiteX9" fmla="*/ 4465835 w 9560122"/>
              <a:gd name="connsiteY9" fmla="*/ 2874350 h 4039269"/>
              <a:gd name="connsiteX10" fmla="*/ 3933479 w 9560122"/>
              <a:gd name="connsiteY10" fmla="*/ 2586252 h 4039269"/>
              <a:gd name="connsiteX0" fmla="*/ 0 w 9586218"/>
              <a:gd name="connsiteY0" fmla="*/ 4038961 h 4038961"/>
              <a:gd name="connsiteX1" fmla="*/ 2655824 w 9586218"/>
              <a:gd name="connsiteY1" fmla="*/ 3613078 h 4038961"/>
              <a:gd name="connsiteX2" fmla="*/ 4321786 w 9586218"/>
              <a:gd name="connsiteY2" fmla="*/ 2648574 h 4038961"/>
              <a:gd name="connsiteX3" fmla="*/ 5905675 w 9586218"/>
              <a:gd name="connsiteY3" fmla="*/ 946951 h 4038961"/>
              <a:gd name="connsiteX4" fmla="*/ 8085348 w 9586218"/>
              <a:gd name="connsiteY4" fmla="*/ 10694 h 4038961"/>
              <a:gd name="connsiteX5" fmla="*/ 9401090 w 9586218"/>
              <a:gd name="connsiteY5" fmla="*/ 1665281 h 4038961"/>
              <a:gd name="connsiteX6" fmla="*/ 6365664 w 9586218"/>
              <a:gd name="connsiteY6" fmla="*/ 2749294 h 4038961"/>
              <a:gd name="connsiteX7" fmla="*/ 4321786 w 9586218"/>
              <a:gd name="connsiteY7" fmla="*/ 2686152 h 4038961"/>
              <a:gd name="connsiteX8" fmla="*/ 4171474 w 9586218"/>
              <a:gd name="connsiteY8" fmla="*/ 2817675 h 4038961"/>
              <a:gd name="connsiteX9" fmla="*/ 4465835 w 9586218"/>
              <a:gd name="connsiteY9" fmla="*/ 2874042 h 4038961"/>
              <a:gd name="connsiteX10" fmla="*/ 3933479 w 9586218"/>
              <a:gd name="connsiteY10" fmla="*/ 2585944 h 4038961"/>
              <a:gd name="connsiteX0" fmla="*/ 0 w 9669443"/>
              <a:gd name="connsiteY0" fmla="*/ 4041204 h 4041204"/>
              <a:gd name="connsiteX1" fmla="*/ 2655824 w 9669443"/>
              <a:gd name="connsiteY1" fmla="*/ 3615321 h 4041204"/>
              <a:gd name="connsiteX2" fmla="*/ 4321786 w 9669443"/>
              <a:gd name="connsiteY2" fmla="*/ 2650817 h 4041204"/>
              <a:gd name="connsiteX3" fmla="*/ 5905675 w 9669443"/>
              <a:gd name="connsiteY3" fmla="*/ 949194 h 4041204"/>
              <a:gd name="connsiteX4" fmla="*/ 8085348 w 9669443"/>
              <a:gd name="connsiteY4" fmla="*/ 12937 h 4041204"/>
              <a:gd name="connsiteX5" fmla="*/ 9401090 w 9669443"/>
              <a:gd name="connsiteY5" fmla="*/ 1667524 h 4041204"/>
              <a:gd name="connsiteX6" fmla="*/ 6365664 w 9669443"/>
              <a:gd name="connsiteY6" fmla="*/ 2751537 h 4041204"/>
              <a:gd name="connsiteX7" fmla="*/ 4321786 w 9669443"/>
              <a:gd name="connsiteY7" fmla="*/ 2688395 h 4041204"/>
              <a:gd name="connsiteX8" fmla="*/ 4171474 w 9669443"/>
              <a:gd name="connsiteY8" fmla="*/ 2819918 h 4041204"/>
              <a:gd name="connsiteX9" fmla="*/ 4465835 w 9669443"/>
              <a:gd name="connsiteY9" fmla="*/ 2876285 h 4041204"/>
              <a:gd name="connsiteX10" fmla="*/ 3933479 w 9669443"/>
              <a:gd name="connsiteY10" fmla="*/ 2588187 h 4041204"/>
              <a:gd name="connsiteX0" fmla="*/ 0 w 12729702"/>
              <a:gd name="connsiteY0" fmla="*/ 3843401 h 3843402"/>
              <a:gd name="connsiteX1" fmla="*/ 5716083 w 12729702"/>
              <a:gd name="connsiteY1" fmla="*/ 3615321 h 3843402"/>
              <a:gd name="connsiteX2" fmla="*/ 7382045 w 12729702"/>
              <a:gd name="connsiteY2" fmla="*/ 2650817 h 3843402"/>
              <a:gd name="connsiteX3" fmla="*/ 8965934 w 12729702"/>
              <a:gd name="connsiteY3" fmla="*/ 949194 h 3843402"/>
              <a:gd name="connsiteX4" fmla="*/ 11145607 w 12729702"/>
              <a:gd name="connsiteY4" fmla="*/ 12937 h 3843402"/>
              <a:gd name="connsiteX5" fmla="*/ 12461349 w 12729702"/>
              <a:gd name="connsiteY5" fmla="*/ 1667524 h 3843402"/>
              <a:gd name="connsiteX6" fmla="*/ 9425923 w 12729702"/>
              <a:gd name="connsiteY6" fmla="*/ 2751537 h 3843402"/>
              <a:gd name="connsiteX7" fmla="*/ 7382045 w 12729702"/>
              <a:gd name="connsiteY7" fmla="*/ 2688395 h 3843402"/>
              <a:gd name="connsiteX8" fmla="*/ 7231733 w 12729702"/>
              <a:gd name="connsiteY8" fmla="*/ 2819918 h 3843402"/>
              <a:gd name="connsiteX9" fmla="*/ 7526094 w 12729702"/>
              <a:gd name="connsiteY9" fmla="*/ 2876285 h 3843402"/>
              <a:gd name="connsiteX10" fmla="*/ 6993738 w 12729702"/>
              <a:gd name="connsiteY10" fmla="*/ 2588187 h 3843402"/>
              <a:gd name="connsiteX0" fmla="*/ 0 w 12729702"/>
              <a:gd name="connsiteY0" fmla="*/ 3843401 h 3849782"/>
              <a:gd name="connsiteX1" fmla="*/ 4359299 w 12729702"/>
              <a:gd name="connsiteY1" fmla="*/ 3721480 h 3849782"/>
              <a:gd name="connsiteX2" fmla="*/ 7382045 w 12729702"/>
              <a:gd name="connsiteY2" fmla="*/ 2650817 h 3849782"/>
              <a:gd name="connsiteX3" fmla="*/ 8965934 w 12729702"/>
              <a:gd name="connsiteY3" fmla="*/ 949194 h 3849782"/>
              <a:gd name="connsiteX4" fmla="*/ 11145607 w 12729702"/>
              <a:gd name="connsiteY4" fmla="*/ 12937 h 3849782"/>
              <a:gd name="connsiteX5" fmla="*/ 12461349 w 12729702"/>
              <a:gd name="connsiteY5" fmla="*/ 1667524 h 3849782"/>
              <a:gd name="connsiteX6" fmla="*/ 9425923 w 12729702"/>
              <a:gd name="connsiteY6" fmla="*/ 2751537 h 3849782"/>
              <a:gd name="connsiteX7" fmla="*/ 7382045 w 12729702"/>
              <a:gd name="connsiteY7" fmla="*/ 2688395 h 3849782"/>
              <a:gd name="connsiteX8" fmla="*/ 7231733 w 12729702"/>
              <a:gd name="connsiteY8" fmla="*/ 2819918 h 3849782"/>
              <a:gd name="connsiteX9" fmla="*/ 7526094 w 12729702"/>
              <a:gd name="connsiteY9" fmla="*/ 2876285 h 3849782"/>
              <a:gd name="connsiteX10" fmla="*/ 6993738 w 12729702"/>
              <a:gd name="connsiteY10" fmla="*/ 2588187 h 3849782"/>
              <a:gd name="connsiteX0" fmla="*/ 0 w 12729702"/>
              <a:gd name="connsiteY0" fmla="*/ 3843401 h 3843402"/>
              <a:gd name="connsiteX1" fmla="*/ 4359299 w 12729702"/>
              <a:gd name="connsiteY1" fmla="*/ 3721480 h 3843402"/>
              <a:gd name="connsiteX2" fmla="*/ 7382045 w 12729702"/>
              <a:gd name="connsiteY2" fmla="*/ 2650817 h 3843402"/>
              <a:gd name="connsiteX3" fmla="*/ 8965934 w 12729702"/>
              <a:gd name="connsiteY3" fmla="*/ 949194 h 3843402"/>
              <a:gd name="connsiteX4" fmla="*/ 11145607 w 12729702"/>
              <a:gd name="connsiteY4" fmla="*/ 12937 h 3843402"/>
              <a:gd name="connsiteX5" fmla="*/ 12461349 w 12729702"/>
              <a:gd name="connsiteY5" fmla="*/ 1667524 h 3843402"/>
              <a:gd name="connsiteX6" fmla="*/ 9425923 w 12729702"/>
              <a:gd name="connsiteY6" fmla="*/ 2751537 h 3843402"/>
              <a:gd name="connsiteX7" fmla="*/ 7382045 w 12729702"/>
              <a:gd name="connsiteY7" fmla="*/ 2688395 h 3843402"/>
              <a:gd name="connsiteX8" fmla="*/ 7231733 w 12729702"/>
              <a:gd name="connsiteY8" fmla="*/ 2819918 h 3843402"/>
              <a:gd name="connsiteX9" fmla="*/ 7526094 w 12729702"/>
              <a:gd name="connsiteY9" fmla="*/ 2876285 h 3843402"/>
              <a:gd name="connsiteX10" fmla="*/ 6993738 w 12729702"/>
              <a:gd name="connsiteY10" fmla="*/ 2588187 h 3843402"/>
              <a:gd name="connsiteX0" fmla="*/ 0 w 12729702"/>
              <a:gd name="connsiteY0" fmla="*/ 3843401 h 3843400"/>
              <a:gd name="connsiteX1" fmla="*/ 4359299 w 12729702"/>
              <a:gd name="connsiteY1" fmla="*/ 3721480 h 3843400"/>
              <a:gd name="connsiteX2" fmla="*/ 7382045 w 12729702"/>
              <a:gd name="connsiteY2" fmla="*/ 2650817 h 3843400"/>
              <a:gd name="connsiteX3" fmla="*/ 8965934 w 12729702"/>
              <a:gd name="connsiteY3" fmla="*/ 949194 h 3843400"/>
              <a:gd name="connsiteX4" fmla="*/ 11145607 w 12729702"/>
              <a:gd name="connsiteY4" fmla="*/ 12937 h 3843400"/>
              <a:gd name="connsiteX5" fmla="*/ 12461349 w 12729702"/>
              <a:gd name="connsiteY5" fmla="*/ 1667524 h 3843400"/>
              <a:gd name="connsiteX6" fmla="*/ 9425923 w 12729702"/>
              <a:gd name="connsiteY6" fmla="*/ 2751537 h 3843400"/>
              <a:gd name="connsiteX7" fmla="*/ 7382045 w 12729702"/>
              <a:gd name="connsiteY7" fmla="*/ 2688395 h 3843400"/>
              <a:gd name="connsiteX8" fmla="*/ 7231733 w 12729702"/>
              <a:gd name="connsiteY8" fmla="*/ 2819918 h 3843400"/>
              <a:gd name="connsiteX9" fmla="*/ 7526094 w 12729702"/>
              <a:gd name="connsiteY9" fmla="*/ 2876285 h 3843400"/>
              <a:gd name="connsiteX10" fmla="*/ 6993738 w 12729702"/>
              <a:gd name="connsiteY10" fmla="*/ 2588187 h 3843400"/>
              <a:gd name="connsiteX0" fmla="*/ 0 w 12729702"/>
              <a:gd name="connsiteY0" fmla="*/ 3843401 h 3968746"/>
              <a:gd name="connsiteX1" fmla="*/ 4316510 w 12729702"/>
              <a:gd name="connsiteY1" fmla="*/ 3964476 h 3968746"/>
              <a:gd name="connsiteX2" fmla="*/ 7382045 w 12729702"/>
              <a:gd name="connsiteY2" fmla="*/ 2650817 h 3968746"/>
              <a:gd name="connsiteX3" fmla="*/ 8965934 w 12729702"/>
              <a:gd name="connsiteY3" fmla="*/ 949194 h 3968746"/>
              <a:gd name="connsiteX4" fmla="*/ 11145607 w 12729702"/>
              <a:gd name="connsiteY4" fmla="*/ 12937 h 3968746"/>
              <a:gd name="connsiteX5" fmla="*/ 12461349 w 12729702"/>
              <a:gd name="connsiteY5" fmla="*/ 1667524 h 3968746"/>
              <a:gd name="connsiteX6" fmla="*/ 9425923 w 12729702"/>
              <a:gd name="connsiteY6" fmla="*/ 2751537 h 3968746"/>
              <a:gd name="connsiteX7" fmla="*/ 7382045 w 12729702"/>
              <a:gd name="connsiteY7" fmla="*/ 2688395 h 3968746"/>
              <a:gd name="connsiteX8" fmla="*/ 7231733 w 12729702"/>
              <a:gd name="connsiteY8" fmla="*/ 2819918 h 3968746"/>
              <a:gd name="connsiteX9" fmla="*/ 7526094 w 12729702"/>
              <a:gd name="connsiteY9" fmla="*/ 2876285 h 3968746"/>
              <a:gd name="connsiteX10" fmla="*/ 6993738 w 12729702"/>
              <a:gd name="connsiteY10" fmla="*/ 2588187 h 3968746"/>
              <a:gd name="connsiteX0" fmla="*/ 0 w 12729702"/>
              <a:gd name="connsiteY0" fmla="*/ 3843401 h 3843401"/>
              <a:gd name="connsiteX1" fmla="*/ 4134034 w 12729702"/>
              <a:gd name="connsiteY1" fmla="*/ 3735521 h 3843401"/>
              <a:gd name="connsiteX2" fmla="*/ 7382045 w 12729702"/>
              <a:gd name="connsiteY2" fmla="*/ 2650817 h 3843401"/>
              <a:gd name="connsiteX3" fmla="*/ 8965934 w 12729702"/>
              <a:gd name="connsiteY3" fmla="*/ 949194 h 3843401"/>
              <a:gd name="connsiteX4" fmla="*/ 11145607 w 12729702"/>
              <a:gd name="connsiteY4" fmla="*/ 12937 h 3843401"/>
              <a:gd name="connsiteX5" fmla="*/ 12461349 w 12729702"/>
              <a:gd name="connsiteY5" fmla="*/ 1667524 h 3843401"/>
              <a:gd name="connsiteX6" fmla="*/ 9425923 w 12729702"/>
              <a:gd name="connsiteY6" fmla="*/ 2751537 h 3843401"/>
              <a:gd name="connsiteX7" fmla="*/ 7382045 w 12729702"/>
              <a:gd name="connsiteY7" fmla="*/ 2688395 h 3843401"/>
              <a:gd name="connsiteX8" fmla="*/ 7231733 w 12729702"/>
              <a:gd name="connsiteY8" fmla="*/ 2819918 h 3843401"/>
              <a:gd name="connsiteX9" fmla="*/ 7526094 w 12729702"/>
              <a:gd name="connsiteY9" fmla="*/ 2876285 h 3843401"/>
              <a:gd name="connsiteX10" fmla="*/ 6993738 w 12729702"/>
              <a:gd name="connsiteY10" fmla="*/ 2588187 h 3843401"/>
              <a:gd name="connsiteX0" fmla="*/ 0 w 12729702"/>
              <a:gd name="connsiteY0" fmla="*/ 3843401 h 3861962"/>
              <a:gd name="connsiteX1" fmla="*/ 4134034 w 12729702"/>
              <a:gd name="connsiteY1" fmla="*/ 3735521 h 3861962"/>
              <a:gd name="connsiteX2" fmla="*/ 7382045 w 12729702"/>
              <a:gd name="connsiteY2" fmla="*/ 2650817 h 3861962"/>
              <a:gd name="connsiteX3" fmla="*/ 8965934 w 12729702"/>
              <a:gd name="connsiteY3" fmla="*/ 949194 h 3861962"/>
              <a:gd name="connsiteX4" fmla="*/ 11145607 w 12729702"/>
              <a:gd name="connsiteY4" fmla="*/ 12937 h 3861962"/>
              <a:gd name="connsiteX5" fmla="*/ 12461349 w 12729702"/>
              <a:gd name="connsiteY5" fmla="*/ 1667524 h 3861962"/>
              <a:gd name="connsiteX6" fmla="*/ 9425923 w 12729702"/>
              <a:gd name="connsiteY6" fmla="*/ 2751537 h 3861962"/>
              <a:gd name="connsiteX7" fmla="*/ 7382045 w 12729702"/>
              <a:gd name="connsiteY7" fmla="*/ 2688395 h 3861962"/>
              <a:gd name="connsiteX8" fmla="*/ 7231733 w 12729702"/>
              <a:gd name="connsiteY8" fmla="*/ 2819918 h 3861962"/>
              <a:gd name="connsiteX9" fmla="*/ 7526094 w 12729702"/>
              <a:gd name="connsiteY9" fmla="*/ 2876285 h 3861962"/>
              <a:gd name="connsiteX10" fmla="*/ 6993738 w 12729702"/>
              <a:gd name="connsiteY10" fmla="*/ 2588187 h 3861962"/>
              <a:gd name="connsiteX0" fmla="*/ 0 w 18392182"/>
              <a:gd name="connsiteY0" fmla="*/ 3013416 h 3738770"/>
              <a:gd name="connsiteX1" fmla="*/ 9796514 w 18392182"/>
              <a:gd name="connsiteY1" fmla="*/ 3735521 h 3738770"/>
              <a:gd name="connsiteX2" fmla="*/ 13044525 w 18392182"/>
              <a:gd name="connsiteY2" fmla="*/ 2650817 h 3738770"/>
              <a:gd name="connsiteX3" fmla="*/ 14628414 w 18392182"/>
              <a:gd name="connsiteY3" fmla="*/ 949194 h 3738770"/>
              <a:gd name="connsiteX4" fmla="*/ 16808087 w 18392182"/>
              <a:gd name="connsiteY4" fmla="*/ 12937 h 3738770"/>
              <a:gd name="connsiteX5" fmla="*/ 18123829 w 18392182"/>
              <a:gd name="connsiteY5" fmla="*/ 1667524 h 3738770"/>
              <a:gd name="connsiteX6" fmla="*/ 15088403 w 18392182"/>
              <a:gd name="connsiteY6" fmla="*/ 2751537 h 3738770"/>
              <a:gd name="connsiteX7" fmla="*/ 13044525 w 18392182"/>
              <a:gd name="connsiteY7" fmla="*/ 2688395 h 3738770"/>
              <a:gd name="connsiteX8" fmla="*/ 12894213 w 18392182"/>
              <a:gd name="connsiteY8" fmla="*/ 2819918 h 3738770"/>
              <a:gd name="connsiteX9" fmla="*/ 13188574 w 18392182"/>
              <a:gd name="connsiteY9" fmla="*/ 2876285 h 3738770"/>
              <a:gd name="connsiteX10" fmla="*/ 12656218 w 18392182"/>
              <a:gd name="connsiteY10" fmla="*/ 2588187 h 3738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392182" h="3738770">
                <a:moveTo>
                  <a:pt x="0" y="3013416"/>
                </a:moveTo>
                <a:cubicBezTo>
                  <a:pt x="1322923" y="2993306"/>
                  <a:pt x="7622427" y="3795954"/>
                  <a:pt x="9796514" y="3735521"/>
                </a:cubicBezTo>
                <a:cubicBezTo>
                  <a:pt x="11970601" y="3675088"/>
                  <a:pt x="12239208" y="3115205"/>
                  <a:pt x="13044525" y="2650817"/>
                </a:cubicBezTo>
                <a:cubicBezTo>
                  <a:pt x="13849842" y="2186429"/>
                  <a:pt x="14001154" y="1388841"/>
                  <a:pt x="14628414" y="949194"/>
                </a:cubicBezTo>
                <a:cubicBezTo>
                  <a:pt x="15255674" y="509547"/>
                  <a:pt x="15941588" y="88417"/>
                  <a:pt x="16808087" y="12937"/>
                </a:cubicBezTo>
                <a:cubicBezTo>
                  <a:pt x="18482165" y="-132891"/>
                  <a:pt x="18656855" y="987981"/>
                  <a:pt x="18123829" y="1667524"/>
                </a:cubicBezTo>
                <a:cubicBezTo>
                  <a:pt x="17703380" y="2203546"/>
                  <a:pt x="15944332" y="2706013"/>
                  <a:pt x="15088403" y="2751537"/>
                </a:cubicBezTo>
                <a:cubicBezTo>
                  <a:pt x="14226142" y="2797398"/>
                  <a:pt x="13410223" y="2676998"/>
                  <a:pt x="13044525" y="2688395"/>
                </a:cubicBezTo>
                <a:cubicBezTo>
                  <a:pt x="12678827" y="2699792"/>
                  <a:pt x="12870205" y="2788603"/>
                  <a:pt x="12894213" y="2819918"/>
                </a:cubicBezTo>
                <a:cubicBezTo>
                  <a:pt x="12918221" y="2851233"/>
                  <a:pt x="13174862" y="2929923"/>
                  <a:pt x="13188574" y="2876285"/>
                </a:cubicBezTo>
                <a:cubicBezTo>
                  <a:pt x="13224064" y="2737455"/>
                  <a:pt x="12800267" y="2406559"/>
                  <a:pt x="12656218" y="2588187"/>
                </a:cubicBezTo>
              </a:path>
            </a:pathLst>
          </a:custGeom>
          <a:noFill/>
          <a:ln w="762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Freihandform 8"/>
          <p:cNvSpPr/>
          <p:nvPr/>
        </p:nvSpPr>
        <p:spPr>
          <a:xfrm rot="20983708">
            <a:off x="836988" y="3009228"/>
            <a:ext cx="5513949" cy="2187471"/>
          </a:xfrm>
          <a:custGeom>
            <a:avLst/>
            <a:gdLst>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3162822 w 7780257"/>
              <a:gd name="connsiteY34" fmla="*/ 2787041 h 3757808"/>
              <a:gd name="connsiteX35" fmla="*/ 2699359 w 7780257"/>
              <a:gd name="connsiteY35" fmla="*/ 2812093 h 3757808"/>
              <a:gd name="connsiteX36" fmla="*/ 2661781 w 7780257"/>
              <a:gd name="connsiteY36" fmla="*/ 2830882 h 3757808"/>
              <a:gd name="connsiteX37" fmla="*/ 2642992 w 7780257"/>
              <a:gd name="connsiteY37" fmla="*/ 2855934 h 3757808"/>
              <a:gd name="connsiteX38" fmla="*/ 2649255 w 7780257"/>
              <a:gd name="connsiteY38" fmla="*/ 2968668 h 3757808"/>
              <a:gd name="connsiteX39" fmla="*/ 2743200 w 7780257"/>
              <a:gd name="connsiteY39" fmla="*/ 2931090 h 3757808"/>
              <a:gd name="connsiteX40" fmla="*/ 2686833 w 7780257"/>
              <a:gd name="connsiteY40" fmla="*/ 2824619 h 3757808"/>
              <a:gd name="connsiteX41" fmla="*/ 2636729 w 7780257"/>
              <a:gd name="connsiteY41" fmla="*/ 2812093 h 3757808"/>
              <a:gd name="connsiteX42" fmla="*/ 2542784 w 7780257"/>
              <a:gd name="connsiteY42" fmla="*/ 2855934 h 3757808"/>
              <a:gd name="connsiteX43" fmla="*/ 2730674 w 7780257"/>
              <a:gd name="connsiteY43" fmla="*/ 2874723 h 3757808"/>
              <a:gd name="connsiteX44" fmla="*/ 2780778 w 7780257"/>
              <a:gd name="connsiteY44" fmla="*/ 2887249 h 3757808"/>
              <a:gd name="connsiteX45" fmla="*/ 2874723 w 7780257"/>
              <a:gd name="connsiteY45" fmla="*/ 2937353 h 3757808"/>
              <a:gd name="connsiteX46" fmla="*/ 2931090 w 7780257"/>
              <a:gd name="connsiteY46" fmla="*/ 3018772 h 3757808"/>
              <a:gd name="connsiteX47" fmla="*/ 2931090 w 7780257"/>
              <a:gd name="connsiteY47" fmla="*/ 3018772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3162822 w 7780257"/>
              <a:gd name="connsiteY34" fmla="*/ 2787041 h 3757808"/>
              <a:gd name="connsiteX35" fmla="*/ 2699359 w 7780257"/>
              <a:gd name="connsiteY35" fmla="*/ 2812093 h 3757808"/>
              <a:gd name="connsiteX36" fmla="*/ 2661781 w 7780257"/>
              <a:gd name="connsiteY36" fmla="*/ 2830882 h 3757808"/>
              <a:gd name="connsiteX37" fmla="*/ 2649255 w 7780257"/>
              <a:gd name="connsiteY37" fmla="*/ 2968668 h 3757808"/>
              <a:gd name="connsiteX38" fmla="*/ 2743200 w 7780257"/>
              <a:gd name="connsiteY38" fmla="*/ 2931090 h 3757808"/>
              <a:gd name="connsiteX39" fmla="*/ 2686833 w 7780257"/>
              <a:gd name="connsiteY39" fmla="*/ 2824619 h 3757808"/>
              <a:gd name="connsiteX40" fmla="*/ 2636729 w 7780257"/>
              <a:gd name="connsiteY40" fmla="*/ 2812093 h 3757808"/>
              <a:gd name="connsiteX41" fmla="*/ 2542784 w 7780257"/>
              <a:gd name="connsiteY41" fmla="*/ 2855934 h 3757808"/>
              <a:gd name="connsiteX42" fmla="*/ 2730674 w 7780257"/>
              <a:gd name="connsiteY42" fmla="*/ 2874723 h 3757808"/>
              <a:gd name="connsiteX43" fmla="*/ 2780778 w 7780257"/>
              <a:gd name="connsiteY43" fmla="*/ 2887249 h 3757808"/>
              <a:gd name="connsiteX44" fmla="*/ 2874723 w 7780257"/>
              <a:gd name="connsiteY44" fmla="*/ 2937353 h 3757808"/>
              <a:gd name="connsiteX45" fmla="*/ 2931090 w 7780257"/>
              <a:gd name="connsiteY45" fmla="*/ 3018772 h 3757808"/>
              <a:gd name="connsiteX46" fmla="*/ 2931090 w 7780257"/>
              <a:gd name="connsiteY46" fmla="*/ 3018772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3162822 w 7780257"/>
              <a:gd name="connsiteY34" fmla="*/ 2787041 h 3757808"/>
              <a:gd name="connsiteX35" fmla="*/ 2699359 w 7780257"/>
              <a:gd name="connsiteY35" fmla="*/ 2812093 h 3757808"/>
              <a:gd name="connsiteX36" fmla="*/ 2661781 w 7780257"/>
              <a:gd name="connsiteY36" fmla="*/ 2830882 h 3757808"/>
              <a:gd name="connsiteX37" fmla="*/ 2649255 w 7780257"/>
              <a:gd name="connsiteY37" fmla="*/ 2968668 h 3757808"/>
              <a:gd name="connsiteX38" fmla="*/ 2743200 w 7780257"/>
              <a:gd name="connsiteY38" fmla="*/ 2931090 h 3757808"/>
              <a:gd name="connsiteX39" fmla="*/ 2636729 w 7780257"/>
              <a:gd name="connsiteY39" fmla="*/ 2812093 h 3757808"/>
              <a:gd name="connsiteX40" fmla="*/ 2542784 w 7780257"/>
              <a:gd name="connsiteY40" fmla="*/ 2855934 h 3757808"/>
              <a:gd name="connsiteX41" fmla="*/ 2730674 w 7780257"/>
              <a:gd name="connsiteY41" fmla="*/ 2874723 h 3757808"/>
              <a:gd name="connsiteX42" fmla="*/ 2780778 w 7780257"/>
              <a:gd name="connsiteY42" fmla="*/ 2887249 h 3757808"/>
              <a:gd name="connsiteX43" fmla="*/ 2874723 w 7780257"/>
              <a:gd name="connsiteY43" fmla="*/ 2937353 h 3757808"/>
              <a:gd name="connsiteX44" fmla="*/ 2931090 w 7780257"/>
              <a:gd name="connsiteY44" fmla="*/ 3018772 h 3757808"/>
              <a:gd name="connsiteX45" fmla="*/ 2931090 w 7780257"/>
              <a:gd name="connsiteY45" fmla="*/ 3018772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3162822 w 7780257"/>
              <a:gd name="connsiteY34" fmla="*/ 2787041 h 3757808"/>
              <a:gd name="connsiteX35" fmla="*/ 2699359 w 7780257"/>
              <a:gd name="connsiteY35" fmla="*/ 2812093 h 3757808"/>
              <a:gd name="connsiteX36" fmla="*/ 2661781 w 7780257"/>
              <a:gd name="connsiteY36" fmla="*/ 2830882 h 3757808"/>
              <a:gd name="connsiteX37" fmla="*/ 2743200 w 7780257"/>
              <a:gd name="connsiteY37" fmla="*/ 2931090 h 3757808"/>
              <a:gd name="connsiteX38" fmla="*/ 2636729 w 7780257"/>
              <a:gd name="connsiteY38" fmla="*/ 2812093 h 3757808"/>
              <a:gd name="connsiteX39" fmla="*/ 2542784 w 7780257"/>
              <a:gd name="connsiteY39" fmla="*/ 2855934 h 3757808"/>
              <a:gd name="connsiteX40" fmla="*/ 2730674 w 7780257"/>
              <a:gd name="connsiteY40" fmla="*/ 2874723 h 3757808"/>
              <a:gd name="connsiteX41" fmla="*/ 2780778 w 7780257"/>
              <a:gd name="connsiteY41" fmla="*/ 2887249 h 3757808"/>
              <a:gd name="connsiteX42" fmla="*/ 2874723 w 7780257"/>
              <a:gd name="connsiteY42" fmla="*/ 2937353 h 3757808"/>
              <a:gd name="connsiteX43" fmla="*/ 2931090 w 7780257"/>
              <a:gd name="connsiteY43" fmla="*/ 3018772 h 3757808"/>
              <a:gd name="connsiteX44" fmla="*/ 2931090 w 7780257"/>
              <a:gd name="connsiteY44" fmla="*/ 3018772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3162822 w 7780257"/>
              <a:gd name="connsiteY34" fmla="*/ 2787041 h 3757808"/>
              <a:gd name="connsiteX35" fmla="*/ 2699359 w 7780257"/>
              <a:gd name="connsiteY35" fmla="*/ 2812093 h 3757808"/>
              <a:gd name="connsiteX36" fmla="*/ 2661781 w 7780257"/>
              <a:gd name="connsiteY36" fmla="*/ 2830882 h 3757808"/>
              <a:gd name="connsiteX37" fmla="*/ 2636729 w 7780257"/>
              <a:gd name="connsiteY37" fmla="*/ 2812093 h 3757808"/>
              <a:gd name="connsiteX38" fmla="*/ 2542784 w 7780257"/>
              <a:gd name="connsiteY38" fmla="*/ 2855934 h 3757808"/>
              <a:gd name="connsiteX39" fmla="*/ 2730674 w 7780257"/>
              <a:gd name="connsiteY39" fmla="*/ 2874723 h 3757808"/>
              <a:gd name="connsiteX40" fmla="*/ 2780778 w 7780257"/>
              <a:gd name="connsiteY40" fmla="*/ 2887249 h 3757808"/>
              <a:gd name="connsiteX41" fmla="*/ 2874723 w 7780257"/>
              <a:gd name="connsiteY41" fmla="*/ 2937353 h 3757808"/>
              <a:gd name="connsiteX42" fmla="*/ 2931090 w 7780257"/>
              <a:gd name="connsiteY42" fmla="*/ 3018772 h 3757808"/>
              <a:gd name="connsiteX43" fmla="*/ 2931090 w 7780257"/>
              <a:gd name="connsiteY43" fmla="*/ 3018772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661781 w 7780257"/>
              <a:gd name="connsiteY35" fmla="*/ 2830882 h 3757808"/>
              <a:gd name="connsiteX36" fmla="*/ 2636729 w 7780257"/>
              <a:gd name="connsiteY36" fmla="*/ 2812093 h 3757808"/>
              <a:gd name="connsiteX37" fmla="*/ 2542784 w 7780257"/>
              <a:gd name="connsiteY37" fmla="*/ 2855934 h 3757808"/>
              <a:gd name="connsiteX38" fmla="*/ 2730674 w 7780257"/>
              <a:gd name="connsiteY38" fmla="*/ 2874723 h 3757808"/>
              <a:gd name="connsiteX39" fmla="*/ 2780778 w 7780257"/>
              <a:gd name="connsiteY39" fmla="*/ 2887249 h 3757808"/>
              <a:gd name="connsiteX40" fmla="*/ 2874723 w 7780257"/>
              <a:gd name="connsiteY40" fmla="*/ 2937353 h 3757808"/>
              <a:gd name="connsiteX41" fmla="*/ 2931090 w 7780257"/>
              <a:gd name="connsiteY41" fmla="*/ 3018772 h 3757808"/>
              <a:gd name="connsiteX42" fmla="*/ 2931090 w 7780257"/>
              <a:gd name="connsiteY42" fmla="*/ 3018772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661781 w 7780257"/>
              <a:gd name="connsiteY35" fmla="*/ 2830882 h 3757808"/>
              <a:gd name="connsiteX36" fmla="*/ 2636729 w 7780257"/>
              <a:gd name="connsiteY36" fmla="*/ 2812093 h 3757808"/>
              <a:gd name="connsiteX37" fmla="*/ 2730674 w 7780257"/>
              <a:gd name="connsiteY37" fmla="*/ 2874723 h 3757808"/>
              <a:gd name="connsiteX38" fmla="*/ 2780778 w 7780257"/>
              <a:gd name="connsiteY38" fmla="*/ 2887249 h 3757808"/>
              <a:gd name="connsiteX39" fmla="*/ 2874723 w 7780257"/>
              <a:gd name="connsiteY39" fmla="*/ 2937353 h 3757808"/>
              <a:gd name="connsiteX40" fmla="*/ 2931090 w 7780257"/>
              <a:gd name="connsiteY40" fmla="*/ 3018772 h 3757808"/>
              <a:gd name="connsiteX41" fmla="*/ 2931090 w 7780257"/>
              <a:gd name="connsiteY41" fmla="*/ 3018772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661781 w 7780257"/>
              <a:gd name="connsiteY35" fmla="*/ 2830882 h 3757808"/>
              <a:gd name="connsiteX36" fmla="*/ 2492679 w 7780257"/>
              <a:gd name="connsiteY36" fmla="*/ 2874723 h 3757808"/>
              <a:gd name="connsiteX37" fmla="*/ 2730674 w 7780257"/>
              <a:gd name="connsiteY37" fmla="*/ 2874723 h 3757808"/>
              <a:gd name="connsiteX38" fmla="*/ 2780778 w 7780257"/>
              <a:gd name="connsiteY38" fmla="*/ 2887249 h 3757808"/>
              <a:gd name="connsiteX39" fmla="*/ 2874723 w 7780257"/>
              <a:gd name="connsiteY39" fmla="*/ 2937353 h 3757808"/>
              <a:gd name="connsiteX40" fmla="*/ 2931090 w 7780257"/>
              <a:gd name="connsiteY40" fmla="*/ 3018772 h 3757808"/>
              <a:gd name="connsiteX41" fmla="*/ 2931090 w 7780257"/>
              <a:gd name="connsiteY41" fmla="*/ 3018772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492679 w 7780257"/>
              <a:gd name="connsiteY35" fmla="*/ 2874723 h 3757808"/>
              <a:gd name="connsiteX36" fmla="*/ 2730674 w 7780257"/>
              <a:gd name="connsiteY36" fmla="*/ 2874723 h 3757808"/>
              <a:gd name="connsiteX37" fmla="*/ 2780778 w 7780257"/>
              <a:gd name="connsiteY37" fmla="*/ 2887249 h 3757808"/>
              <a:gd name="connsiteX38" fmla="*/ 2874723 w 7780257"/>
              <a:gd name="connsiteY38" fmla="*/ 2937353 h 3757808"/>
              <a:gd name="connsiteX39" fmla="*/ 2931090 w 7780257"/>
              <a:gd name="connsiteY39" fmla="*/ 3018772 h 3757808"/>
              <a:gd name="connsiteX40" fmla="*/ 2931090 w 7780257"/>
              <a:gd name="connsiteY40" fmla="*/ 3018772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492679 w 7780257"/>
              <a:gd name="connsiteY35" fmla="*/ 2874723 h 3757808"/>
              <a:gd name="connsiteX36" fmla="*/ 2693096 w 7780257"/>
              <a:gd name="connsiteY36" fmla="*/ 2937353 h 3757808"/>
              <a:gd name="connsiteX37" fmla="*/ 2780778 w 7780257"/>
              <a:gd name="connsiteY37" fmla="*/ 2887249 h 3757808"/>
              <a:gd name="connsiteX38" fmla="*/ 2874723 w 7780257"/>
              <a:gd name="connsiteY38" fmla="*/ 2937353 h 3757808"/>
              <a:gd name="connsiteX39" fmla="*/ 2931090 w 7780257"/>
              <a:gd name="connsiteY39" fmla="*/ 3018772 h 3757808"/>
              <a:gd name="connsiteX40" fmla="*/ 2931090 w 7780257"/>
              <a:gd name="connsiteY40" fmla="*/ 3018772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492679 w 7780257"/>
              <a:gd name="connsiteY35" fmla="*/ 2874723 h 3757808"/>
              <a:gd name="connsiteX36" fmla="*/ 2693096 w 7780257"/>
              <a:gd name="connsiteY36" fmla="*/ 2937353 h 3757808"/>
              <a:gd name="connsiteX37" fmla="*/ 2780778 w 7780257"/>
              <a:gd name="connsiteY37" fmla="*/ 2937353 h 3757808"/>
              <a:gd name="connsiteX38" fmla="*/ 2874723 w 7780257"/>
              <a:gd name="connsiteY38" fmla="*/ 2937353 h 3757808"/>
              <a:gd name="connsiteX39" fmla="*/ 2931090 w 7780257"/>
              <a:gd name="connsiteY39" fmla="*/ 3018772 h 3757808"/>
              <a:gd name="connsiteX40" fmla="*/ 2931090 w 7780257"/>
              <a:gd name="connsiteY40" fmla="*/ 3018772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492679 w 7780257"/>
              <a:gd name="connsiteY35" fmla="*/ 2874723 h 3757808"/>
              <a:gd name="connsiteX36" fmla="*/ 2693096 w 7780257"/>
              <a:gd name="connsiteY36" fmla="*/ 2937353 h 3757808"/>
              <a:gd name="connsiteX37" fmla="*/ 2874723 w 7780257"/>
              <a:gd name="connsiteY37" fmla="*/ 2937353 h 3757808"/>
              <a:gd name="connsiteX38" fmla="*/ 2931090 w 7780257"/>
              <a:gd name="connsiteY38" fmla="*/ 3018772 h 3757808"/>
              <a:gd name="connsiteX39" fmla="*/ 2931090 w 7780257"/>
              <a:gd name="connsiteY39" fmla="*/ 3018772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486416 w 7780257"/>
              <a:gd name="connsiteY35" fmla="*/ 2824619 h 3757808"/>
              <a:gd name="connsiteX36" fmla="*/ 2693096 w 7780257"/>
              <a:gd name="connsiteY36" fmla="*/ 2937353 h 3757808"/>
              <a:gd name="connsiteX37" fmla="*/ 2874723 w 7780257"/>
              <a:gd name="connsiteY37" fmla="*/ 2937353 h 3757808"/>
              <a:gd name="connsiteX38" fmla="*/ 2931090 w 7780257"/>
              <a:gd name="connsiteY38" fmla="*/ 3018772 h 3757808"/>
              <a:gd name="connsiteX39" fmla="*/ 2931090 w 7780257"/>
              <a:gd name="connsiteY39" fmla="*/ 3018772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486416 w 7780257"/>
              <a:gd name="connsiteY35" fmla="*/ 2824619 h 3757808"/>
              <a:gd name="connsiteX36" fmla="*/ 2549047 w 7780257"/>
              <a:gd name="connsiteY36" fmla="*/ 2943616 h 3757808"/>
              <a:gd name="connsiteX37" fmla="*/ 2874723 w 7780257"/>
              <a:gd name="connsiteY37" fmla="*/ 2937353 h 3757808"/>
              <a:gd name="connsiteX38" fmla="*/ 2931090 w 7780257"/>
              <a:gd name="connsiteY38" fmla="*/ 3018772 h 3757808"/>
              <a:gd name="connsiteX39" fmla="*/ 2931090 w 7780257"/>
              <a:gd name="connsiteY39" fmla="*/ 3018772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505205 w 7780257"/>
              <a:gd name="connsiteY35" fmla="*/ 2799567 h 3757808"/>
              <a:gd name="connsiteX36" fmla="*/ 2549047 w 7780257"/>
              <a:gd name="connsiteY36" fmla="*/ 2943616 h 3757808"/>
              <a:gd name="connsiteX37" fmla="*/ 2874723 w 7780257"/>
              <a:gd name="connsiteY37" fmla="*/ 2937353 h 3757808"/>
              <a:gd name="connsiteX38" fmla="*/ 2931090 w 7780257"/>
              <a:gd name="connsiteY38" fmla="*/ 3018772 h 3757808"/>
              <a:gd name="connsiteX39" fmla="*/ 2931090 w 7780257"/>
              <a:gd name="connsiteY39" fmla="*/ 3018772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549047 w 7780257"/>
              <a:gd name="connsiteY35" fmla="*/ 2943616 h 3757808"/>
              <a:gd name="connsiteX36" fmla="*/ 2874723 w 7780257"/>
              <a:gd name="connsiteY36" fmla="*/ 2937353 h 3757808"/>
              <a:gd name="connsiteX37" fmla="*/ 2931090 w 7780257"/>
              <a:gd name="connsiteY37" fmla="*/ 3018772 h 3757808"/>
              <a:gd name="connsiteX38" fmla="*/ 2931090 w 7780257"/>
              <a:gd name="connsiteY38" fmla="*/ 3018772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549047 w 7780257"/>
              <a:gd name="connsiteY35" fmla="*/ 2943616 h 3757808"/>
              <a:gd name="connsiteX36" fmla="*/ 2874723 w 7780257"/>
              <a:gd name="connsiteY36" fmla="*/ 2937353 h 3757808"/>
              <a:gd name="connsiteX37" fmla="*/ 2931090 w 7780257"/>
              <a:gd name="connsiteY37" fmla="*/ 3018772 h 3757808"/>
              <a:gd name="connsiteX38" fmla="*/ 2517732 w 7780257"/>
              <a:gd name="connsiteY38" fmla="*/ 2661781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549047 w 7780257"/>
              <a:gd name="connsiteY35" fmla="*/ 2943616 h 3757808"/>
              <a:gd name="connsiteX36" fmla="*/ 2931090 w 7780257"/>
              <a:gd name="connsiteY36" fmla="*/ 3018772 h 3757808"/>
              <a:gd name="connsiteX37" fmla="*/ 2517732 w 7780257"/>
              <a:gd name="connsiteY37" fmla="*/ 2661781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549047 w 7780257"/>
              <a:gd name="connsiteY35" fmla="*/ 2943616 h 3757808"/>
              <a:gd name="connsiteX36" fmla="*/ 2931090 w 7780257"/>
              <a:gd name="connsiteY36" fmla="*/ 3018772 h 3757808"/>
              <a:gd name="connsiteX37" fmla="*/ 2373682 w 7780257"/>
              <a:gd name="connsiteY37" fmla="*/ 2567835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549047 w 7780257"/>
              <a:gd name="connsiteY35" fmla="*/ 2943616 h 3757808"/>
              <a:gd name="connsiteX36" fmla="*/ 2843408 w 7780257"/>
              <a:gd name="connsiteY36" fmla="*/ 2999983 h 3757808"/>
              <a:gd name="connsiteX37" fmla="*/ 2373682 w 7780257"/>
              <a:gd name="connsiteY37" fmla="*/ 2567835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549047 w 7780257"/>
              <a:gd name="connsiteY35" fmla="*/ 2943616 h 3757808"/>
              <a:gd name="connsiteX36" fmla="*/ 2843408 w 7780257"/>
              <a:gd name="connsiteY36" fmla="*/ 2999983 h 3757808"/>
              <a:gd name="connsiteX37" fmla="*/ 2373682 w 7780257"/>
              <a:gd name="connsiteY37" fmla="*/ 2567835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549047 w 7780257"/>
              <a:gd name="connsiteY35" fmla="*/ 2943616 h 3757808"/>
              <a:gd name="connsiteX36" fmla="*/ 2843408 w 7780257"/>
              <a:gd name="connsiteY36" fmla="*/ 2999983 h 3757808"/>
              <a:gd name="connsiteX37" fmla="*/ 2311052 w 7780257"/>
              <a:gd name="connsiteY37" fmla="*/ 2711885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549047 w 7780257"/>
              <a:gd name="connsiteY35" fmla="*/ 2943616 h 3757808"/>
              <a:gd name="connsiteX36" fmla="*/ 2843408 w 7780257"/>
              <a:gd name="connsiteY36" fmla="*/ 2999983 h 3757808"/>
              <a:gd name="connsiteX37" fmla="*/ 2311052 w 7780257"/>
              <a:gd name="connsiteY37" fmla="*/ 2711885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549047 w 7780257"/>
              <a:gd name="connsiteY35" fmla="*/ 2943616 h 3757808"/>
              <a:gd name="connsiteX36" fmla="*/ 2843408 w 7780257"/>
              <a:gd name="connsiteY36" fmla="*/ 2999983 h 3757808"/>
              <a:gd name="connsiteX37" fmla="*/ 2311052 w 7780257"/>
              <a:gd name="connsiteY37" fmla="*/ 2711885 h 3757808"/>
              <a:gd name="connsiteX0" fmla="*/ 2935373 w 10715630"/>
              <a:gd name="connsiteY0" fmla="*/ 3757808 h 3799348"/>
              <a:gd name="connsiteX1" fmla="*/ 0 w 10715630"/>
              <a:gd name="connsiteY1" fmla="*/ 3799348 h 3799348"/>
              <a:gd name="connsiteX2" fmla="*/ 3968770 w 10715630"/>
              <a:gd name="connsiteY2" fmla="*/ 3739019 h 3799348"/>
              <a:gd name="connsiteX3" fmla="*/ 4162924 w 10715630"/>
              <a:gd name="connsiteY3" fmla="*/ 3720230 h 3799348"/>
              <a:gd name="connsiteX4" fmla="*/ 4344551 w 10715630"/>
              <a:gd name="connsiteY4" fmla="*/ 3682652 h 3799348"/>
              <a:gd name="connsiteX5" fmla="*/ 4876907 w 10715630"/>
              <a:gd name="connsiteY5" fmla="*/ 3482235 h 3799348"/>
              <a:gd name="connsiteX6" fmla="*/ 5321581 w 10715630"/>
              <a:gd name="connsiteY6" fmla="*/ 3156559 h 3799348"/>
              <a:gd name="connsiteX7" fmla="*/ 5634732 w 10715630"/>
              <a:gd name="connsiteY7" fmla="*/ 2774515 h 3799348"/>
              <a:gd name="connsiteX8" fmla="*/ 5716151 w 10715630"/>
              <a:gd name="connsiteY8" fmla="*/ 2617939 h 3799348"/>
              <a:gd name="connsiteX9" fmla="*/ 5866463 w 10715630"/>
              <a:gd name="connsiteY9" fmla="*/ 2254685 h 3799348"/>
              <a:gd name="connsiteX10" fmla="*/ 5997987 w 10715630"/>
              <a:gd name="connsiteY10" fmla="*/ 1803748 h 3799348"/>
              <a:gd name="connsiteX11" fmla="*/ 6411346 w 10715630"/>
              <a:gd name="connsiteY11" fmla="*/ 1108553 h 3799348"/>
              <a:gd name="connsiteX12" fmla="*/ 6693181 w 10715630"/>
              <a:gd name="connsiteY12" fmla="*/ 770350 h 3799348"/>
              <a:gd name="connsiteX13" fmla="*/ 6843494 w 10715630"/>
              <a:gd name="connsiteY13" fmla="*/ 632564 h 3799348"/>
              <a:gd name="connsiteX14" fmla="*/ 7306957 w 10715630"/>
              <a:gd name="connsiteY14" fmla="*/ 319413 h 3799348"/>
              <a:gd name="connsiteX15" fmla="*/ 7826787 w 10715630"/>
              <a:gd name="connsiteY15" fmla="*/ 112734 h 3799348"/>
              <a:gd name="connsiteX16" fmla="*/ 8071044 w 10715630"/>
              <a:gd name="connsiteY16" fmla="*/ 43841 h 3799348"/>
              <a:gd name="connsiteX17" fmla="*/ 8534507 w 10715630"/>
              <a:gd name="connsiteY17" fmla="*/ 0 h 3799348"/>
              <a:gd name="connsiteX18" fmla="*/ 9142020 w 10715630"/>
              <a:gd name="connsiteY18" fmla="*/ 31315 h 3799348"/>
              <a:gd name="connsiteX19" fmla="*/ 9386277 w 10715630"/>
              <a:gd name="connsiteY19" fmla="*/ 93945 h 3799348"/>
              <a:gd name="connsiteX20" fmla="*/ 9592957 w 10715630"/>
              <a:gd name="connsiteY20" fmla="*/ 169101 h 3799348"/>
              <a:gd name="connsiteX21" fmla="*/ 9981263 w 10715630"/>
              <a:gd name="connsiteY21" fmla="*/ 375781 h 3799348"/>
              <a:gd name="connsiteX22" fmla="*/ 10425937 w 10715630"/>
              <a:gd name="connsiteY22" fmla="*/ 751561 h 3799348"/>
              <a:gd name="connsiteX23" fmla="*/ 10670195 w 10715630"/>
              <a:gd name="connsiteY23" fmla="*/ 1240076 h 3799348"/>
              <a:gd name="connsiteX24" fmla="*/ 10714036 w 10715630"/>
              <a:gd name="connsiteY24" fmla="*/ 1791222 h 3799348"/>
              <a:gd name="connsiteX25" fmla="*/ 10707773 w 10715630"/>
              <a:gd name="connsiteY25" fmla="*/ 2035479 h 3799348"/>
              <a:gd name="connsiteX26" fmla="*/ 10632617 w 10715630"/>
              <a:gd name="connsiteY26" fmla="*/ 2311052 h 3799348"/>
              <a:gd name="connsiteX27" fmla="*/ 10432200 w 10715630"/>
              <a:gd name="connsiteY27" fmla="*/ 2680570 h 3799348"/>
              <a:gd name="connsiteX28" fmla="*/ 10269362 w 10715630"/>
              <a:gd name="connsiteY28" fmla="*/ 2843408 h 3799348"/>
              <a:gd name="connsiteX29" fmla="*/ 10012578 w 10715630"/>
              <a:gd name="connsiteY29" fmla="*/ 2987457 h 3799348"/>
              <a:gd name="connsiteX30" fmla="*/ 9430118 w 10715630"/>
              <a:gd name="connsiteY30" fmla="*/ 3118981 h 3799348"/>
              <a:gd name="connsiteX31" fmla="*/ 8496929 w 10715630"/>
              <a:gd name="connsiteY31" fmla="*/ 3106455 h 3799348"/>
              <a:gd name="connsiteX32" fmla="*/ 7632633 w 10715630"/>
              <a:gd name="connsiteY32" fmla="*/ 3043824 h 3799348"/>
              <a:gd name="connsiteX33" fmla="*/ 7106540 w 10715630"/>
              <a:gd name="connsiteY33" fmla="*/ 2974931 h 3799348"/>
              <a:gd name="connsiteX34" fmla="*/ 5634732 w 10715630"/>
              <a:gd name="connsiteY34" fmla="*/ 2812093 h 3799348"/>
              <a:gd name="connsiteX35" fmla="*/ 5484420 w 10715630"/>
              <a:gd name="connsiteY35" fmla="*/ 2943616 h 3799348"/>
              <a:gd name="connsiteX36" fmla="*/ 5778781 w 10715630"/>
              <a:gd name="connsiteY36" fmla="*/ 2999983 h 3799348"/>
              <a:gd name="connsiteX37" fmla="*/ 5246425 w 10715630"/>
              <a:gd name="connsiteY37" fmla="*/ 2711885 h 3799348"/>
              <a:gd name="connsiteX0" fmla="*/ 2935373 w 10715630"/>
              <a:gd name="connsiteY0" fmla="*/ 3757808 h 3799348"/>
              <a:gd name="connsiteX1" fmla="*/ 0 w 10715630"/>
              <a:gd name="connsiteY1" fmla="*/ 3799348 h 3799348"/>
              <a:gd name="connsiteX2" fmla="*/ 3968770 w 10715630"/>
              <a:gd name="connsiteY2" fmla="*/ 3739019 h 3799348"/>
              <a:gd name="connsiteX3" fmla="*/ 4344551 w 10715630"/>
              <a:gd name="connsiteY3" fmla="*/ 3682652 h 3799348"/>
              <a:gd name="connsiteX4" fmla="*/ 4876907 w 10715630"/>
              <a:gd name="connsiteY4" fmla="*/ 3482235 h 3799348"/>
              <a:gd name="connsiteX5" fmla="*/ 5321581 w 10715630"/>
              <a:gd name="connsiteY5" fmla="*/ 3156559 h 3799348"/>
              <a:gd name="connsiteX6" fmla="*/ 5634732 w 10715630"/>
              <a:gd name="connsiteY6" fmla="*/ 2774515 h 3799348"/>
              <a:gd name="connsiteX7" fmla="*/ 5716151 w 10715630"/>
              <a:gd name="connsiteY7" fmla="*/ 2617939 h 3799348"/>
              <a:gd name="connsiteX8" fmla="*/ 5866463 w 10715630"/>
              <a:gd name="connsiteY8" fmla="*/ 2254685 h 3799348"/>
              <a:gd name="connsiteX9" fmla="*/ 5997987 w 10715630"/>
              <a:gd name="connsiteY9" fmla="*/ 1803748 h 3799348"/>
              <a:gd name="connsiteX10" fmla="*/ 6411346 w 10715630"/>
              <a:gd name="connsiteY10" fmla="*/ 1108553 h 3799348"/>
              <a:gd name="connsiteX11" fmla="*/ 6693181 w 10715630"/>
              <a:gd name="connsiteY11" fmla="*/ 770350 h 3799348"/>
              <a:gd name="connsiteX12" fmla="*/ 6843494 w 10715630"/>
              <a:gd name="connsiteY12" fmla="*/ 632564 h 3799348"/>
              <a:gd name="connsiteX13" fmla="*/ 7306957 w 10715630"/>
              <a:gd name="connsiteY13" fmla="*/ 319413 h 3799348"/>
              <a:gd name="connsiteX14" fmla="*/ 7826787 w 10715630"/>
              <a:gd name="connsiteY14" fmla="*/ 112734 h 3799348"/>
              <a:gd name="connsiteX15" fmla="*/ 8071044 w 10715630"/>
              <a:gd name="connsiteY15" fmla="*/ 43841 h 3799348"/>
              <a:gd name="connsiteX16" fmla="*/ 8534507 w 10715630"/>
              <a:gd name="connsiteY16" fmla="*/ 0 h 3799348"/>
              <a:gd name="connsiteX17" fmla="*/ 9142020 w 10715630"/>
              <a:gd name="connsiteY17" fmla="*/ 31315 h 3799348"/>
              <a:gd name="connsiteX18" fmla="*/ 9386277 w 10715630"/>
              <a:gd name="connsiteY18" fmla="*/ 93945 h 3799348"/>
              <a:gd name="connsiteX19" fmla="*/ 9592957 w 10715630"/>
              <a:gd name="connsiteY19" fmla="*/ 169101 h 3799348"/>
              <a:gd name="connsiteX20" fmla="*/ 9981263 w 10715630"/>
              <a:gd name="connsiteY20" fmla="*/ 375781 h 3799348"/>
              <a:gd name="connsiteX21" fmla="*/ 10425937 w 10715630"/>
              <a:gd name="connsiteY21" fmla="*/ 751561 h 3799348"/>
              <a:gd name="connsiteX22" fmla="*/ 10670195 w 10715630"/>
              <a:gd name="connsiteY22" fmla="*/ 1240076 h 3799348"/>
              <a:gd name="connsiteX23" fmla="*/ 10714036 w 10715630"/>
              <a:gd name="connsiteY23" fmla="*/ 1791222 h 3799348"/>
              <a:gd name="connsiteX24" fmla="*/ 10707773 w 10715630"/>
              <a:gd name="connsiteY24" fmla="*/ 2035479 h 3799348"/>
              <a:gd name="connsiteX25" fmla="*/ 10632617 w 10715630"/>
              <a:gd name="connsiteY25" fmla="*/ 2311052 h 3799348"/>
              <a:gd name="connsiteX26" fmla="*/ 10432200 w 10715630"/>
              <a:gd name="connsiteY26" fmla="*/ 2680570 h 3799348"/>
              <a:gd name="connsiteX27" fmla="*/ 10269362 w 10715630"/>
              <a:gd name="connsiteY27" fmla="*/ 2843408 h 3799348"/>
              <a:gd name="connsiteX28" fmla="*/ 10012578 w 10715630"/>
              <a:gd name="connsiteY28" fmla="*/ 2987457 h 3799348"/>
              <a:gd name="connsiteX29" fmla="*/ 9430118 w 10715630"/>
              <a:gd name="connsiteY29" fmla="*/ 3118981 h 3799348"/>
              <a:gd name="connsiteX30" fmla="*/ 8496929 w 10715630"/>
              <a:gd name="connsiteY30" fmla="*/ 3106455 h 3799348"/>
              <a:gd name="connsiteX31" fmla="*/ 7632633 w 10715630"/>
              <a:gd name="connsiteY31" fmla="*/ 3043824 h 3799348"/>
              <a:gd name="connsiteX32" fmla="*/ 7106540 w 10715630"/>
              <a:gd name="connsiteY32" fmla="*/ 2974931 h 3799348"/>
              <a:gd name="connsiteX33" fmla="*/ 5634732 w 10715630"/>
              <a:gd name="connsiteY33" fmla="*/ 2812093 h 3799348"/>
              <a:gd name="connsiteX34" fmla="*/ 5484420 w 10715630"/>
              <a:gd name="connsiteY34" fmla="*/ 2943616 h 3799348"/>
              <a:gd name="connsiteX35" fmla="*/ 5778781 w 10715630"/>
              <a:gd name="connsiteY35" fmla="*/ 2999983 h 3799348"/>
              <a:gd name="connsiteX36" fmla="*/ 5246425 w 10715630"/>
              <a:gd name="connsiteY36" fmla="*/ 2711885 h 3799348"/>
              <a:gd name="connsiteX0" fmla="*/ 2935373 w 10715630"/>
              <a:gd name="connsiteY0" fmla="*/ 3757808 h 3799348"/>
              <a:gd name="connsiteX1" fmla="*/ 0 w 10715630"/>
              <a:gd name="connsiteY1" fmla="*/ 3799348 h 3799348"/>
              <a:gd name="connsiteX2" fmla="*/ 3968770 w 10715630"/>
              <a:gd name="connsiteY2" fmla="*/ 3739019 h 3799348"/>
              <a:gd name="connsiteX3" fmla="*/ 4876907 w 10715630"/>
              <a:gd name="connsiteY3" fmla="*/ 3482235 h 3799348"/>
              <a:gd name="connsiteX4" fmla="*/ 5321581 w 10715630"/>
              <a:gd name="connsiteY4" fmla="*/ 3156559 h 3799348"/>
              <a:gd name="connsiteX5" fmla="*/ 5634732 w 10715630"/>
              <a:gd name="connsiteY5" fmla="*/ 2774515 h 3799348"/>
              <a:gd name="connsiteX6" fmla="*/ 5716151 w 10715630"/>
              <a:gd name="connsiteY6" fmla="*/ 2617939 h 3799348"/>
              <a:gd name="connsiteX7" fmla="*/ 5866463 w 10715630"/>
              <a:gd name="connsiteY7" fmla="*/ 2254685 h 3799348"/>
              <a:gd name="connsiteX8" fmla="*/ 5997987 w 10715630"/>
              <a:gd name="connsiteY8" fmla="*/ 1803748 h 3799348"/>
              <a:gd name="connsiteX9" fmla="*/ 6411346 w 10715630"/>
              <a:gd name="connsiteY9" fmla="*/ 1108553 h 3799348"/>
              <a:gd name="connsiteX10" fmla="*/ 6693181 w 10715630"/>
              <a:gd name="connsiteY10" fmla="*/ 770350 h 3799348"/>
              <a:gd name="connsiteX11" fmla="*/ 6843494 w 10715630"/>
              <a:gd name="connsiteY11" fmla="*/ 632564 h 3799348"/>
              <a:gd name="connsiteX12" fmla="*/ 7306957 w 10715630"/>
              <a:gd name="connsiteY12" fmla="*/ 319413 h 3799348"/>
              <a:gd name="connsiteX13" fmla="*/ 7826787 w 10715630"/>
              <a:gd name="connsiteY13" fmla="*/ 112734 h 3799348"/>
              <a:gd name="connsiteX14" fmla="*/ 8071044 w 10715630"/>
              <a:gd name="connsiteY14" fmla="*/ 43841 h 3799348"/>
              <a:gd name="connsiteX15" fmla="*/ 8534507 w 10715630"/>
              <a:gd name="connsiteY15" fmla="*/ 0 h 3799348"/>
              <a:gd name="connsiteX16" fmla="*/ 9142020 w 10715630"/>
              <a:gd name="connsiteY16" fmla="*/ 31315 h 3799348"/>
              <a:gd name="connsiteX17" fmla="*/ 9386277 w 10715630"/>
              <a:gd name="connsiteY17" fmla="*/ 93945 h 3799348"/>
              <a:gd name="connsiteX18" fmla="*/ 9592957 w 10715630"/>
              <a:gd name="connsiteY18" fmla="*/ 169101 h 3799348"/>
              <a:gd name="connsiteX19" fmla="*/ 9981263 w 10715630"/>
              <a:gd name="connsiteY19" fmla="*/ 375781 h 3799348"/>
              <a:gd name="connsiteX20" fmla="*/ 10425937 w 10715630"/>
              <a:gd name="connsiteY20" fmla="*/ 751561 h 3799348"/>
              <a:gd name="connsiteX21" fmla="*/ 10670195 w 10715630"/>
              <a:gd name="connsiteY21" fmla="*/ 1240076 h 3799348"/>
              <a:gd name="connsiteX22" fmla="*/ 10714036 w 10715630"/>
              <a:gd name="connsiteY22" fmla="*/ 1791222 h 3799348"/>
              <a:gd name="connsiteX23" fmla="*/ 10707773 w 10715630"/>
              <a:gd name="connsiteY23" fmla="*/ 2035479 h 3799348"/>
              <a:gd name="connsiteX24" fmla="*/ 10632617 w 10715630"/>
              <a:gd name="connsiteY24" fmla="*/ 2311052 h 3799348"/>
              <a:gd name="connsiteX25" fmla="*/ 10432200 w 10715630"/>
              <a:gd name="connsiteY25" fmla="*/ 2680570 h 3799348"/>
              <a:gd name="connsiteX26" fmla="*/ 10269362 w 10715630"/>
              <a:gd name="connsiteY26" fmla="*/ 2843408 h 3799348"/>
              <a:gd name="connsiteX27" fmla="*/ 10012578 w 10715630"/>
              <a:gd name="connsiteY27" fmla="*/ 2987457 h 3799348"/>
              <a:gd name="connsiteX28" fmla="*/ 9430118 w 10715630"/>
              <a:gd name="connsiteY28" fmla="*/ 3118981 h 3799348"/>
              <a:gd name="connsiteX29" fmla="*/ 8496929 w 10715630"/>
              <a:gd name="connsiteY29" fmla="*/ 3106455 h 3799348"/>
              <a:gd name="connsiteX30" fmla="*/ 7632633 w 10715630"/>
              <a:gd name="connsiteY30" fmla="*/ 3043824 h 3799348"/>
              <a:gd name="connsiteX31" fmla="*/ 7106540 w 10715630"/>
              <a:gd name="connsiteY31" fmla="*/ 2974931 h 3799348"/>
              <a:gd name="connsiteX32" fmla="*/ 5634732 w 10715630"/>
              <a:gd name="connsiteY32" fmla="*/ 2812093 h 3799348"/>
              <a:gd name="connsiteX33" fmla="*/ 5484420 w 10715630"/>
              <a:gd name="connsiteY33" fmla="*/ 2943616 h 3799348"/>
              <a:gd name="connsiteX34" fmla="*/ 5778781 w 10715630"/>
              <a:gd name="connsiteY34" fmla="*/ 2999983 h 3799348"/>
              <a:gd name="connsiteX35" fmla="*/ 5246425 w 10715630"/>
              <a:gd name="connsiteY35" fmla="*/ 2711885 h 3799348"/>
              <a:gd name="connsiteX0" fmla="*/ 2935373 w 10715630"/>
              <a:gd name="connsiteY0" fmla="*/ 3757808 h 3799348"/>
              <a:gd name="connsiteX1" fmla="*/ 0 w 10715630"/>
              <a:gd name="connsiteY1" fmla="*/ 3799348 h 3799348"/>
              <a:gd name="connsiteX2" fmla="*/ 3968770 w 10715630"/>
              <a:gd name="connsiteY2" fmla="*/ 3739019 h 3799348"/>
              <a:gd name="connsiteX3" fmla="*/ 5321581 w 10715630"/>
              <a:gd name="connsiteY3" fmla="*/ 3156559 h 3799348"/>
              <a:gd name="connsiteX4" fmla="*/ 5634732 w 10715630"/>
              <a:gd name="connsiteY4" fmla="*/ 2774515 h 3799348"/>
              <a:gd name="connsiteX5" fmla="*/ 5716151 w 10715630"/>
              <a:gd name="connsiteY5" fmla="*/ 2617939 h 3799348"/>
              <a:gd name="connsiteX6" fmla="*/ 5866463 w 10715630"/>
              <a:gd name="connsiteY6" fmla="*/ 2254685 h 3799348"/>
              <a:gd name="connsiteX7" fmla="*/ 5997987 w 10715630"/>
              <a:gd name="connsiteY7" fmla="*/ 1803748 h 3799348"/>
              <a:gd name="connsiteX8" fmla="*/ 6411346 w 10715630"/>
              <a:gd name="connsiteY8" fmla="*/ 1108553 h 3799348"/>
              <a:gd name="connsiteX9" fmla="*/ 6693181 w 10715630"/>
              <a:gd name="connsiteY9" fmla="*/ 770350 h 3799348"/>
              <a:gd name="connsiteX10" fmla="*/ 6843494 w 10715630"/>
              <a:gd name="connsiteY10" fmla="*/ 632564 h 3799348"/>
              <a:gd name="connsiteX11" fmla="*/ 7306957 w 10715630"/>
              <a:gd name="connsiteY11" fmla="*/ 319413 h 3799348"/>
              <a:gd name="connsiteX12" fmla="*/ 7826787 w 10715630"/>
              <a:gd name="connsiteY12" fmla="*/ 112734 h 3799348"/>
              <a:gd name="connsiteX13" fmla="*/ 8071044 w 10715630"/>
              <a:gd name="connsiteY13" fmla="*/ 43841 h 3799348"/>
              <a:gd name="connsiteX14" fmla="*/ 8534507 w 10715630"/>
              <a:gd name="connsiteY14" fmla="*/ 0 h 3799348"/>
              <a:gd name="connsiteX15" fmla="*/ 9142020 w 10715630"/>
              <a:gd name="connsiteY15" fmla="*/ 31315 h 3799348"/>
              <a:gd name="connsiteX16" fmla="*/ 9386277 w 10715630"/>
              <a:gd name="connsiteY16" fmla="*/ 93945 h 3799348"/>
              <a:gd name="connsiteX17" fmla="*/ 9592957 w 10715630"/>
              <a:gd name="connsiteY17" fmla="*/ 169101 h 3799348"/>
              <a:gd name="connsiteX18" fmla="*/ 9981263 w 10715630"/>
              <a:gd name="connsiteY18" fmla="*/ 375781 h 3799348"/>
              <a:gd name="connsiteX19" fmla="*/ 10425937 w 10715630"/>
              <a:gd name="connsiteY19" fmla="*/ 751561 h 3799348"/>
              <a:gd name="connsiteX20" fmla="*/ 10670195 w 10715630"/>
              <a:gd name="connsiteY20" fmla="*/ 1240076 h 3799348"/>
              <a:gd name="connsiteX21" fmla="*/ 10714036 w 10715630"/>
              <a:gd name="connsiteY21" fmla="*/ 1791222 h 3799348"/>
              <a:gd name="connsiteX22" fmla="*/ 10707773 w 10715630"/>
              <a:gd name="connsiteY22" fmla="*/ 2035479 h 3799348"/>
              <a:gd name="connsiteX23" fmla="*/ 10632617 w 10715630"/>
              <a:gd name="connsiteY23" fmla="*/ 2311052 h 3799348"/>
              <a:gd name="connsiteX24" fmla="*/ 10432200 w 10715630"/>
              <a:gd name="connsiteY24" fmla="*/ 2680570 h 3799348"/>
              <a:gd name="connsiteX25" fmla="*/ 10269362 w 10715630"/>
              <a:gd name="connsiteY25" fmla="*/ 2843408 h 3799348"/>
              <a:gd name="connsiteX26" fmla="*/ 10012578 w 10715630"/>
              <a:gd name="connsiteY26" fmla="*/ 2987457 h 3799348"/>
              <a:gd name="connsiteX27" fmla="*/ 9430118 w 10715630"/>
              <a:gd name="connsiteY27" fmla="*/ 3118981 h 3799348"/>
              <a:gd name="connsiteX28" fmla="*/ 8496929 w 10715630"/>
              <a:gd name="connsiteY28" fmla="*/ 3106455 h 3799348"/>
              <a:gd name="connsiteX29" fmla="*/ 7632633 w 10715630"/>
              <a:gd name="connsiteY29" fmla="*/ 3043824 h 3799348"/>
              <a:gd name="connsiteX30" fmla="*/ 7106540 w 10715630"/>
              <a:gd name="connsiteY30" fmla="*/ 2974931 h 3799348"/>
              <a:gd name="connsiteX31" fmla="*/ 5634732 w 10715630"/>
              <a:gd name="connsiteY31" fmla="*/ 2812093 h 3799348"/>
              <a:gd name="connsiteX32" fmla="*/ 5484420 w 10715630"/>
              <a:gd name="connsiteY32" fmla="*/ 2943616 h 3799348"/>
              <a:gd name="connsiteX33" fmla="*/ 5778781 w 10715630"/>
              <a:gd name="connsiteY33" fmla="*/ 2999983 h 3799348"/>
              <a:gd name="connsiteX34" fmla="*/ 5246425 w 10715630"/>
              <a:gd name="connsiteY34" fmla="*/ 2711885 h 3799348"/>
              <a:gd name="connsiteX0" fmla="*/ 2935373 w 10715630"/>
              <a:gd name="connsiteY0" fmla="*/ 3757808 h 3828276"/>
              <a:gd name="connsiteX1" fmla="*/ 0 w 10715630"/>
              <a:gd name="connsiteY1" fmla="*/ 3799348 h 3828276"/>
              <a:gd name="connsiteX2" fmla="*/ 3968770 w 10715630"/>
              <a:gd name="connsiteY2" fmla="*/ 3739019 h 3828276"/>
              <a:gd name="connsiteX3" fmla="*/ 5634732 w 10715630"/>
              <a:gd name="connsiteY3" fmla="*/ 2774515 h 3828276"/>
              <a:gd name="connsiteX4" fmla="*/ 5716151 w 10715630"/>
              <a:gd name="connsiteY4" fmla="*/ 2617939 h 3828276"/>
              <a:gd name="connsiteX5" fmla="*/ 5866463 w 10715630"/>
              <a:gd name="connsiteY5" fmla="*/ 2254685 h 3828276"/>
              <a:gd name="connsiteX6" fmla="*/ 5997987 w 10715630"/>
              <a:gd name="connsiteY6" fmla="*/ 1803748 h 3828276"/>
              <a:gd name="connsiteX7" fmla="*/ 6411346 w 10715630"/>
              <a:gd name="connsiteY7" fmla="*/ 1108553 h 3828276"/>
              <a:gd name="connsiteX8" fmla="*/ 6693181 w 10715630"/>
              <a:gd name="connsiteY8" fmla="*/ 770350 h 3828276"/>
              <a:gd name="connsiteX9" fmla="*/ 6843494 w 10715630"/>
              <a:gd name="connsiteY9" fmla="*/ 632564 h 3828276"/>
              <a:gd name="connsiteX10" fmla="*/ 7306957 w 10715630"/>
              <a:gd name="connsiteY10" fmla="*/ 319413 h 3828276"/>
              <a:gd name="connsiteX11" fmla="*/ 7826787 w 10715630"/>
              <a:gd name="connsiteY11" fmla="*/ 112734 h 3828276"/>
              <a:gd name="connsiteX12" fmla="*/ 8071044 w 10715630"/>
              <a:gd name="connsiteY12" fmla="*/ 43841 h 3828276"/>
              <a:gd name="connsiteX13" fmla="*/ 8534507 w 10715630"/>
              <a:gd name="connsiteY13" fmla="*/ 0 h 3828276"/>
              <a:gd name="connsiteX14" fmla="*/ 9142020 w 10715630"/>
              <a:gd name="connsiteY14" fmla="*/ 31315 h 3828276"/>
              <a:gd name="connsiteX15" fmla="*/ 9386277 w 10715630"/>
              <a:gd name="connsiteY15" fmla="*/ 93945 h 3828276"/>
              <a:gd name="connsiteX16" fmla="*/ 9592957 w 10715630"/>
              <a:gd name="connsiteY16" fmla="*/ 169101 h 3828276"/>
              <a:gd name="connsiteX17" fmla="*/ 9981263 w 10715630"/>
              <a:gd name="connsiteY17" fmla="*/ 375781 h 3828276"/>
              <a:gd name="connsiteX18" fmla="*/ 10425937 w 10715630"/>
              <a:gd name="connsiteY18" fmla="*/ 751561 h 3828276"/>
              <a:gd name="connsiteX19" fmla="*/ 10670195 w 10715630"/>
              <a:gd name="connsiteY19" fmla="*/ 1240076 h 3828276"/>
              <a:gd name="connsiteX20" fmla="*/ 10714036 w 10715630"/>
              <a:gd name="connsiteY20" fmla="*/ 1791222 h 3828276"/>
              <a:gd name="connsiteX21" fmla="*/ 10707773 w 10715630"/>
              <a:gd name="connsiteY21" fmla="*/ 2035479 h 3828276"/>
              <a:gd name="connsiteX22" fmla="*/ 10632617 w 10715630"/>
              <a:gd name="connsiteY22" fmla="*/ 2311052 h 3828276"/>
              <a:gd name="connsiteX23" fmla="*/ 10432200 w 10715630"/>
              <a:gd name="connsiteY23" fmla="*/ 2680570 h 3828276"/>
              <a:gd name="connsiteX24" fmla="*/ 10269362 w 10715630"/>
              <a:gd name="connsiteY24" fmla="*/ 2843408 h 3828276"/>
              <a:gd name="connsiteX25" fmla="*/ 10012578 w 10715630"/>
              <a:gd name="connsiteY25" fmla="*/ 2987457 h 3828276"/>
              <a:gd name="connsiteX26" fmla="*/ 9430118 w 10715630"/>
              <a:gd name="connsiteY26" fmla="*/ 3118981 h 3828276"/>
              <a:gd name="connsiteX27" fmla="*/ 8496929 w 10715630"/>
              <a:gd name="connsiteY27" fmla="*/ 3106455 h 3828276"/>
              <a:gd name="connsiteX28" fmla="*/ 7632633 w 10715630"/>
              <a:gd name="connsiteY28" fmla="*/ 3043824 h 3828276"/>
              <a:gd name="connsiteX29" fmla="*/ 7106540 w 10715630"/>
              <a:gd name="connsiteY29" fmla="*/ 2974931 h 3828276"/>
              <a:gd name="connsiteX30" fmla="*/ 5634732 w 10715630"/>
              <a:gd name="connsiteY30" fmla="*/ 2812093 h 3828276"/>
              <a:gd name="connsiteX31" fmla="*/ 5484420 w 10715630"/>
              <a:gd name="connsiteY31" fmla="*/ 2943616 h 3828276"/>
              <a:gd name="connsiteX32" fmla="*/ 5778781 w 10715630"/>
              <a:gd name="connsiteY32" fmla="*/ 2999983 h 3828276"/>
              <a:gd name="connsiteX33" fmla="*/ 5246425 w 10715630"/>
              <a:gd name="connsiteY33" fmla="*/ 2711885 h 3828276"/>
              <a:gd name="connsiteX0" fmla="*/ 2935373 w 10715630"/>
              <a:gd name="connsiteY0" fmla="*/ 3757808 h 3828276"/>
              <a:gd name="connsiteX1" fmla="*/ 0 w 10715630"/>
              <a:gd name="connsiteY1" fmla="*/ 3799348 h 3828276"/>
              <a:gd name="connsiteX2" fmla="*/ 3968770 w 10715630"/>
              <a:gd name="connsiteY2" fmla="*/ 3739019 h 3828276"/>
              <a:gd name="connsiteX3" fmla="*/ 5634732 w 10715630"/>
              <a:gd name="connsiteY3" fmla="*/ 2774515 h 3828276"/>
              <a:gd name="connsiteX4" fmla="*/ 5866463 w 10715630"/>
              <a:gd name="connsiteY4" fmla="*/ 2254685 h 3828276"/>
              <a:gd name="connsiteX5" fmla="*/ 5997987 w 10715630"/>
              <a:gd name="connsiteY5" fmla="*/ 1803748 h 3828276"/>
              <a:gd name="connsiteX6" fmla="*/ 6411346 w 10715630"/>
              <a:gd name="connsiteY6" fmla="*/ 1108553 h 3828276"/>
              <a:gd name="connsiteX7" fmla="*/ 6693181 w 10715630"/>
              <a:gd name="connsiteY7" fmla="*/ 770350 h 3828276"/>
              <a:gd name="connsiteX8" fmla="*/ 6843494 w 10715630"/>
              <a:gd name="connsiteY8" fmla="*/ 632564 h 3828276"/>
              <a:gd name="connsiteX9" fmla="*/ 7306957 w 10715630"/>
              <a:gd name="connsiteY9" fmla="*/ 319413 h 3828276"/>
              <a:gd name="connsiteX10" fmla="*/ 7826787 w 10715630"/>
              <a:gd name="connsiteY10" fmla="*/ 112734 h 3828276"/>
              <a:gd name="connsiteX11" fmla="*/ 8071044 w 10715630"/>
              <a:gd name="connsiteY11" fmla="*/ 43841 h 3828276"/>
              <a:gd name="connsiteX12" fmla="*/ 8534507 w 10715630"/>
              <a:gd name="connsiteY12" fmla="*/ 0 h 3828276"/>
              <a:gd name="connsiteX13" fmla="*/ 9142020 w 10715630"/>
              <a:gd name="connsiteY13" fmla="*/ 31315 h 3828276"/>
              <a:gd name="connsiteX14" fmla="*/ 9386277 w 10715630"/>
              <a:gd name="connsiteY14" fmla="*/ 93945 h 3828276"/>
              <a:gd name="connsiteX15" fmla="*/ 9592957 w 10715630"/>
              <a:gd name="connsiteY15" fmla="*/ 169101 h 3828276"/>
              <a:gd name="connsiteX16" fmla="*/ 9981263 w 10715630"/>
              <a:gd name="connsiteY16" fmla="*/ 375781 h 3828276"/>
              <a:gd name="connsiteX17" fmla="*/ 10425937 w 10715630"/>
              <a:gd name="connsiteY17" fmla="*/ 751561 h 3828276"/>
              <a:gd name="connsiteX18" fmla="*/ 10670195 w 10715630"/>
              <a:gd name="connsiteY18" fmla="*/ 1240076 h 3828276"/>
              <a:gd name="connsiteX19" fmla="*/ 10714036 w 10715630"/>
              <a:gd name="connsiteY19" fmla="*/ 1791222 h 3828276"/>
              <a:gd name="connsiteX20" fmla="*/ 10707773 w 10715630"/>
              <a:gd name="connsiteY20" fmla="*/ 2035479 h 3828276"/>
              <a:gd name="connsiteX21" fmla="*/ 10632617 w 10715630"/>
              <a:gd name="connsiteY21" fmla="*/ 2311052 h 3828276"/>
              <a:gd name="connsiteX22" fmla="*/ 10432200 w 10715630"/>
              <a:gd name="connsiteY22" fmla="*/ 2680570 h 3828276"/>
              <a:gd name="connsiteX23" fmla="*/ 10269362 w 10715630"/>
              <a:gd name="connsiteY23" fmla="*/ 2843408 h 3828276"/>
              <a:gd name="connsiteX24" fmla="*/ 10012578 w 10715630"/>
              <a:gd name="connsiteY24" fmla="*/ 2987457 h 3828276"/>
              <a:gd name="connsiteX25" fmla="*/ 9430118 w 10715630"/>
              <a:gd name="connsiteY25" fmla="*/ 3118981 h 3828276"/>
              <a:gd name="connsiteX26" fmla="*/ 8496929 w 10715630"/>
              <a:gd name="connsiteY26" fmla="*/ 3106455 h 3828276"/>
              <a:gd name="connsiteX27" fmla="*/ 7632633 w 10715630"/>
              <a:gd name="connsiteY27" fmla="*/ 3043824 h 3828276"/>
              <a:gd name="connsiteX28" fmla="*/ 7106540 w 10715630"/>
              <a:gd name="connsiteY28" fmla="*/ 2974931 h 3828276"/>
              <a:gd name="connsiteX29" fmla="*/ 5634732 w 10715630"/>
              <a:gd name="connsiteY29" fmla="*/ 2812093 h 3828276"/>
              <a:gd name="connsiteX30" fmla="*/ 5484420 w 10715630"/>
              <a:gd name="connsiteY30" fmla="*/ 2943616 h 3828276"/>
              <a:gd name="connsiteX31" fmla="*/ 5778781 w 10715630"/>
              <a:gd name="connsiteY31" fmla="*/ 2999983 h 3828276"/>
              <a:gd name="connsiteX32" fmla="*/ 5246425 w 10715630"/>
              <a:gd name="connsiteY32" fmla="*/ 2711885 h 3828276"/>
              <a:gd name="connsiteX0" fmla="*/ 0 w 10715630"/>
              <a:gd name="connsiteY0" fmla="*/ 3799348 h 3828276"/>
              <a:gd name="connsiteX1" fmla="*/ 3968770 w 10715630"/>
              <a:gd name="connsiteY1" fmla="*/ 3739019 h 3828276"/>
              <a:gd name="connsiteX2" fmla="*/ 5634732 w 10715630"/>
              <a:gd name="connsiteY2" fmla="*/ 2774515 h 3828276"/>
              <a:gd name="connsiteX3" fmla="*/ 5866463 w 10715630"/>
              <a:gd name="connsiteY3" fmla="*/ 2254685 h 3828276"/>
              <a:gd name="connsiteX4" fmla="*/ 5997987 w 10715630"/>
              <a:gd name="connsiteY4" fmla="*/ 1803748 h 3828276"/>
              <a:gd name="connsiteX5" fmla="*/ 6411346 w 10715630"/>
              <a:gd name="connsiteY5" fmla="*/ 1108553 h 3828276"/>
              <a:gd name="connsiteX6" fmla="*/ 6693181 w 10715630"/>
              <a:gd name="connsiteY6" fmla="*/ 770350 h 3828276"/>
              <a:gd name="connsiteX7" fmla="*/ 6843494 w 10715630"/>
              <a:gd name="connsiteY7" fmla="*/ 632564 h 3828276"/>
              <a:gd name="connsiteX8" fmla="*/ 7306957 w 10715630"/>
              <a:gd name="connsiteY8" fmla="*/ 319413 h 3828276"/>
              <a:gd name="connsiteX9" fmla="*/ 7826787 w 10715630"/>
              <a:gd name="connsiteY9" fmla="*/ 112734 h 3828276"/>
              <a:gd name="connsiteX10" fmla="*/ 8071044 w 10715630"/>
              <a:gd name="connsiteY10" fmla="*/ 43841 h 3828276"/>
              <a:gd name="connsiteX11" fmla="*/ 8534507 w 10715630"/>
              <a:gd name="connsiteY11" fmla="*/ 0 h 3828276"/>
              <a:gd name="connsiteX12" fmla="*/ 9142020 w 10715630"/>
              <a:gd name="connsiteY12" fmla="*/ 31315 h 3828276"/>
              <a:gd name="connsiteX13" fmla="*/ 9386277 w 10715630"/>
              <a:gd name="connsiteY13" fmla="*/ 93945 h 3828276"/>
              <a:gd name="connsiteX14" fmla="*/ 9592957 w 10715630"/>
              <a:gd name="connsiteY14" fmla="*/ 169101 h 3828276"/>
              <a:gd name="connsiteX15" fmla="*/ 9981263 w 10715630"/>
              <a:gd name="connsiteY15" fmla="*/ 375781 h 3828276"/>
              <a:gd name="connsiteX16" fmla="*/ 10425937 w 10715630"/>
              <a:gd name="connsiteY16" fmla="*/ 751561 h 3828276"/>
              <a:gd name="connsiteX17" fmla="*/ 10670195 w 10715630"/>
              <a:gd name="connsiteY17" fmla="*/ 1240076 h 3828276"/>
              <a:gd name="connsiteX18" fmla="*/ 10714036 w 10715630"/>
              <a:gd name="connsiteY18" fmla="*/ 1791222 h 3828276"/>
              <a:gd name="connsiteX19" fmla="*/ 10707773 w 10715630"/>
              <a:gd name="connsiteY19" fmla="*/ 2035479 h 3828276"/>
              <a:gd name="connsiteX20" fmla="*/ 10632617 w 10715630"/>
              <a:gd name="connsiteY20" fmla="*/ 2311052 h 3828276"/>
              <a:gd name="connsiteX21" fmla="*/ 10432200 w 10715630"/>
              <a:gd name="connsiteY21" fmla="*/ 2680570 h 3828276"/>
              <a:gd name="connsiteX22" fmla="*/ 10269362 w 10715630"/>
              <a:gd name="connsiteY22" fmla="*/ 2843408 h 3828276"/>
              <a:gd name="connsiteX23" fmla="*/ 10012578 w 10715630"/>
              <a:gd name="connsiteY23" fmla="*/ 2987457 h 3828276"/>
              <a:gd name="connsiteX24" fmla="*/ 9430118 w 10715630"/>
              <a:gd name="connsiteY24" fmla="*/ 3118981 h 3828276"/>
              <a:gd name="connsiteX25" fmla="*/ 8496929 w 10715630"/>
              <a:gd name="connsiteY25" fmla="*/ 3106455 h 3828276"/>
              <a:gd name="connsiteX26" fmla="*/ 7632633 w 10715630"/>
              <a:gd name="connsiteY26" fmla="*/ 3043824 h 3828276"/>
              <a:gd name="connsiteX27" fmla="*/ 7106540 w 10715630"/>
              <a:gd name="connsiteY27" fmla="*/ 2974931 h 3828276"/>
              <a:gd name="connsiteX28" fmla="*/ 5634732 w 10715630"/>
              <a:gd name="connsiteY28" fmla="*/ 2812093 h 3828276"/>
              <a:gd name="connsiteX29" fmla="*/ 5484420 w 10715630"/>
              <a:gd name="connsiteY29" fmla="*/ 2943616 h 3828276"/>
              <a:gd name="connsiteX30" fmla="*/ 5778781 w 10715630"/>
              <a:gd name="connsiteY30" fmla="*/ 2999983 h 3828276"/>
              <a:gd name="connsiteX31" fmla="*/ 5246425 w 10715630"/>
              <a:gd name="connsiteY31" fmla="*/ 2711885 h 3828276"/>
              <a:gd name="connsiteX0" fmla="*/ 0 w 10302990"/>
              <a:gd name="connsiteY0" fmla="*/ 3799348 h 3828276"/>
              <a:gd name="connsiteX1" fmla="*/ 3556130 w 10302990"/>
              <a:gd name="connsiteY1" fmla="*/ 3739019 h 3828276"/>
              <a:gd name="connsiteX2" fmla="*/ 5222092 w 10302990"/>
              <a:gd name="connsiteY2" fmla="*/ 2774515 h 3828276"/>
              <a:gd name="connsiteX3" fmla="*/ 5453823 w 10302990"/>
              <a:gd name="connsiteY3" fmla="*/ 2254685 h 3828276"/>
              <a:gd name="connsiteX4" fmla="*/ 5585347 w 10302990"/>
              <a:gd name="connsiteY4" fmla="*/ 1803748 h 3828276"/>
              <a:gd name="connsiteX5" fmla="*/ 5998706 w 10302990"/>
              <a:gd name="connsiteY5" fmla="*/ 1108553 h 3828276"/>
              <a:gd name="connsiteX6" fmla="*/ 6280541 w 10302990"/>
              <a:gd name="connsiteY6" fmla="*/ 770350 h 3828276"/>
              <a:gd name="connsiteX7" fmla="*/ 6430854 w 10302990"/>
              <a:gd name="connsiteY7" fmla="*/ 632564 h 3828276"/>
              <a:gd name="connsiteX8" fmla="*/ 6894317 w 10302990"/>
              <a:gd name="connsiteY8" fmla="*/ 319413 h 3828276"/>
              <a:gd name="connsiteX9" fmla="*/ 7414147 w 10302990"/>
              <a:gd name="connsiteY9" fmla="*/ 112734 h 3828276"/>
              <a:gd name="connsiteX10" fmla="*/ 7658404 w 10302990"/>
              <a:gd name="connsiteY10" fmla="*/ 43841 h 3828276"/>
              <a:gd name="connsiteX11" fmla="*/ 8121867 w 10302990"/>
              <a:gd name="connsiteY11" fmla="*/ 0 h 3828276"/>
              <a:gd name="connsiteX12" fmla="*/ 8729380 w 10302990"/>
              <a:gd name="connsiteY12" fmla="*/ 31315 h 3828276"/>
              <a:gd name="connsiteX13" fmla="*/ 8973637 w 10302990"/>
              <a:gd name="connsiteY13" fmla="*/ 93945 h 3828276"/>
              <a:gd name="connsiteX14" fmla="*/ 9180317 w 10302990"/>
              <a:gd name="connsiteY14" fmla="*/ 169101 h 3828276"/>
              <a:gd name="connsiteX15" fmla="*/ 9568623 w 10302990"/>
              <a:gd name="connsiteY15" fmla="*/ 375781 h 3828276"/>
              <a:gd name="connsiteX16" fmla="*/ 10013297 w 10302990"/>
              <a:gd name="connsiteY16" fmla="*/ 751561 h 3828276"/>
              <a:gd name="connsiteX17" fmla="*/ 10257555 w 10302990"/>
              <a:gd name="connsiteY17" fmla="*/ 1240076 h 3828276"/>
              <a:gd name="connsiteX18" fmla="*/ 10301396 w 10302990"/>
              <a:gd name="connsiteY18" fmla="*/ 1791222 h 3828276"/>
              <a:gd name="connsiteX19" fmla="*/ 10295133 w 10302990"/>
              <a:gd name="connsiteY19" fmla="*/ 2035479 h 3828276"/>
              <a:gd name="connsiteX20" fmla="*/ 10219977 w 10302990"/>
              <a:gd name="connsiteY20" fmla="*/ 2311052 h 3828276"/>
              <a:gd name="connsiteX21" fmla="*/ 10019560 w 10302990"/>
              <a:gd name="connsiteY21" fmla="*/ 2680570 h 3828276"/>
              <a:gd name="connsiteX22" fmla="*/ 9856722 w 10302990"/>
              <a:gd name="connsiteY22" fmla="*/ 2843408 h 3828276"/>
              <a:gd name="connsiteX23" fmla="*/ 9599938 w 10302990"/>
              <a:gd name="connsiteY23" fmla="*/ 2987457 h 3828276"/>
              <a:gd name="connsiteX24" fmla="*/ 9017478 w 10302990"/>
              <a:gd name="connsiteY24" fmla="*/ 3118981 h 3828276"/>
              <a:gd name="connsiteX25" fmla="*/ 8084289 w 10302990"/>
              <a:gd name="connsiteY25" fmla="*/ 3106455 h 3828276"/>
              <a:gd name="connsiteX26" fmla="*/ 7219993 w 10302990"/>
              <a:gd name="connsiteY26" fmla="*/ 3043824 h 3828276"/>
              <a:gd name="connsiteX27" fmla="*/ 6693900 w 10302990"/>
              <a:gd name="connsiteY27" fmla="*/ 2974931 h 3828276"/>
              <a:gd name="connsiteX28" fmla="*/ 5222092 w 10302990"/>
              <a:gd name="connsiteY28" fmla="*/ 2812093 h 3828276"/>
              <a:gd name="connsiteX29" fmla="*/ 5071780 w 10302990"/>
              <a:gd name="connsiteY29" fmla="*/ 2943616 h 3828276"/>
              <a:gd name="connsiteX30" fmla="*/ 5366141 w 10302990"/>
              <a:gd name="connsiteY30" fmla="*/ 2999983 h 3828276"/>
              <a:gd name="connsiteX31" fmla="*/ 4833785 w 10302990"/>
              <a:gd name="connsiteY31" fmla="*/ 2711885 h 3828276"/>
              <a:gd name="connsiteX0" fmla="*/ 0 w 9402684"/>
              <a:gd name="connsiteY0" fmla="*/ 4164902 h 4164902"/>
              <a:gd name="connsiteX1" fmla="*/ 2655824 w 9402684"/>
              <a:gd name="connsiteY1" fmla="*/ 3739019 h 4164902"/>
              <a:gd name="connsiteX2" fmla="*/ 4321786 w 9402684"/>
              <a:gd name="connsiteY2" fmla="*/ 2774515 h 4164902"/>
              <a:gd name="connsiteX3" fmla="*/ 4553517 w 9402684"/>
              <a:gd name="connsiteY3" fmla="*/ 2254685 h 4164902"/>
              <a:gd name="connsiteX4" fmla="*/ 4685041 w 9402684"/>
              <a:gd name="connsiteY4" fmla="*/ 1803748 h 4164902"/>
              <a:gd name="connsiteX5" fmla="*/ 5098400 w 9402684"/>
              <a:gd name="connsiteY5" fmla="*/ 1108553 h 4164902"/>
              <a:gd name="connsiteX6" fmla="*/ 5380235 w 9402684"/>
              <a:gd name="connsiteY6" fmla="*/ 770350 h 4164902"/>
              <a:gd name="connsiteX7" fmla="*/ 5530548 w 9402684"/>
              <a:gd name="connsiteY7" fmla="*/ 632564 h 4164902"/>
              <a:gd name="connsiteX8" fmla="*/ 5994011 w 9402684"/>
              <a:gd name="connsiteY8" fmla="*/ 319413 h 4164902"/>
              <a:gd name="connsiteX9" fmla="*/ 6513841 w 9402684"/>
              <a:gd name="connsiteY9" fmla="*/ 112734 h 4164902"/>
              <a:gd name="connsiteX10" fmla="*/ 6758098 w 9402684"/>
              <a:gd name="connsiteY10" fmla="*/ 43841 h 4164902"/>
              <a:gd name="connsiteX11" fmla="*/ 7221561 w 9402684"/>
              <a:gd name="connsiteY11" fmla="*/ 0 h 4164902"/>
              <a:gd name="connsiteX12" fmla="*/ 7829074 w 9402684"/>
              <a:gd name="connsiteY12" fmla="*/ 31315 h 4164902"/>
              <a:gd name="connsiteX13" fmla="*/ 8073331 w 9402684"/>
              <a:gd name="connsiteY13" fmla="*/ 93945 h 4164902"/>
              <a:gd name="connsiteX14" fmla="*/ 8280011 w 9402684"/>
              <a:gd name="connsiteY14" fmla="*/ 169101 h 4164902"/>
              <a:gd name="connsiteX15" fmla="*/ 8668317 w 9402684"/>
              <a:gd name="connsiteY15" fmla="*/ 375781 h 4164902"/>
              <a:gd name="connsiteX16" fmla="*/ 9112991 w 9402684"/>
              <a:gd name="connsiteY16" fmla="*/ 751561 h 4164902"/>
              <a:gd name="connsiteX17" fmla="*/ 9357249 w 9402684"/>
              <a:gd name="connsiteY17" fmla="*/ 1240076 h 4164902"/>
              <a:gd name="connsiteX18" fmla="*/ 9401090 w 9402684"/>
              <a:gd name="connsiteY18" fmla="*/ 1791222 h 4164902"/>
              <a:gd name="connsiteX19" fmla="*/ 9394827 w 9402684"/>
              <a:gd name="connsiteY19" fmla="*/ 2035479 h 4164902"/>
              <a:gd name="connsiteX20" fmla="*/ 9319671 w 9402684"/>
              <a:gd name="connsiteY20" fmla="*/ 2311052 h 4164902"/>
              <a:gd name="connsiteX21" fmla="*/ 9119254 w 9402684"/>
              <a:gd name="connsiteY21" fmla="*/ 2680570 h 4164902"/>
              <a:gd name="connsiteX22" fmla="*/ 8956416 w 9402684"/>
              <a:gd name="connsiteY22" fmla="*/ 2843408 h 4164902"/>
              <a:gd name="connsiteX23" fmla="*/ 8699632 w 9402684"/>
              <a:gd name="connsiteY23" fmla="*/ 2987457 h 4164902"/>
              <a:gd name="connsiteX24" fmla="*/ 8117172 w 9402684"/>
              <a:gd name="connsiteY24" fmla="*/ 3118981 h 4164902"/>
              <a:gd name="connsiteX25" fmla="*/ 7183983 w 9402684"/>
              <a:gd name="connsiteY25" fmla="*/ 3106455 h 4164902"/>
              <a:gd name="connsiteX26" fmla="*/ 6319687 w 9402684"/>
              <a:gd name="connsiteY26" fmla="*/ 3043824 h 4164902"/>
              <a:gd name="connsiteX27" fmla="*/ 5793594 w 9402684"/>
              <a:gd name="connsiteY27" fmla="*/ 2974931 h 4164902"/>
              <a:gd name="connsiteX28" fmla="*/ 4321786 w 9402684"/>
              <a:gd name="connsiteY28" fmla="*/ 2812093 h 4164902"/>
              <a:gd name="connsiteX29" fmla="*/ 4171474 w 9402684"/>
              <a:gd name="connsiteY29" fmla="*/ 2943616 h 4164902"/>
              <a:gd name="connsiteX30" fmla="*/ 4465835 w 9402684"/>
              <a:gd name="connsiteY30" fmla="*/ 2999983 h 4164902"/>
              <a:gd name="connsiteX31" fmla="*/ 3933479 w 9402684"/>
              <a:gd name="connsiteY31" fmla="*/ 2711885 h 4164902"/>
              <a:gd name="connsiteX0" fmla="*/ 0 w 9402684"/>
              <a:gd name="connsiteY0" fmla="*/ 4164902 h 4164902"/>
              <a:gd name="connsiteX1" fmla="*/ 2655824 w 9402684"/>
              <a:gd name="connsiteY1" fmla="*/ 3739019 h 4164902"/>
              <a:gd name="connsiteX2" fmla="*/ 4321786 w 9402684"/>
              <a:gd name="connsiteY2" fmla="*/ 2774515 h 4164902"/>
              <a:gd name="connsiteX3" fmla="*/ 4553517 w 9402684"/>
              <a:gd name="connsiteY3" fmla="*/ 2254685 h 4164902"/>
              <a:gd name="connsiteX4" fmla="*/ 4685041 w 9402684"/>
              <a:gd name="connsiteY4" fmla="*/ 1803748 h 4164902"/>
              <a:gd name="connsiteX5" fmla="*/ 5098400 w 9402684"/>
              <a:gd name="connsiteY5" fmla="*/ 1108553 h 4164902"/>
              <a:gd name="connsiteX6" fmla="*/ 5380235 w 9402684"/>
              <a:gd name="connsiteY6" fmla="*/ 770350 h 4164902"/>
              <a:gd name="connsiteX7" fmla="*/ 5530548 w 9402684"/>
              <a:gd name="connsiteY7" fmla="*/ 632564 h 4164902"/>
              <a:gd name="connsiteX8" fmla="*/ 5994011 w 9402684"/>
              <a:gd name="connsiteY8" fmla="*/ 319413 h 4164902"/>
              <a:gd name="connsiteX9" fmla="*/ 6513841 w 9402684"/>
              <a:gd name="connsiteY9" fmla="*/ 112734 h 4164902"/>
              <a:gd name="connsiteX10" fmla="*/ 6758098 w 9402684"/>
              <a:gd name="connsiteY10" fmla="*/ 43841 h 4164902"/>
              <a:gd name="connsiteX11" fmla="*/ 7221561 w 9402684"/>
              <a:gd name="connsiteY11" fmla="*/ 0 h 4164902"/>
              <a:gd name="connsiteX12" fmla="*/ 7829074 w 9402684"/>
              <a:gd name="connsiteY12" fmla="*/ 31315 h 4164902"/>
              <a:gd name="connsiteX13" fmla="*/ 8073331 w 9402684"/>
              <a:gd name="connsiteY13" fmla="*/ 93945 h 4164902"/>
              <a:gd name="connsiteX14" fmla="*/ 8280011 w 9402684"/>
              <a:gd name="connsiteY14" fmla="*/ 169101 h 4164902"/>
              <a:gd name="connsiteX15" fmla="*/ 8668317 w 9402684"/>
              <a:gd name="connsiteY15" fmla="*/ 375781 h 4164902"/>
              <a:gd name="connsiteX16" fmla="*/ 9112991 w 9402684"/>
              <a:gd name="connsiteY16" fmla="*/ 751561 h 4164902"/>
              <a:gd name="connsiteX17" fmla="*/ 9357249 w 9402684"/>
              <a:gd name="connsiteY17" fmla="*/ 1240076 h 4164902"/>
              <a:gd name="connsiteX18" fmla="*/ 9401090 w 9402684"/>
              <a:gd name="connsiteY18" fmla="*/ 1791222 h 4164902"/>
              <a:gd name="connsiteX19" fmla="*/ 9394827 w 9402684"/>
              <a:gd name="connsiteY19" fmla="*/ 2035479 h 4164902"/>
              <a:gd name="connsiteX20" fmla="*/ 9319671 w 9402684"/>
              <a:gd name="connsiteY20" fmla="*/ 2311052 h 4164902"/>
              <a:gd name="connsiteX21" fmla="*/ 9119254 w 9402684"/>
              <a:gd name="connsiteY21" fmla="*/ 2680570 h 4164902"/>
              <a:gd name="connsiteX22" fmla="*/ 8956416 w 9402684"/>
              <a:gd name="connsiteY22" fmla="*/ 2843408 h 4164902"/>
              <a:gd name="connsiteX23" fmla="*/ 8731095 w 9402684"/>
              <a:gd name="connsiteY23" fmla="*/ 2974295 h 4164902"/>
              <a:gd name="connsiteX24" fmla="*/ 8699632 w 9402684"/>
              <a:gd name="connsiteY24" fmla="*/ 2987457 h 4164902"/>
              <a:gd name="connsiteX25" fmla="*/ 8117172 w 9402684"/>
              <a:gd name="connsiteY25" fmla="*/ 3118981 h 4164902"/>
              <a:gd name="connsiteX26" fmla="*/ 7183983 w 9402684"/>
              <a:gd name="connsiteY26" fmla="*/ 3106455 h 4164902"/>
              <a:gd name="connsiteX27" fmla="*/ 6319687 w 9402684"/>
              <a:gd name="connsiteY27" fmla="*/ 3043824 h 4164902"/>
              <a:gd name="connsiteX28" fmla="*/ 5793594 w 9402684"/>
              <a:gd name="connsiteY28" fmla="*/ 2974931 h 4164902"/>
              <a:gd name="connsiteX29" fmla="*/ 4321786 w 9402684"/>
              <a:gd name="connsiteY29" fmla="*/ 2812093 h 4164902"/>
              <a:gd name="connsiteX30" fmla="*/ 4171474 w 9402684"/>
              <a:gd name="connsiteY30" fmla="*/ 2943616 h 4164902"/>
              <a:gd name="connsiteX31" fmla="*/ 4465835 w 9402684"/>
              <a:gd name="connsiteY31" fmla="*/ 2999983 h 4164902"/>
              <a:gd name="connsiteX32" fmla="*/ 3933479 w 9402684"/>
              <a:gd name="connsiteY32" fmla="*/ 2711885 h 4164902"/>
              <a:gd name="connsiteX0" fmla="*/ 0 w 9402684"/>
              <a:gd name="connsiteY0" fmla="*/ 4164902 h 4164902"/>
              <a:gd name="connsiteX1" fmla="*/ 2655824 w 9402684"/>
              <a:gd name="connsiteY1" fmla="*/ 3739019 h 4164902"/>
              <a:gd name="connsiteX2" fmla="*/ 4321786 w 9402684"/>
              <a:gd name="connsiteY2" fmla="*/ 2774515 h 4164902"/>
              <a:gd name="connsiteX3" fmla="*/ 4553517 w 9402684"/>
              <a:gd name="connsiteY3" fmla="*/ 2254685 h 4164902"/>
              <a:gd name="connsiteX4" fmla="*/ 4685041 w 9402684"/>
              <a:gd name="connsiteY4" fmla="*/ 1803748 h 4164902"/>
              <a:gd name="connsiteX5" fmla="*/ 5098400 w 9402684"/>
              <a:gd name="connsiteY5" fmla="*/ 1108553 h 4164902"/>
              <a:gd name="connsiteX6" fmla="*/ 5380235 w 9402684"/>
              <a:gd name="connsiteY6" fmla="*/ 770350 h 4164902"/>
              <a:gd name="connsiteX7" fmla="*/ 5530548 w 9402684"/>
              <a:gd name="connsiteY7" fmla="*/ 632564 h 4164902"/>
              <a:gd name="connsiteX8" fmla="*/ 5994011 w 9402684"/>
              <a:gd name="connsiteY8" fmla="*/ 319413 h 4164902"/>
              <a:gd name="connsiteX9" fmla="*/ 6513841 w 9402684"/>
              <a:gd name="connsiteY9" fmla="*/ 112734 h 4164902"/>
              <a:gd name="connsiteX10" fmla="*/ 6758098 w 9402684"/>
              <a:gd name="connsiteY10" fmla="*/ 43841 h 4164902"/>
              <a:gd name="connsiteX11" fmla="*/ 7221561 w 9402684"/>
              <a:gd name="connsiteY11" fmla="*/ 0 h 4164902"/>
              <a:gd name="connsiteX12" fmla="*/ 7829074 w 9402684"/>
              <a:gd name="connsiteY12" fmla="*/ 31315 h 4164902"/>
              <a:gd name="connsiteX13" fmla="*/ 8073331 w 9402684"/>
              <a:gd name="connsiteY13" fmla="*/ 93945 h 4164902"/>
              <a:gd name="connsiteX14" fmla="*/ 8280011 w 9402684"/>
              <a:gd name="connsiteY14" fmla="*/ 169101 h 4164902"/>
              <a:gd name="connsiteX15" fmla="*/ 8668317 w 9402684"/>
              <a:gd name="connsiteY15" fmla="*/ 375781 h 4164902"/>
              <a:gd name="connsiteX16" fmla="*/ 9112991 w 9402684"/>
              <a:gd name="connsiteY16" fmla="*/ 751561 h 4164902"/>
              <a:gd name="connsiteX17" fmla="*/ 9357249 w 9402684"/>
              <a:gd name="connsiteY17" fmla="*/ 1240076 h 4164902"/>
              <a:gd name="connsiteX18" fmla="*/ 9401090 w 9402684"/>
              <a:gd name="connsiteY18" fmla="*/ 1791222 h 4164902"/>
              <a:gd name="connsiteX19" fmla="*/ 9394827 w 9402684"/>
              <a:gd name="connsiteY19" fmla="*/ 2035479 h 4164902"/>
              <a:gd name="connsiteX20" fmla="*/ 9319671 w 9402684"/>
              <a:gd name="connsiteY20" fmla="*/ 2311052 h 4164902"/>
              <a:gd name="connsiteX21" fmla="*/ 9119254 w 9402684"/>
              <a:gd name="connsiteY21" fmla="*/ 2680570 h 4164902"/>
              <a:gd name="connsiteX22" fmla="*/ 8731095 w 9402684"/>
              <a:gd name="connsiteY22" fmla="*/ 2974295 h 4164902"/>
              <a:gd name="connsiteX23" fmla="*/ 8699632 w 9402684"/>
              <a:gd name="connsiteY23" fmla="*/ 2987457 h 4164902"/>
              <a:gd name="connsiteX24" fmla="*/ 8117172 w 9402684"/>
              <a:gd name="connsiteY24" fmla="*/ 3118981 h 4164902"/>
              <a:gd name="connsiteX25" fmla="*/ 7183983 w 9402684"/>
              <a:gd name="connsiteY25" fmla="*/ 3106455 h 4164902"/>
              <a:gd name="connsiteX26" fmla="*/ 6319687 w 9402684"/>
              <a:gd name="connsiteY26" fmla="*/ 3043824 h 4164902"/>
              <a:gd name="connsiteX27" fmla="*/ 5793594 w 9402684"/>
              <a:gd name="connsiteY27" fmla="*/ 2974931 h 4164902"/>
              <a:gd name="connsiteX28" fmla="*/ 4321786 w 9402684"/>
              <a:gd name="connsiteY28" fmla="*/ 2812093 h 4164902"/>
              <a:gd name="connsiteX29" fmla="*/ 4171474 w 9402684"/>
              <a:gd name="connsiteY29" fmla="*/ 2943616 h 4164902"/>
              <a:gd name="connsiteX30" fmla="*/ 4465835 w 9402684"/>
              <a:gd name="connsiteY30" fmla="*/ 2999983 h 4164902"/>
              <a:gd name="connsiteX31" fmla="*/ 3933479 w 9402684"/>
              <a:gd name="connsiteY31" fmla="*/ 2711885 h 4164902"/>
              <a:gd name="connsiteX0" fmla="*/ 0 w 9402684"/>
              <a:gd name="connsiteY0" fmla="*/ 4164902 h 4164902"/>
              <a:gd name="connsiteX1" fmla="*/ 2655824 w 9402684"/>
              <a:gd name="connsiteY1" fmla="*/ 3739019 h 4164902"/>
              <a:gd name="connsiteX2" fmla="*/ 4321786 w 9402684"/>
              <a:gd name="connsiteY2" fmla="*/ 2774515 h 4164902"/>
              <a:gd name="connsiteX3" fmla="*/ 4553517 w 9402684"/>
              <a:gd name="connsiteY3" fmla="*/ 2254685 h 4164902"/>
              <a:gd name="connsiteX4" fmla="*/ 4685041 w 9402684"/>
              <a:gd name="connsiteY4" fmla="*/ 1803748 h 4164902"/>
              <a:gd name="connsiteX5" fmla="*/ 5098400 w 9402684"/>
              <a:gd name="connsiteY5" fmla="*/ 1108553 h 4164902"/>
              <a:gd name="connsiteX6" fmla="*/ 5380235 w 9402684"/>
              <a:gd name="connsiteY6" fmla="*/ 770350 h 4164902"/>
              <a:gd name="connsiteX7" fmla="*/ 5530548 w 9402684"/>
              <a:gd name="connsiteY7" fmla="*/ 632564 h 4164902"/>
              <a:gd name="connsiteX8" fmla="*/ 5994011 w 9402684"/>
              <a:gd name="connsiteY8" fmla="*/ 319413 h 4164902"/>
              <a:gd name="connsiteX9" fmla="*/ 6513841 w 9402684"/>
              <a:gd name="connsiteY9" fmla="*/ 112734 h 4164902"/>
              <a:gd name="connsiteX10" fmla="*/ 6758098 w 9402684"/>
              <a:gd name="connsiteY10" fmla="*/ 43841 h 4164902"/>
              <a:gd name="connsiteX11" fmla="*/ 7221561 w 9402684"/>
              <a:gd name="connsiteY11" fmla="*/ 0 h 4164902"/>
              <a:gd name="connsiteX12" fmla="*/ 7829074 w 9402684"/>
              <a:gd name="connsiteY12" fmla="*/ 31315 h 4164902"/>
              <a:gd name="connsiteX13" fmla="*/ 8073331 w 9402684"/>
              <a:gd name="connsiteY13" fmla="*/ 93945 h 4164902"/>
              <a:gd name="connsiteX14" fmla="*/ 8280011 w 9402684"/>
              <a:gd name="connsiteY14" fmla="*/ 169101 h 4164902"/>
              <a:gd name="connsiteX15" fmla="*/ 8668317 w 9402684"/>
              <a:gd name="connsiteY15" fmla="*/ 375781 h 4164902"/>
              <a:gd name="connsiteX16" fmla="*/ 9112991 w 9402684"/>
              <a:gd name="connsiteY16" fmla="*/ 751561 h 4164902"/>
              <a:gd name="connsiteX17" fmla="*/ 9357249 w 9402684"/>
              <a:gd name="connsiteY17" fmla="*/ 1240076 h 4164902"/>
              <a:gd name="connsiteX18" fmla="*/ 9401090 w 9402684"/>
              <a:gd name="connsiteY18" fmla="*/ 1791222 h 4164902"/>
              <a:gd name="connsiteX19" fmla="*/ 9394827 w 9402684"/>
              <a:gd name="connsiteY19" fmla="*/ 2035479 h 4164902"/>
              <a:gd name="connsiteX20" fmla="*/ 9319671 w 9402684"/>
              <a:gd name="connsiteY20" fmla="*/ 2311052 h 4164902"/>
              <a:gd name="connsiteX21" fmla="*/ 9119254 w 9402684"/>
              <a:gd name="connsiteY21" fmla="*/ 2680570 h 4164902"/>
              <a:gd name="connsiteX22" fmla="*/ 8731095 w 9402684"/>
              <a:gd name="connsiteY22" fmla="*/ 2974295 h 4164902"/>
              <a:gd name="connsiteX23" fmla="*/ 8117172 w 9402684"/>
              <a:gd name="connsiteY23" fmla="*/ 3118981 h 4164902"/>
              <a:gd name="connsiteX24" fmla="*/ 7183983 w 9402684"/>
              <a:gd name="connsiteY24" fmla="*/ 3106455 h 4164902"/>
              <a:gd name="connsiteX25" fmla="*/ 6319687 w 9402684"/>
              <a:gd name="connsiteY25" fmla="*/ 3043824 h 4164902"/>
              <a:gd name="connsiteX26" fmla="*/ 5793594 w 9402684"/>
              <a:gd name="connsiteY26" fmla="*/ 2974931 h 4164902"/>
              <a:gd name="connsiteX27" fmla="*/ 4321786 w 9402684"/>
              <a:gd name="connsiteY27" fmla="*/ 2812093 h 4164902"/>
              <a:gd name="connsiteX28" fmla="*/ 4171474 w 9402684"/>
              <a:gd name="connsiteY28" fmla="*/ 2943616 h 4164902"/>
              <a:gd name="connsiteX29" fmla="*/ 4465835 w 9402684"/>
              <a:gd name="connsiteY29" fmla="*/ 2999983 h 4164902"/>
              <a:gd name="connsiteX30" fmla="*/ 3933479 w 9402684"/>
              <a:gd name="connsiteY30" fmla="*/ 2711885 h 4164902"/>
              <a:gd name="connsiteX0" fmla="*/ 0 w 9402684"/>
              <a:gd name="connsiteY0" fmla="*/ 4164902 h 4164902"/>
              <a:gd name="connsiteX1" fmla="*/ 2655824 w 9402684"/>
              <a:gd name="connsiteY1" fmla="*/ 3739019 h 4164902"/>
              <a:gd name="connsiteX2" fmla="*/ 4321786 w 9402684"/>
              <a:gd name="connsiteY2" fmla="*/ 2774515 h 4164902"/>
              <a:gd name="connsiteX3" fmla="*/ 4553517 w 9402684"/>
              <a:gd name="connsiteY3" fmla="*/ 2254685 h 4164902"/>
              <a:gd name="connsiteX4" fmla="*/ 4685041 w 9402684"/>
              <a:gd name="connsiteY4" fmla="*/ 1803748 h 4164902"/>
              <a:gd name="connsiteX5" fmla="*/ 5098400 w 9402684"/>
              <a:gd name="connsiteY5" fmla="*/ 1108553 h 4164902"/>
              <a:gd name="connsiteX6" fmla="*/ 5380235 w 9402684"/>
              <a:gd name="connsiteY6" fmla="*/ 770350 h 4164902"/>
              <a:gd name="connsiteX7" fmla="*/ 5530548 w 9402684"/>
              <a:gd name="connsiteY7" fmla="*/ 632564 h 4164902"/>
              <a:gd name="connsiteX8" fmla="*/ 5994011 w 9402684"/>
              <a:gd name="connsiteY8" fmla="*/ 319413 h 4164902"/>
              <a:gd name="connsiteX9" fmla="*/ 6513841 w 9402684"/>
              <a:gd name="connsiteY9" fmla="*/ 112734 h 4164902"/>
              <a:gd name="connsiteX10" fmla="*/ 6758098 w 9402684"/>
              <a:gd name="connsiteY10" fmla="*/ 43841 h 4164902"/>
              <a:gd name="connsiteX11" fmla="*/ 7221561 w 9402684"/>
              <a:gd name="connsiteY11" fmla="*/ 0 h 4164902"/>
              <a:gd name="connsiteX12" fmla="*/ 7829074 w 9402684"/>
              <a:gd name="connsiteY12" fmla="*/ 31315 h 4164902"/>
              <a:gd name="connsiteX13" fmla="*/ 8073331 w 9402684"/>
              <a:gd name="connsiteY13" fmla="*/ 93945 h 4164902"/>
              <a:gd name="connsiteX14" fmla="*/ 8280011 w 9402684"/>
              <a:gd name="connsiteY14" fmla="*/ 169101 h 4164902"/>
              <a:gd name="connsiteX15" fmla="*/ 8668317 w 9402684"/>
              <a:gd name="connsiteY15" fmla="*/ 375781 h 4164902"/>
              <a:gd name="connsiteX16" fmla="*/ 9112991 w 9402684"/>
              <a:gd name="connsiteY16" fmla="*/ 751561 h 4164902"/>
              <a:gd name="connsiteX17" fmla="*/ 9357249 w 9402684"/>
              <a:gd name="connsiteY17" fmla="*/ 1240076 h 4164902"/>
              <a:gd name="connsiteX18" fmla="*/ 9401090 w 9402684"/>
              <a:gd name="connsiteY18" fmla="*/ 1791222 h 4164902"/>
              <a:gd name="connsiteX19" fmla="*/ 9394827 w 9402684"/>
              <a:gd name="connsiteY19" fmla="*/ 2035479 h 4164902"/>
              <a:gd name="connsiteX20" fmla="*/ 9319671 w 9402684"/>
              <a:gd name="connsiteY20" fmla="*/ 2311052 h 4164902"/>
              <a:gd name="connsiteX21" fmla="*/ 9119254 w 9402684"/>
              <a:gd name="connsiteY21" fmla="*/ 2680570 h 4164902"/>
              <a:gd name="connsiteX22" fmla="*/ 8117172 w 9402684"/>
              <a:gd name="connsiteY22" fmla="*/ 3118981 h 4164902"/>
              <a:gd name="connsiteX23" fmla="*/ 7183983 w 9402684"/>
              <a:gd name="connsiteY23" fmla="*/ 3106455 h 4164902"/>
              <a:gd name="connsiteX24" fmla="*/ 6319687 w 9402684"/>
              <a:gd name="connsiteY24" fmla="*/ 3043824 h 4164902"/>
              <a:gd name="connsiteX25" fmla="*/ 5793594 w 9402684"/>
              <a:gd name="connsiteY25" fmla="*/ 2974931 h 4164902"/>
              <a:gd name="connsiteX26" fmla="*/ 4321786 w 9402684"/>
              <a:gd name="connsiteY26" fmla="*/ 2812093 h 4164902"/>
              <a:gd name="connsiteX27" fmla="*/ 4171474 w 9402684"/>
              <a:gd name="connsiteY27" fmla="*/ 2943616 h 4164902"/>
              <a:gd name="connsiteX28" fmla="*/ 4465835 w 9402684"/>
              <a:gd name="connsiteY28" fmla="*/ 2999983 h 4164902"/>
              <a:gd name="connsiteX29" fmla="*/ 3933479 w 9402684"/>
              <a:gd name="connsiteY29" fmla="*/ 2711885 h 4164902"/>
              <a:gd name="connsiteX0" fmla="*/ 0 w 9402684"/>
              <a:gd name="connsiteY0" fmla="*/ 4164902 h 4164902"/>
              <a:gd name="connsiteX1" fmla="*/ 2655824 w 9402684"/>
              <a:gd name="connsiteY1" fmla="*/ 3739019 h 4164902"/>
              <a:gd name="connsiteX2" fmla="*/ 4321786 w 9402684"/>
              <a:gd name="connsiteY2" fmla="*/ 2774515 h 4164902"/>
              <a:gd name="connsiteX3" fmla="*/ 4553517 w 9402684"/>
              <a:gd name="connsiteY3" fmla="*/ 2254685 h 4164902"/>
              <a:gd name="connsiteX4" fmla="*/ 4685041 w 9402684"/>
              <a:gd name="connsiteY4" fmla="*/ 1803748 h 4164902"/>
              <a:gd name="connsiteX5" fmla="*/ 5098400 w 9402684"/>
              <a:gd name="connsiteY5" fmla="*/ 1108553 h 4164902"/>
              <a:gd name="connsiteX6" fmla="*/ 5380235 w 9402684"/>
              <a:gd name="connsiteY6" fmla="*/ 770350 h 4164902"/>
              <a:gd name="connsiteX7" fmla="*/ 5530548 w 9402684"/>
              <a:gd name="connsiteY7" fmla="*/ 632564 h 4164902"/>
              <a:gd name="connsiteX8" fmla="*/ 5994011 w 9402684"/>
              <a:gd name="connsiteY8" fmla="*/ 319413 h 4164902"/>
              <a:gd name="connsiteX9" fmla="*/ 6513841 w 9402684"/>
              <a:gd name="connsiteY9" fmla="*/ 112734 h 4164902"/>
              <a:gd name="connsiteX10" fmla="*/ 6758098 w 9402684"/>
              <a:gd name="connsiteY10" fmla="*/ 43841 h 4164902"/>
              <a:gd name="connsiteX11" fmla="*/ 7221561 w 9402684"/>
              <a:gd name="connsiteY11" fmla="*/ 0 h 4164902"/>
              <a:gd name="connsiteX12" fmla="*/ 7829074 w 9402684"/>
              <a:gd name="connsiteY12" fmla="*/ 31315 h 4164902"/>
              <a:gd name="connsiteX13" fmla="*/ 8073331 w 9402684"/>
              <a:gd name="connsiteY13" fmla="*/ 93945 h 4164902"/>
              <a:gd name="connsiteX14" fmla="*/ 8280011 w 9402684"/>
              <a:gd name="connsiteY14" fmla="*/ 169101 h 4164902"/>
              <a:gd name="connsiteX15" fmla="*/ 8668317 w 9402684"/>
              <a:gd name="connsiteY15" fmla="*/ 375781 h 4164902"/>
              <a:gd name="connsiteX16" fmla="*/ 9112991 w 9402684"/>
              <a:gd name="connsiteY16" fmla="*/ 751561 h 4164902"/>
              <a:gd name="connsiteX17" fmla="*/ 9357249 w 9402684"/>
              <a:gd name="connsiteY17" fmla="*/ 1240076 h 4164902"/>
              <a:gd name="connsiteX18" fmla="*/ 9401090 w 9402684"/>
              <a:gd name="connsiteY18" fmla="*/ 1791222 h 4164902"/>
              <a:gd name="connsiteX19" fmla="*/ 9394827 w 9402684"/>
              <a:gd name="connsiteY19" fmla="*/ 2035479 h 4164902"/>
              <a:gd name="connsiteX20" fmla="*/ 9319671 w 9402684"/>
              <a:gd name="connsiteY20" fmla="*/ 2311052 h 4164902"/>
              <a:gd name="connsiteX21" fmla="*/ 9119254 w 9402684"/>
              <a:gd name="connsiteY21" fmla="*/ 2680570 h 4164902"/>
              <a:gd name="connsiteX22" fmla="*/ 7183983 w 9402684"/>
              <a:gd name="connsiteY22" fmla="*/ 3106455 h 4164902"/>
              <a:gd name="connsiteX23" fmla="*/ 6319687 w 9402684"/>
              <a:gd name="connsiteY23" fmla="*/ 3043824 h 4164902"/>
              <a:gd name="connsiteX24" fmla="*/ 5793594 w 9402684"/>
              <a:gd name="connsiteY24" fmla="*/ 2974931 h 4164902"/>
              <a:gd name="connsiteX25" fmla="*/ 4321786 w 9402684"/>
              <a:gd name="connsiteY25" fmla="*/ 2812093 h 4164902"/>
              <a:gd name="connsiteX26" fmla="*/ 4171474 w 9402684"/>
              <a:gd name="connsiteY26" fmla="*/ 2943616 h 4164902"/>
              <a:gd name="connsiteX27" fmla="*/ 4465835 w 9402684"/>
              <a:gd name="connsiteY27" fmla="*/ 2999983 h 4164902"/>
              <a:gd name="connsiteX28" fmla="*/ 3933479 w 9402684"/>
              <a:gd name="connsiteY28" fmla="*/ 2711885 h 4164902"/>
              <a:gd name="connsiteX0" fmla="*/ 0 w 9501499"/>
              <a:gd name="connsiteY0" fmla="*/ 4164902 h 4164902"/>
              <a:gd name="connsiteX1" fmla="*/ 2655824 w 9501499"/>
              <a:gd name="connsiteY1" fmla="*/ 3739019 h 4164902"/>
              <a:gd name="connsiteX2" fmla="*/ 4321786 w 9501499"/>
              <a:gd name="connsiteY2" fmla="*/ 2774515 h 4164902"/>
              <a:gd name="connsiteX3" fmla="*/ 4553517 w 9501499"/>
              <a:gd name="connsiteY3" fmla="*/ 2254685 h 4164902"/>
              <a:gd name="connsiteX4" fmla="*/ 4685041 w 9501499"/>
              <a:gd name="connsiteY4" fmla="*/ 1803748 h 4164902"/>
              <a:gd name="connsiteX5" fmla="*/ 5098400 w 9501499"/>
              <a:gd name="connsiteY5" fmla="*/ 1108553 h 4164902"/>
              <a:gd name="connsiteX6" fmla="*/ 5380235 w 9501499"/>
              <a:gd name="connsiteY6" fmla="*/ 770350 h 4164902"/>
              <a:gd name="connsiteX7" fmla="*/ 5530548 w 9501499"/>
              <a:gd name="connsiteY7" fmla="*/ 632564 h 4164902"/>
              <a:gd name="connsiteX8" fmla="*/ 5994011 w 9501499"/>
              <a:gd name="connsiteY8" fmla="*/ 319413 h 4164902"/>
              <a:gd name="connsiteX9" fmla="*/ 6513841 w 9501499"/>
              <a:gd name="connsiteY9" fmla="*/ 112734 h 4164902"/>
              <a:gd name="connsiteX10" fmla="*/ 6758098 w 9501499"/>
              <a:gd name="connsiteY10" fmla="*/ 43841 h 4164902"/>
              <a:gd name="connsiteX11" fmla="*/ 7221561 w 9501499"/>
              <a:gd name="connsiteY11" fmla="*/ 0 h 4164902"/>
              <a:gd name="connsiteX12" fmla="*/ 7829074 w 9501499"/>
              <a:gd name="connsiteY12" fmla="*/ 31315 h 4164902"/>
              <a:gd name="connsiteX13" fmla="*/ 8073331 w 9501499"/>
              <a:gd name="connsiteY13" fmla="*/ 93945 h 4164902"/>
              <a:gd name="connsiteX14" fmla="*/ 8280011 w 9501499"/>
              <a:gd name="connsiteY14" fmla="*/ 169101 h 4164902"/>
              <a:gd name="connsiteX15" fmla="*/ 8668317 w 9501499"/>
              <a:gd name="connsiteY15" fmla="*/ 375781 h 4164902"/>
              <a:gd name="connsiteX16" fmla="*/ 9112991 w 9501499"/>
              <a:gd name="connsiteY16" fmla="*/ 751561 h 4164902"/>
              <a:gd name="connsiteX17" fmla="*/ 9357249 w 9501499"/>
              <a:gd name="connsiteY17" fmla="*/ 1240076 h 4164902"/>
              <a:gd name="connsiteX18" fmla="*/ 9401090 w 9501499"/>
              <a:gd name="connsiteY18" fmla="*/ 1791222 h 4164902"/>
              <a:gd name="connsiteX19" fmla="*/ 9394827 w 9501499"/>
              <a:gd name="connsiteY19" fmla="*/ 2035479 h 4164902"/>
              <a:gd name="connsiteX20" fmla="*/ 9319671 w 9501499"/>
              <a:gd name="connsiteY20" fmla="*/ 2311052 h 4164902"/>
              <a:gd name="connsiteX21" fmla="*/ 7183983 w 9501499"/>
              <a:gd name="connsiteY21" fmla="*/ 3106455 h 4164902"/>
              <a:gd name="connsiteX22" fmla="*/ 6319687 w 9501499"/>
              <a:gd name="connsiteY22" fmla="*/ 3043824 h 4164902"/>
              <a:gd name="connsiteX23" fmla="*/ 5793594 w 9501499"/>
              <a:gd name="connsiteY23" fmla="*/ 2974931 h 4164902"/>
              <a:gd name="connsiteX24" fmla="*/ 4321786 w 9501499"/>
              <a:gd name="connsiteY24" fmla="*/ 2812093 h 4164902"/>
              <a:gd name="connsiteX25" fmla="*/ 4171474 w 9501499"/>
              <a:gd name="connsiteY25" fmla="*/ 2943616 h 4164902"/>
              <a:gd name="connsiteX26" fmla="*/ 4465835 w 9501499"/>
              <a:gd name="connsiteY26" fmla="*/ 2999983 h 4164902"/>
              <a:gd name="connsiteX27" fmla="*/ 3933479 w 9501499"/>
              <a:gd name="connsiteY27" fmla="*/ 2711885 h 4164902"/>
              <a:gd name="connsiteX0" fmla="*/ 0 w 9560696"/>
              <a:gd name="connsiteY0" fmla="*/ 4164902 h 4164902"/>
              <a:gd name="connsiteX1" fmla="*/ 2655824 w 9560696"/>
              <a:gd name="connsiteY1" fmla="*/ 3739019 h 4164902"/>
              <a:gd name="connsiteX2" fmla="*/ 4321786 w 9560696"/>
              <a:gd name="connsiteY2" fmla="*/ 2774515 h 4164902"/>
              <a:gd name="connsiteX3" fmla="*/ 4553517 w 9560696"/>
              <a:gd name="connsiteY3" fmla="*/ 2254685 h 4164902"/>
              <a:gd name="connsiteX4" fmla="*/ 4685041 w 9560696"/>
              <a:gd name="connsiteY4" fmla="*/ 1803748 h 4164902"/>
              <a:gd name="connsiteX5" fmla="*/ 5098400 w 9560696"/>
              <a:gd name="connsiteY5" fmla="*/ 1108553 h 4164902"/>
              <a:gd name="connsiteX6" fmla="*/ 5380235 w 9560696"/>
              <a:gd name="connsiteY6" fmla="*/ 770350 h 4164902"/>
              <a:gd name="connsiteX7" fmla="*/ 5530548 w 9560696"/>
              <a:gd name="connsiteY7" fmla="*/ 632564 h 4164902"/>
              <a:gd name="connsiteX8" fmla="*/ 5994011 w 9560696"/>
              <a:gd name="connsiteY8" fmla="*/ 319413 h 4164902"/>
              <a:gd name="connsiteX9" fmla="*/ 6513841 w 9560696"/>
              <a:gd name="connsiteY9" fmla="*/ 112734 h 4164902"/>
              <a:gd name="connsiteX10" fmla="*/ 6758098 w 9560696"/>
              <a:gd name="connsiteY10" fmla="*/ 43841 h 4164902"/>
              <a:gd name="connsiteX11" fmla="*/ 7221561 w 9560696"/>
              <a:gd name="connsiteY11" fmla="*/ 0 h 4164902"/>
              <a:gd name="connsiteX12" fmla="*/ 7829074 w 9560696"/>
              <a:gd name="connsiteY12" fmla="*/ 31315 h 4164902"/>
              <a:gd name="connsiteX13" fmla="*/ 8073331 w 9560696"/>
              <a:gd name="connsiteY13" fmla="*/ 93945 h 4164902"/>
              <a:gd name="connsiteX14" fmla="*/ 8280011 w 9560696"/>
              <a:gd name="connsiteY14" fmla="*/ 169101 h 4164902"/>
              <a:gd name="connsiteX15" fmla="*/ 8668317 w 9560696"/>
              <a:gd name="connsiteY15" fmla="*/ 375781 h 4164902"/>
              <a:gd name="connsiteX16" fmla="*/ 9112991 w 9560696"/>
              <a:gd name="connsiteY16" fmla="*/ 751561 h 4164902"/>
              <a:gd name="connsiteX17" fmla="*/ 9357249 w 9560696"/>
              <a:gd name="connsiteY17" fmla="*/ 1240076 h 4164902"/>
              <a:gd name="connsiteX18" fmla="*/ 9401090 w 9560696"/>
              <a:gd name="connsiteY18" fmla="*/ 1791222 h 4164902"/>
              <a:gd name="connsiteX19" fmla="*/ 9394827 w 9560696"/>
              <a:gd name="connsiteY19" fmla="*/ 2035479 h 4164902"/>
              <a:gd name="connsiteX20" fmla="*/ 7183983 w 9560696"/>
              <a:gd name="connsiteY20" fmla="*/ 3106455 h 4164902"/>
              <a:gd name="connsiteX21" fmla="*/ 6319687 w 9560696"/>
              <a:gd name="connsiteY21" fmla="*/ 3043824 h 4164902"/>
              <a:gd name="connsiteX22" fmla="*/ 5793594 w 9560696"/>
              <a:gd name="connsiteY22" fmla="*/ 2974931 h 4164902"/>
              <a:gd name="connsiteX23" fmla="*/ 4321786 w 9560696"/>
              <a:gd name="connsiteY23" fmla="*/ 2812093 h 4164902"/>
              <a:gd name="connsiteX24" fmla="*/ 4171474 w 9560696"/>
              <a:gd name="connsiteY24" fmla="*/ 2943616 h 4164902"/>
              <a:gd name="connsiteX25" fmla="*/ 4465835 w 9560696"/>
              <a:gd name="connsiteY25" fmla="*/ 2999983 h 4164902"/>
              <a:gd name="connsiteX26" fmla="*/ 3933479 w 9560696"/>
              <a:gd name="connsiteY26" fmla="*/ 2711885 h 4164902"/>
              <a:gd name="connsiteX0" fmla="*/ 0 w 9434827"/>
              <a:gd name="connsiteY0" fmla="*/ 4164902 h 4164902"/>
              <a:gd name="connsiteX1" fmla="*/ 2655824 w 9434827"/>
              <a:gd name="connsiteY1" fmla="*/ 3739019 h 4164902"/>
              <a:gd name="connsiteX2" fmla="*/ 4321786 w 9434827"/>
              <a:gd name="connsiteY2" fmla="*/ 2774515 h 4164902"/>
              <a:gd name="connsiteX3" fmla="*/ 4553517 w 9434827"/>
              <a:gd name="connsiteY3" fmla="*/ 2254685 h 4164902"/>
              <a:gd name="connsiteX4" fmla="*/ 4685041 w 9434827"/>
              <a:gd name="connsiteY4" fmla="*/ 1803748 h 4164902"/>
              <a:gd name="connsiteX5" fmla="*/ 5098400 w 9434827"/>
              <a:gd name="connsiteY5" fmla="*/ 1108553 h 4164902"/>
              <a:gd name="connsiteX6" fmla="*/ 5380235 w 9434827"/>
              <a:gd name="connsiteY6" fmla="*/ 770350 h 4164902"/>
              <a:gd name="connsiteX7" fmla="*/ 5530548 w 9434827"/>
              <a:gd name="connsiteY7" fmla="*/ 632564 h 4164902"/>
              <a:gd name="connsiteX8" fmla="*/ 5994011 w 9434827"/>
              <a:gd name="connsiteY8" fmla="*/ 319413 h 4164902"/>
              <a:gd name="connsiteX9" fmla="*/ 6513841 w 9434827"/>
              <a:gd name="connsiteY9" fmla="*/ 112734 h 4164902"/>
              <a:gd name="connsiteX10" fmla="*/ 6758098 w 9434827"/>
              <a:gd name="connsiteY10" fmla="*/ 43841 h 4164902"/>
              <a:gd name="connsiteX11" fmla="*/ 7221561 w 9434827"/>
              <a:gd name="connsiteY11" fmla="*/ 0 h 4164902"/>
              <a:gd name="connsiteX12" fmla="*/ 7829074 w 9434827"/>
              <a:gd name="connsiteY12" fmla="*/ 31315 h 4164902"/>
              <a:gd name="connsiteX13" fmla="*/ 8073331 w 9434827"/>
              <a:gd name="connsiteY13" fmla="*/ 93945 h 4164902"/>
              <a:gd name="connsiteX14" fmla="*/ 8280011 w 9434827"/>
              <a:gd name="connsiteY14" fmla="*/ 169101 h 4164902"/>
              <a:gd name="connsiteX15" fmla="*/ 8668317 w 9434827"/>
              <a:gd name="connsiteY15" fmla="*/ 375781 h 4164902"/>
              <a:gd name="connsiteX16" fmla="*/ 9112991 w 9434827"/>
              <a:gd name="connsiteY16" fmla="*/ 751561 h 4164902"/>
              <a:gd name="connsiteX17" fmla="*/ 9357249 w 9434827"/>
              <a:gd name="connsiteY17" fmla="*/ 1240076 h 4164902"/>
              <a:gd name="connsiteX18" fmla="*/ 9401090 w 9434827"/>
              <a:gd name="connsiteY18" fmla="*/ 1791222 h 4164902"/>
              <a:gd name="connsiteX19" fmla="*/ 8879025 w 9434827"/>
              <a:gd name="connsiteY19" fmla="*/ 2907829 h 4164902"/>
              <a:gd name="connsiteX20" fmla="*/ 7183983 w 9434827"/>
              <a:gd name="connsiteY20" fmla="*/ 3106455 h 4164902"/>
              <a:gd name="connsiteX21" fmla="*/ 6319687 w 9434827"/>
              <a:gd name="connsiteY21" fmla="*/ 3043824 h 4164902"/>
              <a:gd name="connsiteX22" fmla="*/ 5793594 w 9434827"/>
              <a:gd name="connsiteY22" fmla="*/ 2974931 h 4164902"/>
              <a:gd name="connsiteX23" fmla="*/ 4321786 w 9434827"/>
              <a:gd name="connsiteY23" fmla="*/ 2812093 h 4164902"/>
              <a:gd name="connsiteX24" fmla="*/ 4171474 w 9434827"/>
              <a:gd name="connsiteY24" fmla="*/ 2943616 h 4164902"/>
              <a:gd name="connsiteX25" fmla="*/ 4465835 w 9434827"/>
              <a:gd name="connsiteY25" fmla="*/ 2999983 h 4164902"/>
              <a:gd name="connsiteX26" fmla="*/ 3933479 w 9434827"/>
              <a:gd name="connsiteY26" fmla="*/ 2711885 h 4164902"/>
              <a:gd name="connsiteX0" fmla="*/ 0 w 9405946"/>
              <a:gd name="connsiteY0" fmla="*/ 4164902 h 4164902"/>
              <a:gd name="connsiteX1" fmla="*/ 2655824 w 9405946"/>
              <a:gd name="connsiteY1" fmla="*/ 3739019 h 4164902"/>
              <a:gd name="connsiteX2" fmla="*/ 4321786 w 9405946"/>
              <a:gd name="connsiteY2" fmla="*/ 2774515 h 4164902"/>
              <a:gd name="connsiteX3" fmla="*/ 4553517 w 9405946"/>
              <a:gd name="connsiteY3" fmla="*/ 2254685 h 4164902"/>
              <a:gd name="connsiteX4" fmla="*/ 4685041 w 9405946"/>
              <a:gd name="connsiteY4" fmla="*/ 1803748 h 4164902"/>
              <a:gd name="connsiteX5" fmla="*/ 5098400 w 9405946"/>
              <a:gd name="connsiteY5" fmla="*/ 1108553 h 4164902"/>
              <a:gd name="connsiteX6" fmla="*/ 5380235 w 9405946"/>
              <a:gd name="connsiteY6" fmla="*/ 770350 h 4164902"/>
              <a:gd name="connsiteX7" fmla="*/ 5530548 w 9405946"/>
              <a:gd name="connsiteY7" fmla="*/ 632564 h 4164902"/>
              <a:gd name="connsiteX8" fmla="*/ 5994011 w 9405946"/>
              <a:gd name="connsiteY8" fmla="*/ 319413 h 4164902"/>
              <a:gd name="connsiteX9" fmla="*/ 6513841 w 9405946"/>
              <a:gd name="connsiteY9" fmla="*/ 112734 h 4164902"/>
              <a:gd name="connsiteX10" fmla="*/ 6758098 w 9405946"/>
              <a:gd name="connsiteY10" fmla="*/ 43841 h 4164902"/>
              <a:gd name="connsiteX11" fmla="*/ 7221561 w 9405946"/>
              <a:gd name="connsiteY11" fmla="*/ 0 h 4164902"/>
              <a:gd name="connsiteX12" fmla="*/ 7829074 w 9405946"/>
              <a:gd name="connsiteY12" fmla="*/ 31315 h 4164902"/>
              <a:gd name="connsiteX13" fmla="*/ 8073331 w 9405946"/>
              <a:gd name="connsiteY13" fmla="*/ 93945 h 4164902"/>
              <a:gd name="connsiteX14" fmla="*/ 8280011 w 9405946"/>
              <a:gd name="connsiteY14" fmla="*/ 169101 h 4164902"/>
              <a:gd name="connsiteX15" fmla="*/ 8668317 w 9405946"/>
              <a:gd name="connsiteY15" fmla="*/ 375781 h 4164902"/>
              <a:gd name="connsiteX16" fmla="*/ 9112991 w 9405946"/>
              <a:gd name="connsiteY16" fmla="*/ 751561 h 4164902"/>
              <a:gd name="connsiteX17" fmla="*/ 9401090 w 9405946"/>
              <a:gd name="connsiteY17" fmla="*/ 1791222 h 4164902"/>
              <a:gd name="connsiteX18" fmla="*/ 8879025 w 9405946"/>
              <a:gd name="connsiteY18" fmla="*/ 2907829 h 4164902"/>
              <a:gd name="connsiteX19" fmla="*/ 7183983 w 9405946"/>
              <a:gd name="connsiteY19" fmla="*/ 3106455 h 4164902"/>
              <a:gd name="connsiteX20" fmla="*/ 6319687 w 9405946"/>
              <a:gd name="connsiteY20" fmla="*/ 3043824 h 4164902"/>
              <a:gd name="connsiteX21" fmla="*/ 5793594 w 9405946"/>
              <a:gd name="connsiteY21" fmla="*/ 2974931 h 4164902"/>
              <a:gd name="connsiteX22" fmla="*/ 4321786 w 9405946"/>
              <a:gd name="connsiteY22" fmla="*/ 2812093 h 4164902"/>
              <a:gd name="connsiteX23" fmla="*/ 4171474 w 9405946"/>
              <a:gd name="connsiteY23" fmla="*/ 2943616 h 4164902"/>
              <a:gd name="connsiteX24" fmla="*/ 4465835 w 9405946"/>
              <a:gd name="connsiteY24" fmla="*/ 2999983 h 4164902"/>
              <a:gd name="connsiteX25" fmla="*/ 3933479 w 9405946"/>
              <a:gd name="connsiteY25" fmla="*/ 2711885 h 4164902"/>
              <a:gd name="connsiteX0" fmla="*/ 0 w 9407634"/>
              <a:gd name="connsiteY0" fmla="*/ 4164902 h 4164902"/>
              <a:gd name="connsiteX1" fmla="*/ 2655824 w 9407634"/>
              <a:gd name="connsiteY1" fmla="*/ 3739019 h 4164902"/>
              <a:gd name="connsiteX2" fmla="*/ 4321786 w 9407634"/>
              <a:gd name="connsiteY2" fmla="*/ 2774515 h 4164902"/>
              <a:gd name="connsiteX3" fmla="*/ 4553517 w 9407634"/>
              <a:gd name="connsiteY3" fmla="*/ 2254685 h 4164902"/>
              <a:gd name="connsiteX4" fmla="*/ 4685041 w 9407634"/>
              <a:gd name="connsiteY4" fmla="*/ 1803748 h 4164902"/>
              <a:gd name="connsiteX5" fmla="*/ 5098400 w 9407634"/>
              <a:gd name="connsiteY5" fmla="*/ 1108553 h 4164902"/>
              <a:gd name="connsiteX6" fmla="*/ 5380235 w 9407634"/>
              <a:gd name="connsiteY6" fmla="*/ 770350 h 4164902"/>
              <a:gd name="connsiteX7" fmla="*/ 5530548 w 9407634"/>
              <a:gd name="connsiteY7" fmla="*/ 632564 h 4164902"/>
              <a:gd name="connsiteX8" fmla="*/ 5994011 w 9407634"/>
              <a:gd name="connsiteY8" fmla="*/ 319413 h 4164902"/>
              <a:gd name="connsiteX9" fmla="*/ 6513841 w 9407634"/>
              <a:gd name="connsiteY9" fmla="*/ 112734 h 4164902"/>
              <a:gd name="connsiteX10" fmla="*/ 6758098 w 9407634"/>
              <a:gd name="connsiteY10" fmla="*/ 43841 h 4164902"/>
              <a:gd name="connsiteX11" fmla="*/ 7221561 w 9407634"/>
              <a:gd name="connsiteY11" fmla="*/ 0 h 4164902"/>
              <a:gd name="connsiteX12" fmla="*/ 7829074 w 9407634"/>
              <a:gd name="connsiteY12" fmla="*/ 31315 h 4164902"/>
              <a:gd name="connsiteX13" fmla="*/ 8073331 w 9407634"/>
              <a:gd name="connsiteY13" fmla="*/ 93945 h 4164902"/>
              <a:gd name="connsiteX14" fmla="*/ 8280011 w 9407634"/>
              <a:gd name="connsiteY14" fmla="*/ 169101 h 4164902"/>
              <a:gd name="connsiteX15" fmla="*/ 9112991 w 9407634"/>
              <a:gd name="connsiteY15" fmla="*/ 751561 h 4164902"/>
              <a:gd name="connsiteX16" fmla="*/ 9401090 w 9407634"/>
              <a:gd name="connsiteY16" fmla="*/ 1791222 h 4164902"/>
              <a:gd name="connsiteX17" fmla="*/ 8879025 w 9407634"/>
              <a:gd name="connsiteY17" fmla="*/ 2907829 h 4164902"/>
              <a:gd name="connsiteX18" fmla="*/ 7183983 w 9407634"/>
              <a:gd name="connsiteY18" fmla="*/ 3106455 h 4164902"/>
              <a:gd name="connsiteX19" fmla="*/ 6319687 w 9407634"/>
              <a:gd name="connsiteY19" fmla="*/ 3043824 h 4164902"/>
              <a:gd name="connsiteX20" fmla="*/ 5793594 w 9407634"/>
              <a:gd name="connsiteY20" fmla="*/ 2974931 h 4164902"/>
              <a:gd name="connsiteX21" fmla="*/ 4321786 w 9407634"/>
              <a:gd name="connsiteY21" fmla="*/ 2812093 h 4164902"/>
              <a:gd name="connsiteX22" fmla="*/ 4171474 w 9407634"/>
              <a:gd name="connsiteY22" fmla="*/ 2943616 h 4164902"/>
              <a:gd name="connsiteX23" fmla="*/ 4465835 w 9407634"/>
              <a:gd name="connsiteY23" fmla="*/ 2999983 h 4164902"/>
              <a:gd name="connsiteX24" fmla="*/ 3933479 w 9407634"/>
              <a:gd name="connsiteY24" fmla="*/ 2711885 h 4164902"/>
              <a:gd name="connsiteX0" fmla="*/ 0 w 9409039"/>
              <a:gd name="connsiteY0" fmla="*/ 4164902 h 4164902"/>
              <a:gd name="connsiteX1" fmla="*/ 2655824 w 9409039"/>
              <a:gd name="connsiteY1" fmla="*/ 3739019 h 4164902"/>
              <a:gd name="connsiteX2" fmla="*/ 4321786 w 9409039"/>
              <a:gd name="connsiteY2" fmla="*/ 2774515 h 4164902"/>
              <a:gd name="connsiteX3" fmla="*/ 4553517 w 9409039"/>
              <a:gd name="connsiteY3" fmla="*/ 2254685 h 4164902"/>
              <a:gd name="connsiteX4" fmla="*/ 4685041 w 9409039"/>
              <a:gd name="connsiteY4" fmla="*/ 1803748 h 4164902"/>
              <a:gd name="connsiteX5" fmla="*/ 5098400 w 9409039"/>
              <a:gd name="connsiteY5" fmla="*/ 1108553 h 4164902"/>
              <a:gd name="connsiteX6" fmla="*/ 5380235 w 9409039"/>
              <a:gd name="connsiteY6" fmla="*/ 770350 h 4164902"/>
              <a:gd name="connsiteX7" fmla="*/ 5530548 w 9409039"/>
              <a:gd name="connsiteY7" fmla="*/ 632564 h 4164902"/>
              <a:gd name="connsiteX8" fmla="*/ 5994011 w 9409039"/>
              <a:gd name="connsiteY8" fmla="*/ 319413 h 4164902"/>
              <a:gd name="connsiteX9" fmla="*/ 6513841 w 9409039"/>
              <a:gd name="connsiteY9" fmla="*/ 112734 h 4164902"/>
              <a:gd name="connsiteX10" fmla="*/ 6758098 w 9409039"/>
              <a:gd name="connsiteY10" fmla="*/ 43841 h 4164902"/>
              <a:gd name="connsiteX11" fmla="*/ 7221561 w 9409039"/>
              <a:gd name="connsiteY11" fmla="*/ 0 h 4164902"/>
              <a:gd name="connsiteX12" fmla="*/ 7829074 w 9409039"/>
              <a:gd name="connsiteY12" fmla="*/ 31315 h 4164902"/>
              <a:gd name="connsiteX13" fmla="*/ 8073331 w 9409039"/>
              <a:gd name="connsiteY13" fmla="*/ 93945 h 4164902"/>
              <a:gd name="connsiteX14" fmla="*/ 9112991 w 9409039"/>
              <a:gd name="connsiteY14" fmla="*/ 751561 h 4164902"/>
              <a:gd name="connsiteX15" fmla="*/ 9401090 w 9409039"/>
              <a:gd name="connsiteY15" fmla="*/ 1791222 h 4164902"/>
              <a:gd name="connsiteX16" fmla="*/ 8879025 w 9409039"/>
              <a:gd name="connsiteY16" fmla="*/ 2907829 h 4164902"/>
              <a:gd name="connsiteX17" fmla="*/ 7183983 w 9409039"/>
              <a:gd name="connsiteY17" fmla="*/ 3106455 h 4164902"/>
              <a:gd name="connsiteX18" fmla="*/ 6319687 w 9409039"/>
              <a:gd name="connsiteY18" fmla="*/ 3043824 h 4164902"/>
              <a:gd name="connsiteX19" fmla="*/ 5793594 w 9409039"/>
              <a:gd name="connsiteY19" fmla="*/ 2974931 h 4164902"/>
              <a:gd name="connsiteX20" fmla="*/ 4321786 w 9409039"/>
              <a:gd name="connsiteY20" fmla="*/ 2812093 h 4164902"/>
              <a:gd name="connsiteX21" fmla="*/ 4171474 w 9409039"/>
              <a:gd name="connsiteY21" fmla="*/ 2943616 h 4164902"/>
              <a:gd name="connsiteX22" fmla="*/ 4465835 w 9409039"/>
              <a:gd name="connsiteY22" fmla="*/ 2999983 h 4164902"/>
              <a:gd name="connsiteX23" fmla="*/ 3933479 w 9409039"/>
              <a:gd name="connsiteY23" fmla="*/ 2711885 h 4164902"/>
              <a:gd name="connsiteX0" fmla="*/ 0 w 9409039"/>
              <a:gd name="connsiteY0" fmla="*/ 4164902 h 4164902"/>
              <a:gd name="connsiteX1" fmla="*/ 2655824 w 9409039"/>
              <a:gd name="connsiteY1" fmla="*/ 3739019 h 4164902"/>
              <a:gd name="connsiteX2" fmla="*/ 4321786 w 9409039"/>
              <a:gd name="connsiteY2" fmla="*/ 2774515 h 4164902"/>
              <a:gd name="connsiteX3" fmla="*/ 4553517 w 9409039"/>
              <a:gd name="connsiteY3" fmla="*/ 2254685 h 4164902"/>
              <a:gd name="connsiteX4" fmla="*/ 4685041 w 9409039"/>
              <a:gd name="connsiteY4" fmla="*/ 1803748 h 4164902"/>
              <a:gd name="connsiteX5" fmla="*/ 5098400 w 9409039"/>
              <a:gd name="connsiteY5" fmla="*/ 1108553 h 4164902"/>
              <a:gd name="connsiteX6" fmla="*/ 5380235 w 9409039"/>
              <a:gd name="connsiteY6" fmla="*/ 770350 h 4164902"/>
              <a:gd name="connsiteX7" fmla="*/ 5530548 w 9409039"/>
              <a:gd name="connsiteY7" fmla="*/ 632564 h 4164902"/>
              <a:gd name="connsiteX8" fmla="*/ 5994011 w 9409039"/>
              <a:gd name="connsiteY8" fmla="*/ 319413 h 4164902"/>
              <a:gd name="connsiteX9" fmla="*/ 6513841 w 9409039"/>
              <a:gd name="connsiteY9" fmla="*/ 112734 h 4164902"/>
              <a:gd name="connsiteX10" fmla="*/ 6758098 w 9409039"/>
              <a:gd name="connsiteY10" fmla="*/ 43841 h 4164902"/>
              <a:gd name="connsiteX11" fmla="*/ 7221561 w 9409039"/>
              <a:gd name="connsiteY11" fmla="*/ 0 h 4164902"/>
              <a:gd name="connsiteX12" fmla="*/ 7829074 w 9409039"/>
              <a:gd name="connsiteY12" fmla="*/ 31315 h 4164902"/>
              <a:gd name="connsiteX13" fmla="*/ 8018350 w 9409039"/>
              <a:gd name="connsiteY13" fmla="*/ 74773 h 4164902"/>
              <a:gd name="connsiteX14" fmla="*/ 8073331 w 9409039"/>
              <a:gd name="connsiteY14" fmla="*/ 93945 h 4164902"/>
              <a:gd name="connsiteX15" fmla="*/ 9112991 w 9409039"/>
              <a:gd name="connsiteY15" fmla="*/ 751561 h 4164902"/>
              <a:gd name="connsiteX16" fmla="*/ 9401090 w 9409039"/>
              <a:gd name="connsiteY16" fmla="*/ 1791222 h 4164902"/>
              <a:gd name="connsiteX17" fmla="*/ 8879025 w 9409039"/>
              <a:gd name="connsiteY17" fmla="*/ 2907829 h 4164902"/>
              <a:gd name="connsiteX18" fmla="*/ 7183983 w 9409039"/>
              <a:gd name="connsiteY18" fmla="*/ 3106455 h 4164902"/>
              <a:gd name="connsiteX19" fmla="*/ 6319687 w 9409039"/>
              <a:gd name="connsiteY19" fmla="*/ 3043824 h 4164902"/>
              <a:gd name="connsiteX20" fmla="*/ 5793594 w 9409039"/>
              <a:gd name="connsiteY20" fmla="*/ 2974931 h 4164902"/>
              <a:gd name="connsiteX21" fmla="*/ 4321786 w 9409039"/>
              <a:gd name="connsiteY21" fmla="*/ 2812093 h 4164902"/>
              <a:gd name="connsiteX22" fmla="*/ 4171474 w 9409039"/>
              <a:gd name="connsiteY22" fmla="*/ 2943616 h 4164902"/>
              <a:gd name="connsiteX23" fmla="*/ 4465835 w 9409039"/>
              <a:gd name="connsiteY23" fmla="*/ 2999983 h 4164902"/>
              <a:gd name="connsiteX24" fmla="*/ 3933479 w 9409039"/>
              <a:gd name="connsiteY24" fmla="*/ 2711885 h 4164902"/>
              <a:gd name="connsiteX0" fmla="*/ 0 w 9409039"/>
              <a:gd name="connsiteY0" fmla="*/ 4164902 h 4164902"/>
              <a:gd name="connsiteX1" fmla="*/ 2655824 w 9409039"/>
              <a:gd name="connsiteY1" fmla="*/ 3739019 h 4164902"/>
              <a:gd name="connsiteX2" fmla="*/ 4321786 w 9409039"/>
              <a:gd name="connsiteY2" fmla="*/ 2774515 h 4164902"/>
              <a:gd name="connsiteX3" fmla="*/ 4553517 w 9409039"/>
              <a:gd name="connsiteY3" fmla="*/ 2254685 h 4164902"/>
              <a:gd name="connsiteX4" fmla="*/ 4685041 w 9409039"/>
              <a:gd name="connsiteY4" fmla="*/ 1803748 h 4164902"/>
              <a:gd name="connsiteX5" fmla="*/ 5098400 w 9409039"/>
              <a:gd name="connsiteY5" fmla="*/ 1108553 h 4164902"/>
              <a:gd name="connsiteX6" fmla="*/ 5380235 w 9409039"/>
              <a:gd name="connsiteY6" fmla="*/ 770350 h 4164902"/>
              <a:gd name="connsiteX7" fmla="*/ 5530548 w 9409039"/>
              <a:gd name="connsiteY7" fmla="*/ 632564 h 4164902"/>
              <a:gd name="connsiteX8" fmla="*/ 5994011 w 9409039"/>
              <a:gd name="connsiteY8" fmla="*/ 319413 h 4164902"/>
              <a:gd name="connsiteX9" fmla="*/ 6513841 w 9409039"/>
              <a:gd name="connsiteY9" fmla="*/ 112734 h 4164902"/>
              <a:gd name="connsiteX10" fmla="*/ 6758098 w 9409039"/>
              <a:gd name="connsiteY10" fmla="*/ 43841 h 4164902"/>
              <a:gd name="connsiteX11" fmla="*/ 7221561 w 9409039"/>
              <a:gd name="connsiteY11" fmla="*/ 0 h 4164902"/>
              <a:gd name="connsiteX12" fmla="*/ 8018350 w 9409039"/>
              <a:gd name="connsiteY12" fmla="*/ 74773 h 4164902"/>
              <a:gd name="connsiteX13" fmla="*/ 8073331 w 9409039"/>
              <a:gd name="connsiteY13" fmla="*/ 93945 h 4164902"/>
              <a:gd name="connsiteX14" fmla="*/ 9112991 w 9409039"/>
              <a:gd name="connsiteY14" fmla="*/ 751561 h 4164902"/>
              <a:gd name="connsiteX15" fmla="*/ 9401090 w 9409039"/>
              <a:gd name="connsiteY15" fmla="*/ 1791222 h 4164902"/>
              <a:gd name="connsiteX16" fmla="*/ 8879025 w 9409039"/>
              <a:gd name="connsiteY16" fmla="*/ 2907829 h 4164902"/>
              <a:gd name="connsiteX17" fmla="*/ 7183983 w 9409039"/>
              <a:gd name="connsiteY17" fmla="*/ 3106455 h 4164902"/>
              <a:gd name="connsiteX18" fmla="*/ 6319687 w 9409039"/>
              <a:gd name="connsiteY18" fmla="*/ 3043824 h 4164902"/>
              <a:gd name="connsiteX19" fmla="*/ 5793594 w 9409039"/>
              <a:gd name="connsiteY19" fmla="*/ 2974931 h 4164902"/>
              <a:gd name="connsiteX20" fmla="*/ 4321786 w 9409039"/>
              <a:gd name="connsiteY20" fmla="*/ 2812093 h 4164902"/>
              <a:gd name="connsiteX21" fmla="*/ 4171474 w 9409039"/>
              <a:gd name="connsiteY21" fmla="*/ 2943616 h 4164902"/>
              <a:gd name="connsiteX22" fmla="*/ 4465835 w 9409039"/>
              <a:gd name="connsiteY22" fmla="*/ 2999983 h 4164902"/>
              <a:gd name="connsiteX23" fmla="*/ 3933479 w 9409039"/>
              <a:gd name="connsiteY23" fmla="*/ 2711885 h 4164902"/>
              <a:gd name="connsiteX0" fmla="*/ 0 w 9409502"/>
              <a:gd name="connsiteY0" fmla="*/ 4172857 h 4172857"/>
              <a:gd name="connsiteX1" fmla="*/ 2655824 w 9409502"/>
              <a:gd name="connsiteY1" fmla="*/ 3746974 h 4172857"/>
              <a:gd name="connsiteX2" fmla="*/ 4321786 w 9409502"/>
              <a:gd name="connsiteY2" fmla="*/ 2782470 h 4172857"/>
              <a:gd name="connsiteX3" fmla="*/ 4553517 w 9409502"/>
              <a:gd name="connsiteY3" fmla="*/ 2262640 h 4172857"/>
              <a:gd name="connsiteX4" fmla="*/ 4685041 w 9409502"/>
              <a:gd name="connsiteY4" fmla="*/ 1811703 h 4172857"/>
              <a:gd name="connsiteX5" fmla="*/ 5098400 w 9409502"/>
              <a:gd name="connsiteY5" fmla="*/ 1116508 h 4172857"/>
              <a:gd name="connsiteX6" fmla="*/ 5380235 w 9409502"/>
              <a:gd name="connsiteY6" fmla="*/ 778305 h 4172857"/>
              <a:gd name="connsiteX7" fmla="*/ 5530548 w 9409502"/>
              <a:gd name="connsiteY7" fmla="*/ 640519 h 4172857"/>
              <a:gd name="connsiteX8" fmla="*/ 5994011 w 9409502"/>
              <a:gd name="connsiteY8" fmla="*/ 327368 h 4172857"/>
              <a:gd name="connsiteX9" fmla="*/ 6513841 w 9409502"/>
              <a:gd name="connsiteY9" fmla="*/ 120689 h 4172857"/>
              <a:gd name="connsiteX10" fmla="*/ 6758098 w 9409502"/>
              <a:gd name="connsiteY10" fmla="*/ 51796 h 4172857"/>
              <a:gd name="connsiteX11" fmla="*/ 7221561 w 9409502"/>
              <a:gd name="connsiteY11" fmla="*/ 7955 h 4172857"/>
              <a:gd name="connsiteX12" fmla="*/ 8018350 w 9409502"/>
              <a:gd name="connsiteY12" fmla="*/ 82728 h 4172857"/>
              <a:gd name="connsiteX13" fmla="*/ 9112991 w 9409502"/>
              <a:gd name="connsiteY13" fmla="*/ 759516 h 4172857"/>
              <a:gd name="connsiteX14" fmla="*/ 9401090 w 9409502"/>
              <a:gd name="connsiteY14" fmla="*/ 1799177 h 4172857"/>
              <a:gd name="connsiteX15" fmla="*/ 8879025 w 9409502"/>
              <a:gd name="connsiteY15" fmla="*/ 2915784 h 4172857"/>
              <a:gd name="connsiteX16" fmla="*/ 7183983 w 9409502"/>
              <a:gd name="connsiteY16" fmla="*/ 3114410 h 4172857"/>
              <a:gd name="connsiteX17" fmla="*/ 6319687 w 9409502"/>
              <a:gd name="connsiteY17" fmla="*/ 3051779 h 4172857"/>
              <a:gd name="connsiteX18" fmla="*/ 5793594 w 9409502"/>
              <a:gd name="connsiteY18" fmla="*/ 2982886 h 4172857"/>
              <a:gd name="connsiteX19" fmla="*/ 4321786 w 9409502"/>
              <a:gd name="connsiteY19" fmla="*/ 2820048 h 4172857"/>
              <a:gd name="connsiteX20" fmla="*/ 4171474 w 9409502"/>
              <a:gd name="connsiteY20" fmla="*/ 2951571 h 4172857"/>
              <a:gd name="connsiteX21" fmla="*/ 4465835 w 9409502"/>
              <a:gd name="connsiteY21" fmla="*/ 3007938 h 4172857"/>
              <a:gd name="connsiteX22" fmla="*/ 3933479 w 9409502"/>
              <a:gd name="connsiteY22" fmla="*/ 2719840 h 4172857"/>
              <a:gd name="connsiteX0" fmla="*/ 0 w 9409105"/>
              <a:gd name="connsiteY0" fmla="*/ 4172858 h 4172858"/>
              <a:gd name="connsiteX1" fmla="*/ 2655824 w 9409105"/>
              <a:gd name="connsiteY1" fmla="*/ 3746975 h 4172858"/>
              <a:gd name="connsiteX2" fmla="*/ 4321786 w 9409105"/>
              <a:gd name="connsiteY2" fmla="*/ 2782471 h 4172858"/>
              <a:gd name="connsiteX3" fmla="*/ 4553517 w 9409105"/>
              <a:gd name="connsiteY3" fmla="*/ 2262641 h 4172858"/>
              <a:gd name="connsiteX4" fmla="*/ 4685041 w 9409105"/>
              <a:gd name="connsiteY4" fmla="*/ 1811704 h 4172858"/>
              <a:gd name="connsiteX5" fmla="*/ 5098400 w 9409105"/>
              <a:gd name="connsiteY5" fmla="*/ 1116509 h 4172858"/>
              <a:gd name="connsiteX6" fmla="*/ 5380235 w 9409105"/>
              <a:gd name="connsiteY6" fmla="*/ 778306 h 4172858"/>
              <a:gd name="connsiteX7" fmla="*/ 5530548 w 9409105"/>
              <a:gd name="connsiteY7" fmla="*/ 640520 h 4172858"/>
              <a:gd name="connsiteX8" fmla="*/ 5994011 w 9409105"/>
              <a:gd name="connsiteY8" fmla="*/ 327369 h 4172858"/>
              <a:gd name="connsiteX9" fmla="*/ 6513841 w 9409105"/>
              <a:gd name="connsiteY9" fmla="*/ 120690 h 4172858"/>
              <a:gd name="connsiteX10" fmla="*/ 6758098 w 9409105"/>
              <a:gd name="connsiteY10" fmla="*/ 51797 h 4172858"/>
              <a:gd name="connsiteX11" fmla="*/ 7221561 w 9409105"/>
              <a:gd name="connsiteY11" fmla="*/ 7956 h 4172858"/>
              <a:gd name="connsiteX12" fmla="*/ 8018350 w 9409105"/>
              <a:gd name="connsiteY12" fmla="*/ 82729 h 4172858"/>
              <a:gd name="connsiteX13" fmla="*/ 8065240 w 9409105"/>
              <a:gd name="connsiteY13" fmla="*/ 99347 h 4172858"/>
              <a:gd name="connsiteX14" fmla="*/ 9112991 w 9409105"/>
              <a:gd name="connsiteY14" fmla="*/ 759517 h 4172858"/>
              <a:gd name="connsiteX15" fmla="*/ 9401090 w 9409105"/>
              <a:gd name="connsiteY15" fmla="*/ 1799178 h 4172858"/>
              <a:gd name="connsiteX16" fmla="*/ 8879025 w 9409105"/>
              <a:gd name="connsiteY16" fmla="*/ 2915785 h 4172858"/>
              <a:gd name="connsiteX17" fmla="*/ 7183983 w 9409105"/>
              <a:gd name="connsiteY17" fmla="*/ 3114411 h 4172858"/>
              <a:gd name="connsiteX18" fmla="*/ 6319687 w 9409105"/>
              <a:gd name="connsiteY18" fmla="*/ 3051780 h 4172858"/>
              <a:gd name="connsiteX19" fmla="*/ 5793594 w 9409105"/>
              <a:gd name="connsiteY19" fmla="*/ 2982887 h 4172858"/>
              <a:gd name="connsiteX20" fmla="*/ 4321786 w 9409105"/>
              <a:gd name="connsiteY20" fmla="*/ 2820049 h 4172858"/>
              <a:gd name="connsiteX21" fmla="*/ 4171474 w 9409105"/>
              <a:gd name="connsiteY21" fmla="*/ 2951572 h 4172858"/>
              <a:gd name="connsiteX22" fmla="*/ 4465835 w 9409105"/>
              <a:gd name="connsiteY22" fmla="*/ 3007939 h 4172858"/>
              <a:gd name="connsiteX23" fmla="*/ 3933479 w 9409105"/>
              <a:gd name="connsiteY23" fmla="*/ 2719841 h 4172858"/>
              <a:gd name="connsiteX0" fmla="*/ 0 w 9409502"/>
              <a:gd name="connsiteY0" fmla="*/ 4172858 h 4172858"/>
              <a:gd name="connsiteX1" fmla="*/ 2655824 w 9409502"/>
              <a:gd name="connsiteY1" fmla="*/ 3746975 h 4172858"/>
              <a:gd name="connsiteX2" fmla="*/ 4321786 w 9409502"/>
              <a:gd name="connsiteY2" fmla="*/ 2782471 h 4172858"/>
              <a:gd name="connsiteX3" fmla="*/ 4553517 w 9409502"/>
              <a:gd name="connsiteY3" fmla="*/ 2262641 h 4172858"/>
              <a:gd name="connsiteX4" fmla="*/ 4685041 w 9409502"/>
              <a:gd name="connsiteY4" fmla="*/ 1811704 h 4172858"/>
              <a:gd name="connsiteX5" fmla="*/ 5098400 w 9409502"/>
              <a:gd name="connsiteY5" fmla="*/ 1116509 h 4172858"/>
              <a:gd name="connsiteX6" fmla="*/ 5380235 w 9409502"/>
              <a:gd name="connsiteY6" fmla="*/ 778306 h 4172858"/>
              <a:gd name="connsiteX7" fmla="*/ 5530548 w 9409502"/>
              <a:gd name="connsiteY7" fmla="*/ 640520 h 4172858"/>
              <a:gd name="connsiteX8" fmla="*/ 5994011 w 9409502"/>
              <a:gd name="connsiteY8" fmla="*/ 327369 h 4172858"/>
              <a:gd name="connsiteX9" fmla="*/ 6513841 w 9409502"/>
              <a:gd name="connsiteY9" fmla="*/ 120690 h 4172858"/>
              <a:gd name="connsiteX10" fmla="*/ 6758098 w 9409502"/>
              <a:gd name="connsiteY10" fmla="*/ 51797 h 4172858"/>
              <a:gd name="connsiteX11" fmla="*/ 7221561 w 9409502"/>
              <a:gd name="connsiteY11" fmla="*/ 7956 h 4172858"/>
              <a:gd name="connsiteX12" fmla="*/ 8018350 w 9409502"/>
              <a:gd name="connsiteY12" fmla="*/ 82729 h 4172858"/>
              <a:gd name="connsiteX13" fmla="*/ 9112991 w 9409502"/>
              <a:gd name="connsiteY13" fmla="*/ 759517 h 4172858"/>
              <a:gd name="connsiteX14" fmla="*/ 9401090 w 9409502"/>
              <a:gd name="connsiteY14" fmla="*/ 1799178 h 4172858"/>
              <a:gd name="connsiteX15" fmla="*/ 8879025 w 9409502"/>
              <a:gd name="connsiteY15" fmla="*/ 2915785 h 4172858"/>
              <a:gd name="connsiteX16" fmla="*/ 7183983 w 9409502"/>
              <a:gd name="connsiteY16" fmla="*/ 3114411 h 4172858"/>
              <a:gd name="connsiteX17" fmla="*/ 6319687 w 9409502"/>
              <a:gd name="connsiteY17" fmla="*/ 3051780 h 4172858"/>
              <a:gd name="connsiteX18" fmla="*/ 5793594 w 9409502"/>
              <a:gd name="connsiteY18" fmla="*/ 2982887 h 4172858"/>
              <a:gd name="connsiteX19" fmla="*/ 4321786 w 9409502"/>
              <a:gd name="connsiteY19" fmla="*/ 2820049 h 4172858"/>
              <a:gd name="connsiteX20" fmla="*/ 4171474 w 9409502"/>
              <a:gd name="connsiteY20" fmla="*/ 2951572 h 4172858"/>
              <a:gd name="connsiteX21" fmla="*/ 4465835 w 9409502"/>
              <a:gd name="connsiteY21" fmla="*/ 3007939 h 4172858"/>
              <a:gd name="connsiteX22" fmla="*/ 3933479 w 9409502"/>
              <a:gd name="connsiteY22" fmla="*/ 2719841 h 4172858"/>
              <a:gd name="connsiteX0" fmla="*/ 0 w 9424727"/>
              <a:gd name="connsiteY0" fmla="*/ 4164903 h 4164903"/>
              <a:gd name="connsiteX1" fmla="*/ 2655824 w 9424727"/>
              <a:gd name="connsiteY1" fmla="*/ 3739020 h 4164903"/>
              <a:gd name="connsiteX2" fmla="*/ 4321786 w 9424727"/>
              <a:gd name="connsiteY2" fmla="*/ 2774516 h 4164903"/>
              <a:gd name="connsiteX3" fmla="*/ 4553517 w 9424727"/>
              <a:gd name="connsiteY3" fmla="*/ 2254686 h 4164903"/>
              <a:gd name="connsiteX4" fmla="*/ 4685041 w 9424727"/>
              <a:gd name="connsiteY4" fmla="*/ 1803749 h 4164903"/>
              <a:gd name="connsiteX5" fmla="*/ 5098400 w 9424727"/>
              <a:gd name="connsiteY5" fmla="*/ 1108554 h 4164903"/>
              <a:gd name="connsiteX6" fmla="*/ 5380235 w 9424727"/>
              <a:gd name="connsiteY6" fmla="*/ 770351 h 4164903"/>
              <a:gd name="connsiteX7" fmla="*/ 5530548 w 9424727"/>
              <a:gd name="connsiteY7" fmla="*/ 632565 h 4164903"/>
              <a:gd name="connsiteX8" fmla="*/ 5994011 w 9424727"/>
              <a:gd name="connsiteY8" fmla="*/ 319414 h 4164903"/>
              <a:gd name="connsiteX9" fmla="*/ 6513841 w 9424727"/>
              <a:gd name="connsiteY9" fmla="*/ 112735 h 4164903"/>
              <a:gd name="connsiteX10" fmla="*/ 6758098 w 9424727"/>
              <a:gd name="connsiteY10" fmla="*/ 43842 h 4164903"/>
              <a:gd name="connsiteX11" fmla="*/ 7221561 w 9424727"/>
              <a:gd name="connsiteY11" fmla="*/ 1 h 4164903"/>
              <a:gd name="connsiteX12" fmla="*/ 9112991 w 9424727"/>
              <a:gd name="connsiteY12" fmla="*/ 751562 h 4164903"/>
              <a:gd name="connsiteX13" fmla="*/ 9401090 w 9424727"/>
              <a:gd name="connsiteY13" fmla="*/ 1791223 h 4164903"/>
              <a:gd name="connsiteX14" fmla="*/ 8879025 w 9424727"/>
              <a:gd name="connsiteY14" fmla="*/ 2907830 h 4164903"/>
              <a:gd name="connsiteX15" fmla="*/ 7183983 w 9424727"/>
              <a:gd name="connsiteY15" fmla="*/ 3106456 h 4164903"/>
              <a:gd name="connsiteX16" fmla="*/ 6319687 w 9424727"/>
              <a:gd name="connsiteY16" fmla="*/ 3043825 h 4164903"/>
              <a:gd name="connsiteX17" fmla="*/ 5793594 w 9424727"/>
              <a:gd name="connsiteY17" fmla="*/ 2974932 h 4164903"/>
              <a:gd name="connsiteX18" fmla="*/ 4321786 w 9424727"/>
              <a:gd name="connsiteY18" fmla="*/ 2812094 h 4164903"/>
              <a:gd name="connsiteX19" fmla="*/ 4171474 w 9424727"/>
              <a:gd name="connsiteY19" fmla="*/ 2943617 h 4164903"/>
              <a:gd name="connsiteX20" fmla="*/ 4465835 w 9424727"/>
              <a:gd name="connsiteY20" fmla="*/ 2999984 h 4164903"/>
              <a:gd name="connsiteX21" fmla="*/ 3933479 w 9424727"/>
              <a:gd name="connsiteY21" fmla="*/ 2711886 h 4164903"/>
              <a:gd name="connsiteX0" fmla="*/ 0 w 9424727"/>
              <a:gd name="connsiteY0" fmla="*/ 4199826 h 4199826"/>
              <a:gd name="connsiteX1" fmla="*/ 2655824 w 9424727"/>
              <a:gd name="connsiteY1" fmla="*/ 3773943 h 4199826"/>
              <a:gd name="connsiteX2" fmla="*/ 4321786 w 9424727"/>
              <a:gd name="connsiteY2" fmla="*/ 2809439 h 4199826"/>
              <a:gd name="connsiteX3" fmla="*/ 4553517 w 9424727"/>
              <a:gd name="connsiteY3" fmla="*/ 2289609 h 4199826"/>
              <a:gd name="connsiteX4" fmla="*/ 4685041 w 9424727"/>
              <a:gd name="connsiteY4" fmla="*/ 1838672 h 4199826"/>
              <a:gd name="connsiteX5" fmla="*/ 5098400 w 9424727"/>
              <a:gd name="connsiteY5" fmla="*/ 1143477 h 4199826"/>
              <a:gd name="connsiteX6" fmla="*/ 5380235 w 9424727"/>
              <a:gd name="connsiteY6" fmla="*/ 805274 h 4199826"/>
              <a:gd name="connsiteX7" fmla="*/ 5530548 w 9424727"/>
              <a:gd name="connsiteY7" fmla="*/ 667488 h 4199826"/>
              <a:gd name="connsiteX8" fmla="*/ 5994011 w 9424727"/>
              <a:gd name="connsiteY8" fmla="*/ 354337 h 4199826"/>
              <a:gd name="connsiteX9" fmla="*/ 6513841 w 9424727"/>
              <a:gd name="connsiteY9" fmla="*/ 147658 h 4199826"/>
              <a:gd name="connsiteX10" fmla="*/ 7221561 w 9424727"/>
              <a:gd name="connsiteY10" fmla="*/ 34924 h 4199826"/>
              <a:gd name="connsiteX11" fmla="*/ 9112991 w 9424727"/>
              <a:gd name="connsiteY11" fmla="*/ 786485 h 4199826"/>
              <a:gd name="connsiteX12" fmla="*/ 9401090 w 9424727"/>
              <a:gd name="connsiteY12" fmla="*/ 1826146 h 4199826"/>
              <a:gd name="connsiteX13" fmla="*/ 8879025 w 9424727"/>
              <a:gd name="connsiteY13" fmla="*/ 2942753 h 4199826"/>
              <a:gd name="connsiteX14" fmla="*/ 7183983 w 9424727"/>
              <a:gd name="connsiteY14" fmla="*/ 3141379 h 4199826"/>
              <a:gd name="connsiteX15" fmla="*/ 6319687 w 9424727"/>
              <a:gd name="connsiteY15" fmla="*/ 3078748 h 4199826"/>
              <a:gd name="connsiteX16" fmla="*/ 5793594 w 9424727"/>
              <a:gd name="connsiteY16" fmla="*/ 3009855 h 4199826"/>
              <a:gd name="connsiteX17" fmla="*/ 4321786 w 9424727"/>
              <a:gd name="connsiteY17" fmla="*/ 2847017 h 4199826"/>
              <a:gd name="connsiteX18" fmla="*/ 4171474 w 9424727"/>
              <a:gd name="connsiteY18" fmla="*/ 2978540 h 4199826"/>
              <a:gd name="connsiteX19" fmla="*/ 4465835 w 9424727"/>
              <a:gd name="connsiteY19" fmla="*/ 3034907 h 4199826"/>
              <a:gd name="connsiteX20" fmla="*/ 3933479 w 9424727"/>
              <a:gd name="connsiteY20" fmla="*/ 2746809 h 4199826"/>
              <a:gd name="connsiteX0" fmla="*/ 0 w 9455586"/>
              <a:gd name="connsiteY0" fmla="*/ 4067256 h 4067256"/>
              <a:gd name="connsiteX1" fmla="*/ 2655824 w 9455586"/>
              <a:gd name="connsiteY1" fmla="*/ 3641373 h 4067256"/>
              <a:gd name="connsiteX2" fmla="*/ 4321786 w 9455586"/>
              <a:gd name="connsiteY2" fmla="*/ 2676869 h 4067256"/>
              <a:gd name="connsiteX3" fmla="*/ 4553517 w 9455586"/>
              <a:gd name="connsiteY3" fmla="*/ 2157039 h 4067256"/>
              <a:gd name="connsiteX4" fmla="*/ 4685041 w 9455586"/>
              <a:gd name="connsiteY4" fmla="*/ 1706102 h 4067256"/>
              <a:gd name="connsiteX5" fmla="*/ 5098400 w 9455586"/>
              <a:gd name="connsiteY5" fmla="*/ 1010907 h 4067256"/>
              <a:gd name="connsiteX6" fmla="*/ 5380235 w 9455586"/>
              <a:gd name="connsiteY6" fmla="*/ 672704 h 4067256"/>
              <a:gd name="connsiteX7" fmla="*/ 5530548 w 9455586"/>
              <a:gd name="connsiteY7" fmla="*/ 534918 h 4067256"/>
              <a:gd name="connsiteX8" fmla="*/ 5994011 w 9455586"/>
              <a:gd name="connsiteY8" fmla="*/ 221767 h 4067256"/>
              <a:gd name="connsiteX9" fmla="*/ 6513841 w 9455586"/>
              <a:gd name="connsiteY9" fmla="*/ 15088 h 4067256"/>
              <a:gd name="connsiteX10" fmla="*/ 9112991 w 9455586"/>
              <a:gd name="connsiteY10" fmla="*/ 653915 h 4067256"/>
              <a:gd name="connsiteX11" fmla="*/ 9401090 w 9455586"/>
              <a:gd name="connsiteY11" fmla="*/ 1693576 h 4067256"/>
              <a:gd name="connsiteX12" fmla="*/ 8879025 w 9455586"/>
              <a:gd name="connsiteY12" fmla="*/ 2810183 h 4067256"/>
              <a:gd name="connsiteX13" fmla="*/ 7183983 w 9455586"/>
              <a:gd name="connsiteY13" fmla="*/ 3008809 h 4067256"/>
              <a:gd name="connsiteX14" fmla="*/ 6319687 w 9455586"/>
              <a:gd name="connsiteY14" fmla="*/ 2946178 h 4067256"/>
              <a:gd name="connsiteX15" fmla="*/ 5793594 w 9455586"/>
              <a:gd name="connsiteY15" fmla="*/ 2877285 h 4067256"/>
              <a:gd name="connsiteX16" fmla="*/ 4321786 w 9455586"/>
              <a:gd name="connsiteY16" fmla="*/ 2714447 h 4067256"/>
              <a:gd name="connsiteX17" fmla="*/ 4171474 w 9455586"/>
              <a:gd name="connsiteY17" fmla="*/ 2845970 h 4067256"/>
              <a:gd name="connsiteX18" fmla="*/ 4465835 w 9455586"/>
              <a:gd name="connsiteY18" fmla="*/ 2902337 h 4067256"/>
              <a:gd name="connsiteX19" fmla="*/ 3933479 w 9455586"/>
              <a:gd name="connsiteY19" fmla="*/ 2614239 h 4067256"/>
              <a:gd name="connsiteX0" fmla="*/ 0 w 9537828"/>
              <a:gd name="connsiteY0" fmla="*/ 4133826 h 4133826"/>
              <a:gd name="connsiteX1" fmla="*/ 2655824 w 9537828"/>
              <a:gd name="connsiteY1" fmla="*/ 3707943 h 4133826"/>
              <a:gd name="connsiteX2" fmla="*/ 4321786 w 9537828"/>
              <a:gd name="connsiteY2" fmla="*/ 2743439 h 4133826"/>
              <a:gd name="connsiteX3" fmla="*/ 4553517 w 9537828"/>
              <a:gd name="connsiteY3" fmla="*/ 2223609 h 4133826"/>
              <a:gd name="connsiteX4" fmla="*/ 4685041 w 9537828"/>
              <a:gd name="connsiteY4" fmla="*/ 1772672 h 4133826"/>
              <a:gd name="connsiteX5" fmla="*/ 5098400 w 9537828"/>
              <a:gd name="connsiteY5" fmla="*/ 1077477 h 4133826"/>
              <a:gd name="connsiteX6" fmla="*/ 5380235 w 9537828"/>
              <a:gd name="connsiteY6" fmla="*/ 739274 h 4133826"/>
              <a:gd name="connsiteX7" fmla="*/ 5530548 w 9537828"/>
              <a:gd name="connsiteY7" fmla="*/ 601488 h 4133826"/>
              <a:gd name="connsiteX8" fmla="*/ 5994011 w 9537828"/>
              <a:gd name="connsiteY8" fmla="*/ 288337 h 4133826"/>
              <a:gd name="connsiteX9" fmla="*/ 6513841 w 9537828"/>
              <a:gd name="connsiteY9" fmla="*/ 81658 h 4133826"/>
              <a:gd name="connsiteX10" fmla="*/ 9401090 w 9537828"/>
              <a:gd name="connsiteY10" fmla="*/ 1760146 h 4133826"/>
              <a:gd name="connsiteX11" fmla="*/ 8879025 w 9537828"/>
              <a:gd name="connsiteY11" fmla="*/ 2876753 h 4133826"/>
              <a:gd name="connsiteX12" fmla="*/ 7183983 w 9537828"/>
              <a:gd name="connsiteY12" fmla="*/ 3075379 h 4133826"/>
              <a:gd name="connsiteX13" fmla="*/ 6319687 w 9537828"/>
              <a:gd name="connsiteY13" fmla="*/ 3012748 h 4133826"/>
              <a:gd name="connsiteX14" fmla="*/ 5793594 w 9537828"/>
              <a:gd name="connsiteY14" fmla="*/ 2943855 h 4133826"/>
              <a:gd name="connsiteX15" fmla="*/ 4321786 w 9537828"/>
              <a:gd name="connsiteY15" fmla="*/ 2781017 h 4133826"/>
              <a:gd name="connsiteX16" fmla="*/ 4171474 w 9537828"/>
              <a:gd name="connsiteY16" fmla="*/ 2912540 h 4133826"/>
              <a:gd name="connsiteX17" fmla="*/ 4465835 w 9537828"/>
              <a:gd name="connsiteY17" fmla="*/ 2968907 h 4133826"/>
              <a:gd name="connsiteX18" fmla="*/ 3933479 w 9537828"/>
              <a:gd name="connsiteY18" fmla="*/ 2680809 h 4133826"/>
              <a:gd name="connsiteX0" fmla="*/ 0 w 9574428"/>
              <a:gd name="connsiteY0" fmla="*/ 3895190 h 3895190"/>
              <a:gd name="connsiteX1" fmla="*/ 2655824 w 9574428"/>
              <a:gd name="connsiteY1" fmla="*/ 3469307 h 3895190"/>
              <a:gd name="connsiteX2" fmla="*/ 4321786 w 9574428"/>
              <a:gd name="connsiteY2" fmla="*/ 2504803 h 3895190"/>
              <a:gd name="connsiteX3" fmla="*/ 4553517 w 9574428"/>
              <a:gd name="connsiteY3" fmla="*/ 1984973 h 3895190"/>
              <a:gd name="connsiteX4" fmla="*/ 4685041 w 9574428"/>
              <a:gd name="connsiteY4" fmla="*/ 1534036 h 3895190"/>
              <a:gd name="connsiteX5" fmla="*/ 5098400 w 9574428"/>
              <a:gd name="connsiteY5" fmla="*/ 838841 h 3895190"/>
              <a:gd name="connsiteX6" fmla="*/ 5380235 w 9574428"/>
              <a:gd name="connsiteY6" fmla="*/ 500638 h 3895190"/>
              <a:gd name="connsiteX7" fmla="*/ 5530548 w 9574428"/>
              <a:gd name="connsiteY7" fmla="*/ 362852 h 3895190"/>
              <a:gd name="connsiteX8" fmla="*/ 5994011 w 9574428"/>
              <a:gd name="connsiteY8" fmla="*/ 49701 h 3895190"/>
              <a:gd name="connsiteX9" fmla="*/ 9401090 w 9574428"/>
              <a:gd name="connsiteY9" fmla="*/ 1521510 h 3895190"/>
              <a:gd name="connsiteX10" fmla="*/ 8879025 w 9574428"/>
              <a:gd name="connsiteY10" fmla="*/ 2638117 h 3895190"/>
              <a:gd name="connsiteX11" fmla="*/ 7183983 w 9574428"/>
              <a:gd name="connsiteY11" fmla="*/ 2836743 h 3895190"/>
              <a:gd name="connsiteX12" fmla="*/ 6319687 w 9574428"/>
              <a:gd name="connsiteY12" fmla="*/ 2774112 h 3895190"/>
              <a:gd name="connsiteX13" fmla="*/ 5793594 w 9574428"/>
              <a:gd name="connsiteY13" fmla="*/ 2705219 h 3895190"/>
              <a:gd name="connsiteX14" fmla="*/ 4321786 w 9574428"/>
              <a:gd name="connsiteY14" fmla="*/ 2542381 h 3895190"/>
              <a:gd name="connsiteX15" fmla="*/ 4171474 w 9574428"/>
              <a:gd name="connsiteY15" fmla="*/ 2673904 h 3895190"/>
              <a:gd name="connsiteX16" fmla="*/ 4465835 w 9574428"/>
              <a:gd name="connsiteY16" fmla="*/ 2730271 h 3895190"/>
              <a:gd name="connsiteX17" fmla="*/ 3933479 w 9574428"/>
              <a:gd name="connsiteY17" fmla="*/ 2442173 h 3895190"/>
              <a:gd name="connsiteX0" fmla="*/ 0 w 9434022"/>
              <a:gd name="connsiteY0" fmla="*/ 4067155 h 4067155"/>
              <a:gd name="connsiteX1" fmla="*/ 2655824 w 9434022"/>
              <a:gd name="connsiteY1" fmla="*/ 3641272 h 4067155"/>
              <a:gd name="connsiteX2" fmla="*/ 4321786 w 9434022"/>
              <a:gd name="connsiteY2" fmla="*/ 2676768 h 4067155"/>
              <a:gd name="connsiteX3" fmla="*/ 4553517 w 9434022"/>
              <a:gd name="connsiteY3" fmla="*/ 2156938 h 4067155"/>
              <a:gd name="connsiteX4" fmla="*/ 4685041 w 9434022"/>
              <a:gd name="connsiteY4" fmla="*/ 1706001 h 4067155"/>
              <a:gd name="connsiteX5" fmla="*/ 5098400 w 9434022"/>
              <a:gd name="connsiteY5" fmla="*/ 1010806 h 4067155"/>
              <a:gd name="connsiteX6" fmla="*/ 5380235 w 9434022"/>
              <a:gd name="connsiteY6" fmla="*/ 672603 h 4067155"/>
              <a:gd name="connsiteX7" fmla="*/ 5530548 w 9434022"/>
              <a:gd name="connsiteY7" fmla="*/ 534817 h 4067155"/>
              <a:gd name="connsiteX8" fmla="*/ 8085348 w 9434022"/>
              <a:gd name="connsiteY8" fmla="*/ 38888 h 4067155"/>
              <a:gd name="connsiteX9" fmla="*/ 9401090 w 9434022"/>
              <a:gd name="connsiteY9" fmla="*/ 1693475 h 4067155"/>
              <a:gd name="connsiteX10" fmla="*/ 8879025 w 9434022"/>
              <a:gd name="connsiteY10" fmla="*/ 2810082 h 4067155"/>
              <a:gd name="connsiteX11" fmla="*/ 7183983 w 9434022"/>
              <a:gd name="connsiteY11" fmla="*/ 3008708 h 4067155"/>
              <a:gd name="connsiteX12" fmla="*/ 6319687 w 9434022"/>
              <a:gd name="connsiteY12" fmla="*/ 2946077 h 4067155"/>
              <a:gd name="connsiteX13" fmla="*/ 5793594 w 9434022"/>
              <a:gd name="connsiteY13" fmla="*/ 2877184 h 4067155"/>
              <a:gd name="connsiteX14" fmla="*/ 4321786 w 9434022"/>
              <a:gd name="connsiteY14" fmla="*/ 2714346 h 4067155"/>
              <a:gd name="connsiteX15" fmla="*/ 4171474 w 9434022"/>
              <a:gd name="connsiteY15" fmla="*/ 2845869 h 4067155"/>
              <a:gd name="connsiteX16" fmla="*/ 4465835 w 9434022"/>
              <a:gd name="connsiteY16" fmla="*/ 2902236 h 4067155"/>
              <a:gd name="connsiteX17" fmla="*/ 3933479 w 9434022"/>
              <a:gd name="connsiteY17" fmla="*/ 2614138 h 4067155"/>
              <a:gd name="connsiteX0" fmla="*/ 0 w 9434022"/>
              <a:gd name="connsiteY0" fmla="*/ 4070221 h 4070221"/>
              <a:gd name="connsiteX1" fmla="*/ 2655824 w 9434022"/>
              <a:gd name="connsiteY1" fmla="*/ 3644338 h 4070221"/>
              <a:gd name="connsiteX2" fmla="*/ 4321786 w 9434022"/>
              <a:gd name="connsiteY2" fmla="*/ 2679834 h 4070221"/>
              <a:gd name="connsiteX3" fmla="*/ 4553517 w 9434022"/>
              <a:gd name="connsiteY3" fmla="*/ 2160004 h 4070221"/>
              <a:gd name="connsiteX4" fmla="*/ 4685041 w 9434022"/>
              <a:gd name="connsiteY4" fmla="*/ 1709067 h 4070221"/>
              <a:gd name="connsiteX5" fmla="*/ 5098400 w 9434022"/>
              <a:gd name="connsiteY5" fmla="*/ 1013872 h 4070221"/>
              <a:gd name="connsiteX6" fmla="*/ 5530548 w 9434022"/>
              <a:gd name="connsiteY6" fmla="*/ 537883 h 4070221"/>
              <a:gd name="connsiteX7" fmla="*/ 8085348 w 9434022"/>
              <a:gd name="connsiteY7" fmla="*/ 41954 h 4070221"/>
              <a:gd name="connsiteX8" fmla="*/ 9401090 w 9434022"/>
              <a:gd name="connsiteY8" fmla="*/ 1696541 h 4070221"/>
              <a:gd name="connsiteX9" fmla="*/ 8879025 w 9434022"/>
              <a:gd name="connsiteY9" fmla="*/ 2813148 h 4070221"/>
              <a:gd name="connsiteX10" fmla="*/ 7183983 w 9434022"/>
              <a:gd name="connsiteY10" fmla="*/ 3011774 h 4070221"/>
              <a:gd name="connsiteX11" fmla="*/ 6319687 w 9434022"/>
              <a:gd name="connsiteY11" fmla="*/ 2949143 h 4070221"/>
              <a:gd name="connsiteX12" fmla="*/ 5793594 w 9434022"/>
              <a:gd name="connsiteY12" fmla="*/ 2880250 h 4070221"/>
              <a:gd name="connsiteX13" fmla="*/ 4321786 w 9434022"/>
              <a:gd name="connsiteY13" fmla="*/ 2717412 h 4070221"/>
              <a:gd name="connsiteX14" fmla="*/ 4171474 w 9434022"/>
              <a:gd name="connsiteY14" fmla="*/ 2848935 h 4070221"/>
              <a:gd name="connsiteX15" fmla="*/ 4465835 w 9434022"/>
              <a:gd name="connsiteY15" fmla="*/ 2905302 h 4070221"/>
              <a:gd name="connsiteX16" fmla="*/ 3933479 w 9434022"/>
              <a:gd name="connsiteY16" fmla="*/ 2617204 h 4070221"/>
              <a:gd name="connsiteX0" fmla="*/ 0 w 9434022"/>
              <a:gd name="connsiteY0" fmla="*/ 4078111 h 4078111"/>
              <a:gd name="connsiteX1" fmla="*/ 2655824 w 9434022"/>
              <a:gd name="connsiteY1" fmla="*/ 3652228 h 4078111"/>
              <a:gd name="connsiteX2" fmla="*/ 4321786 w 9434022"/>
              <a:gd name="connsiteY2" fmla="*/ 2687724 h 4078111"/>
              <a:gd name="connsiteX3" fmla="*/ 4553517 w 9434022"/>
              <a:gd name="connsiteY3" fmla="*/ 2167894 h 4078111"/>
              <a:gd name="connsiteX4" fmla="*/ 4685041 w 9434022"/>
              <a:gd name="connsiteY4" fmla="*/ 1716957 h 4078111"/>
              <a:gd name="connsiteX5" fmla="*/ 5530548 w 9434022"/>
              <a:gd name="connsiteY5" fmla="*/ 545773 h 4078111"/>
              <a:gd name="connsiteX6" fmla="*/ 8085348 w 9434022"/>
              <a:gd name="connsiteY6" fmla="*/ 49844 h 4078111"/>
              <a:gd name="connsiteX7" fmla="*/ 9401090 w 9434022"/>
              <a:gd name="connsiteY7" fmla="*/ 1704431 h 4078111"/>
              <a:gd name="connsiteX8" fmla="*/ 8879025 w 9434022"/>
              <a:gd name="connsiteY8" fmla="*/ 2821038 h 4078111"/>
              <a:gd name="connsiteX9" fmla="*/ 7183983 w 9434022"/>
              <a:gd name="connsiteY9" fmla="*/ 3019664 h 4078111"/>
              <a:gd name="connsiteX10" fmla="*/ 6319687 w 9434022"/>
              <a:gd name="connsiteY10" fmla="*/ 2957033 h 4078111"/>
              <a:gd name="connsiteX11" fmla="*/ 5793594 w 9434022"/>
              <a:gd name="connsiteY11" fmla="*/ 2888140 h 4078111"/>
              <a:gd name="connsiteX12" fmla="*/ 4321786 w 9434022"/>
              <a:gd name="connsiteY12" fmla="*/ 2725302 h 4078111"/>
              <a:gd name="connsiteX13" fmla="*/ 4171474 w 9434022"/>
              <a:gd name="connsiteY13" fmla="*/ 2856825 h 4078111"/>
              <a:gd name="connsiteX14" fmla="*/ 4465835 w 9434022"/>
              <a:gd name="connsiteY14" fmla="*/ 2913192 h 4078111"/>
              <a:gd name="connsiteX15" fmla="*/ 3933479 w 9434022"/>
              <a:gd name="connsiteY15" fmla="*/ 2625094 h 4078111"/>
              <a:gd name="connsiteX0" fmla="*/ 0 w 9434022"/>
              <a:gd name="connsiteY0" fmla="*/ 4084740 h 4084740"/>
              <a:gd name="connsiteX1" fmla="*/ 2655824 w 9434022"/>
              <a:gd name="connsiteY1" fmla="*/ 3658857 h 4084740"/>
              <a:gd name="connsiteX2" fmla="*/ 4321786 w 9434022"/>
              <a:gd name="connsiteY2" fmla="*/ 2694353 h 4084740"/>
              <a:gd name="connsiteX3" fmla="*/ 4553517 w 9434022"/>
              <a:gd name="connsiteY3" fmla="*/ 2174523 h 4084740"/>
              <a:gd name="connsiteX4" fmla="*/ 5530548 w 9434022"/>
              <a:gd name="connsiteY4" fmla="*/ 552402 h 4084740"/>
              <a:gd name="connsiteX5" fmla="*/ 8085348 w 9434022"/>
              <a:gd name="connsiteY5" fmla="*/ 56473 h 4084740"/>
              <a:gd name="connsiteX6" fmla="*/ 9401090 w 9434022"/>
              <a:gd name="connsiteY6" fmla="*/ 1711060 h 4084740"/>
              <a:gd name="connsiteX7" fmla="*/ 8879025 w 9434022"/>
              <a:gd name="connsiteY7" fmla="*/ 2827667 h 4084740"/>
              <a:gd name="connsiteX8" fmla="*/ 7183983 w 9434022"/>
              <a:gd name="connsiteY8" fmla="*/ 3026293 h 4084740"/>
              <a:gd name="connsiteX9" fmla="*/ 6319687 w 9434022"/>
              <a:gd name="connsiteY9" fmla="*/ 2963662 h 4084740"/>
              <a:gd name="connsiteX10" fmla="*/ 5793594 w 9434022"/>
              <a:gd name="connsiteY10" fmla="*/ 2894769 h 4084740"/>
              <a:gd name="connsiteX11" fmla="*/ 4321786 w 9434022"/>
              <a:gd name="connsiteY11" fmla="*/ 2731931 h 4084740"/>
              <a:gd name="connsiteX12" fmla="*/ 4171474 w 9434022"/>
              <a:gd name="connsiteY12" fmla="*/ 2863454 h 4084740"/>
              <a:gd name="connsiteX13" fmla="*/ 4465835 w 9434022"/>
              <a:gd name="connsiteY13" fmla="*/ 2919821 h 4084740"/>
              <a:gd name="connsiteX14" fmla="*/ 3933479 w 9434022"/>
              <a:gd name="connsiteY14" fmla="*/ 2631723 h 4084740"/>
              <a:gd name="connsiteX0" fmla="*/ 0 w 9434022"/>
              <a:gd name="connsiteY0" fmla="*/ 4094373 h 4094373"/>
              <a:gd name="connsiteX1" fmla="*/ 2655824 w 9434022"/>
              <a:gd name="connsiteY1" fmla="*/ 3668490 h 4094373"/>
              <a:gd name="connsiteX2" fmla="*/ 4321786 w 9434022"/>
              <a:gd name="connsiteY2" fmla="*/ 2703986 h 4094373"/>
              <a:gd name="connsiteX3" fmla="*/ 5530548 w 9434022"/>
              <a:gd name="connsiteY3" fmla="*/ 562035 h 4094373"/>
              <a:gd name="connsiteX4" fmla="*/ 8085348 w 9434022"/>
              <a:gd name="connsiteY4" fmla="*/ 66106 h 4094373"/>
              <a:gd name="connsiteX5" fmla="*/ 9401090 w 9434022"/>
              <a:gd name="connsiteY5" fmla="*/ 1720693 h 4094373"/>
              <a:gd name="connsiteX6" fmla="*/ 8879025 w 9434022"/>
              <a:gd name="connsiteY6" fmla="*/ 2837300 h 4094373"/>
              <a:gd name="connsiteX7" fmla="*/ 7183983 w 9434022"/>
              <a:gd name="connsiteY7" fmla="*/ 3035926 h 4094373"/>
              <a:gd name="connsiteX8" fmla="*/ 6319687 w 9434022"/>
              <a:gd name="connsiteY8" fmla="*/ 2973295 h 4094373"/>
              <a:gd name="connsiteX9" fmla="*/ 5793594 w 9434022"/>
              <a:gd name="connsiteY9" fmla="*/ 2904402 h 4094373"/>
              <a:gd name="connsiteX10" fmla="*/ 4321786 w 9434022"/>
              <a:gd name="connsiteY10" fmla="*/ 2741564 h 4094373"/>
              <a:gd name="connsiteX11" fmla="*/ 4171474 w 9434022"/>
              <a:gd name="connsiteY11" fmla="*/ 2873087 h 4094373"/>
              <a:gd name="connsiteX12" fmla="*/ 4465835 w 9434022"/>
              <a:gd name="connsiteY12" fmla="*/ 2929454 h 4094373"/>
              <a:gd name="connsiteX13" fmla="*/ 3933479 w 9434022"/>
              <a:gd name="connsiteY13" fmla="*/ 2641356 h 4094373"/>
              <a:gd name="connsiteX0" fmla="*/ 0 w 9434022"/>
              <a:gd name="connsiteY0" fmla="*/ 4111633 h 4111633"/>
              <a:gd name="connsiteX1" fmla="*/ 2655824 w 9434022"/>
              <a:gd name="connsiteY1" fmla="*/ 3685750 h 4111633"/>
              <a:gd name="connsiteX2" fmla="*/ 4321786 w 9434022"/>
              <a:gd name="connsiteY2" fmla="*/ 2721246 h 4111633"/>
              <a:gd name="connsiteX3" fmla="*/ 5530548 w 9434022"/>
              <a:gd name="connsiteY3" fmla="*/ 579295 h 4111633"/>
              <a:gd name="connsiteX4" fmla="*/ 8085348 w 9434022"/>
              <a:gd name="connsiteY4" fmla="*/ 83366 h 4111633"/>
              <a:gd name="connsiteX5" fmla="*/ 9401090 w 9434022"/>
              <a:gd name="connsiteY5" fmla="*/ 1737953 h 4111633"/>
              <a:gd name="connsiteX6" fmla="*/ 8879025 w 9434022"/>
              <a:gd name="connsiteY6" fmla="*/ 2854560 h 4111633"/>
              <a:gd name="connsiteX7" fmla="*/ 7183983 w 9434022"/>
              <a:gd name="connsiteY7" fmla="*/ 3053186 h 4111633"/>
              <a:gd name="connsiteX8" fmla="*/ 6319687 w 9434022"/>
              <a:gd name="connsiteY8" fmla="*/ 2990555 h 4111633"/>
              <a:gd name="connsiteX9" fmla="*/ 5793594 w 9434022"/>
              <a:gd name="connsiteY9" fmla="*/ 2921662 h 4111633"/>
              <a:gd name="connsiteX10" fmla="*/ 4321786 w 9434022"/>
              <a:gd name="connsiteY10" fmla="*/ 2758824 h 4111633"/>
              <a:gd name="connsiteX11" fmla="*/ 4171474 w 9434022"/>
              <a:gd name="connsiteY11" fmla="*/ 2890347 h 4111633"/>
              <a:gd name="connsiteX12" fmla="*/ 4465835 w 9434022"/>
              <a:gd name="connsiteY12" fmla="*/ 2946714 h 4111633"/>
              <a:gd name="connsiteX13" fmla="*/ 3933479 w 9434022"/>
              <a:gd name="connsiteY13" fmla="*/ 2658616 h 4111633"/>
              <a:gd name="connsiteX0" fmla="*/ 0 w 9434022"/>
              <a:gd name="connsiteY0" fmla="*/ 4114443 h 4114443"/>
              <a:gd name="connsiteX1" fmla="*/ 2655824 w 9434022"/>
              <a:gd name="connsiteY1" fmla="*/ 3688560 h 4114443"/>
              <a:gd name="connsiteX2" fmla="*/ 4321786 w 9434022"/>
              <a:gd name="connsiteY2" fmla="*/ 2724056 h 4114443"/>
              <a:gd name="connsiteX3" fmla="*/ 5530548 w 9434022"/>
              <a:gd name="connsiteY3" fmla="*/ 582105 h 4114443"/>
              <a:gd name="connsiteX4" fmla="*/ 8085348 w 9434022"/>
              <a:gd name="connsiteY4" fmla="*/ 86176 h 4114443"/>
              <a:gd name="connsiteX5" fmla="*/ 9401090 w 9434022"/>
              <a:gd name="connsiteY5" fmla="*/ 1740763 h 4114443"/>
              <a:gd name="connsiteX6" fmla="*/ 8879025 w 9434022"/>
              <a:gd name="connsiteY6" fmla="*/ 2857370 h 4114443"/>
              <a:gd name="connsiteX7" fmla="*/ 7183983 w 9434022"/>
              <a:gd name="connsiteY7" fmla="*/ 3055996 h 4114443"/>
              <a:gd name="connsiteX8" fmla="*/ 6319687 w 9434022"/>
              <a:gd name="connsiteY8" fmla="*/ 2993365 h 4114443"/>
              <a:gd name="connsiteX9" fmla="*/ 5793594 w 9434022"/>
              <a:gd name="connsiteY9" fmla="*/ 2924472 h 4114443"/>
              <a:gd name="connsiteX10" fmla="*/ 4321786 w 9434022"/>
              <a:gd name="connsiteY10" fmla="*/ 2761634 h 4114443"/>
              <a:gd name="connsiteX11" fmla="*/ 4171474 w 9434022"/>
              <a:gd name="connsiteY11" fmla="*/ 2893157 h 4114443"/>
              <a:gd name="connsiteX12" fmla="*/ 4465835 w 9434022"/>
              <a:gd name="connsiteY12" fmla="*/ 2949524 h 4114443"/>
              <a:gd name="connsiteX13" fmla="*/ 3933479 w 9434022"/>
              <a:gd name="connsiteY13" fmla="*/ 2661426 h 4114443"/>
              <a:gd name="connsiteX0" fmla="*/ 0 w 9436146"/>
              <a:gd name="connsiteY0" fmla="*/ 4114443 h 4114443"/>
              <a:gd name="connsiteX1" fmla="*/ 2655824 w 9436146"/>
              <a:gd name="connsiteY1" fmla="*/ 3688560 h 4114443"/>
              <a:gd name="connsiteX2" fmla="*/ 4321786 w 9436146"/>
              <a:gd name="connsiteY2" fmla="*/ 2724056 h 4114443"/>
              <a:gd name="connsiteX3" fmla="*/ 5530548 w 9436146"/>
              <a:gd name="connsiteY3" fmla="*/ 582105 h 4114443"/>
              <a:gd name="connsiteX4" fmla="*/ 8085348 w 9436146"/>
              <a:gd name="connsiteY4" fmla="*/ 86176 h 4114443"/>
              <a:gd name="connsiteX5" fmla="*/ 9401090 w 9436146"/>
              <a:gd name="connsiteY5" fmla="*/ 1740763 h 4114443"/>
              <a:gd name="connsiteX6" fmla="*/ 7183983 w 9436146"/>
              <a:gd name="connsiteY6" fmla="*/ 3055996 h 4114443"/>
              <a:gd name="connsiteX7" fmla="*/ 6319687 w 9436146"/>
              <a:gd name="connsiteY7" fmla="*/ 2993365 h 4114443"/>
              <a:gd name="connsiteX8" fmla="*/ 5793594 w 9436146"/>
              <a:gd name="connsiteY8" fmla="*/ 2924472 h 4114443"/>
              <a:gd name="connsiteX9" fmla="*/ 4321786 w 9436146"/>
              <a:gd name="connsiteY9" fmla="*/ 2761634 h 4114443"/>
              <a:gd name="connsiteX10" fmla="*/ 4171474 w 9436146"/>
              <a:gd name="connsiteY10" fmla="*/ 2893157 h 4114443"/>
              <a:gd name="connsiteX11" fmla="*/ 4465835 w 9436146"/>
              <a:gd name="connsiteY11" fmla="*/ 2949524 h 4114443"/>
              <a:gd name="connsiteX12" fmla="*/ 3933479 w 9436146"/>
              <a:gd name="connsiteY12" fmla="*/ 2661426 h 4114443"/>
              <a:gd name="connsiteX0" fmla="*/ 0 w 9487927"/>
              <a:gd name="connsiteY0" fmla="*/ 4114443 h 4114443"/>
              <a:gd name="connsiteX1" fmla="*/ 2655824 w 9487927"/>
              <a:gd name="connsiteY1" fmla="*/ 3688560 h 4114443"/>
              <a:gd name="connsiteX2" fmla="*/ 4321786 w 9487927"/>
              <a:gd name="connsiteY2" fmla="*/ 2724056 h 4114443"/>
              <a:gd name="connsiteX3" fmla="*/ 5530548 w 9487927"/>
              <a:gd name="connsiteY3" fmla="*/ 582105 h 4114443"/>
              <a:gd name="connsiteX4" fmla="*/ 8085348 w 9487927"/>
              <a:gd name="connsiteY4" fmla="*/ 86176 h 4114443"/>
              <a:gd name="connsiteX5" fmla="*/ 9401090 w 9487927"/>
              <a:gd name="connsiteY5" fmla="*/ 1740763 h 4114443"/>
              <a:gd name="connsiteX6" fmla="*/ 6319687 w 9487927"/>
              <a:gd name="connsiteY6" fmla="*/ 2993365 h 4114443"/>
              <a:gd name="connsiteX7" fmla="*/ 5793594 w 9487927"/>
              <a:gd name="connsiteY7" fmla="*/ 2924472 h 4114443"/>
              <a:gd name="connsiteX8" fmla="*/ 4321786 w 9487927"/>
              <a:gd name="connsiteY8" fmla="*/ 2761634 h 4114443"/>
              <a:gd name="connsiteX9" fmla="*/ 4171474 w 9487927"/>
              <a:gd name="connsiteY9" fmla="*/ 2893157 h 4114443"/>
              <a:gd name="connsiteX10" fmla="*/ 4465835 w 9487927"/>
              <a:gd name="connsiteY10" fmla="*/ 2949524 h 4114443"/>
              <a:gd name="connsiteX11" fmla="*/ 3933479 w 9487927"/>
              <a:gd name="connsiteY11" fmla="*/ 2661426 h 4114443"/>
              <a:gd name="connsiteX0" fmla="*/ 0 w 9522079"/>
              <a:gd name="connsiteY0" fmla="*/ 4114443 h 4114443"/>
              <a:gd name="connsiteX1" fmla="*/ 2655824 w 9522079"/>
              <a:gd name="connsiteY1" fmla="*/ 3688560 h 4114443"/>
              <a:gd name="connsiteX2" fmla="*/ 4321786 w 9522079"/>
              <a:gd name="connsiteY2" fmla="*/ 2724056 h 4114443"/>
              <a:gd name="connsiteX3" fmla="*/ 5530548 w 9522079"/>
              <a:gd name="connsiteY3" fmla="*/ 582105 h 4114443"/>
              <a:gd name="connsiteX4" fmla="*/ 8085348 w 9522079"/>
              <a:gd name="connsiteY4" fmla="*/ 86176 h 4114443"/>
              <a:gd name="connsiteX5" fmla="*/ 9401090 w 9522079"/>
              <a:gd name="connsiteY5" fmla="*/ 1740763 h 4114443"/>
              <a:gd name="connsiteX6" fmla="*/ 5793594 w 9522079"/>
              <a:gd name="connsiteY6" fmla="*/ 2924472 h 4114443"/>
              <a:gd name="connsiteX7" fmla="*/ 4321786 w 9522079"/>
              <a:gd name="connsiteY7" fmla="*/ 2761634 h 4114443"/>
              <a:gd name="connsiteX8" fmla="*/ 4171474 w 9522079"/>
              <a:gd name="connsiteY8" fmla="*/ 2893157 h 4114443"/>
              <a:gd name="connsiteX9" fmla="*/ 4465835 w 9522079"/>
              <a:gd name="connsiteY9" fmla="*/ 2949524 h 4114443"/>
              <a:gd name="connsiteX10" fmla="*/ 3933479 w 9522079"/>
              <a:gd name="connsiteY10" fmla="*/ 2661426 h 4114443"/>
              <a:gd name="connsiteX0" fmla="*/ 0 w 9479057"/>
              <a:gd name="connsiteY0" fmla="*/ 4043405 h 4043405"/>
              <a:gd name="connsiteX1" fmla="*/ 2655824 w 9479057"/>
              <a:gd name="connsiteY1" fmla="*/ 3617522 h 4043405"/>
              <a:gd name="connsiteX2" fmla="*/ 4321786 w 9479057"/>
              <a:gd name="connsiteY2" fmla="*/ 2653018 h 4043405"/>
              <a:gd name="connsiteX3" fmla="*/ 5905675 w 9479057"/>
              <a:gd name="connsiteY3" fmla="*/ 951395 h 4043405"/>
              <a:gd name="connsiteX4" fmla="*/ 8085348 w 9479057"/>
              <a:gd name="connsiteY4" fmla="*/ 15138 h 4043405"/>
              <a:gd name="connsiteX5" fmla="*/ 9401090 w 9479057"/>
              <a:gd name="connsiteY5" fmla="*/ 1669725 h 4043405"/>
              <a:gd name="connsiteX6" fmla="*/ 5793594 w 9479057"/>
              <a:gd name="connsiteY6" fmla="*/ 2853434 h 4043405"/>
              <a:gd name="connsiteX7" fmla="*/ 4321786 w 9479057"/>
              <a:gd name="connsiteY7" fmla="*/ 2690596 h 4043405"/>
              <a:gd name="connsiteX8" fmla="*/ 4171474 w 9479057"/>
              <a:gd name="connsiteY8" fmla="*/ 2822119 h 4043405"/>
              <a:gd name="connsiteX9" fmla="*/ 4465835 w 9479057"/>
              <a:gd name="connsiteY9" fmla="*/ 2878486 h 4043405"/>
              <a:gd name="connsiteX10" fmla="*/ 3933479 w 9479057"/>
              <a:gd name="connsiteY10" fmla="*/ 2590388 h 4043405"/>
              <a:gd name="connsiteX0" fmla="*/ 0 w 9603591"/>
              <a:gd name="connsiteY0" fmla="*/ 4028628 h 4028628"/>
              <a:gd name="connsiteX1" fmla="*/ 2655824 w 9603591"/>
              <a:gd name="connsiteY1" fmla="*/ 3602745 h 4028628"/>
              <a:gd name="connsiteX2" fmla="*/ 4321786 w 9603591"/>
              <a:gd name="connsiteY2" fmla="*/ 2638241 h 4028628"/>
              <a:gd name="connsiteX3" fmla="*/ 5905675 w 9603591"/>
              <a:gd name="connsiteY3" fmla="*/ 936618 h 4028628"/>
              <a:gd name="connsiteX4" fmla="*/ 8085348 w 9603591"/>
              <a:gd name="connsiteY4" fmla="*/ 361 h 4028628"/>
              <a:gd name="connsiteX5" fmla="*/ 9401090 w 9603591"/>
              <a:gd name="connsiteY5" fmla="*/ 1654948 h 4028628"/>
              <a:gd name="connsiteX6" fmla="*/ 5793594 w 9603591"/>
              <a:gd name="connsiteY6" fmla="*/ 2838657 h 4028628"/>
              <a:gd name="connsiteX7" fmla="*/ 4321786 w 9603591"/>
              <a:gd name="connsiteY7" fmla="*/ 2675819 h 4028628"/>
              <a:gd name="connsiteX8" fmla="*/ 4171474 w 9603591"/>
              <a:gd name="connsiteY8" fmla="*/ 2807342 h 4028628"/>
              <a:gd name="connsiteX9" fmla="*/ 4465835 w 9603591"/>
              <a:gd name="connsiteY9" fmla="*/ 2863709 h 4028628"/>
              <a:gd name="connsiteX10" fmla="*/ 3933479 w 9603591"/>
              <a:gd name="connsiteY10" fmla="*/ 2575611 h 4028628"/>
              <a:gd name="connsiteX0" fmla="*/ 0 w 9602407"/>
              <a:gd name="connsiteY0" fmla="*/ 4039392 h 4039392"/>
              <a:gd name="connsiteX1" fmla="*/ 2655824 w 9602407"/>
              <a:gd name="connsiteY1" fmla="*/ 3613509 h 4039392"/>
              <a:gd name="connsiteX2" fmla="*/ 4321786 w 9602407"/>
              <a:gd name="connsiteY2" fmla="*/ 2649005 h 4039392"/>
              <a:gd name="connsiteX3" fmla="*/ 5905675 w 9602407"/>
              <a:gd name="connsiteY3" fmla="*/ 947382 h 4039392"/>
              <a:gd name="connsiteX4" fmla="*/ 8085348 w 9602407"/>
              <a:gd name="connsiteY4" fmla="*/ 11125 h 4039392"/>
              <a:gd name="connsiteX5" fmla="*/ 9401090 w 9602407"/>
              <a:gd name="connsiteY5" fmla="*/ 1665712 h 4039392"/>
              <a:gd name="connsiteX6" fmla="*/ 5793594 w 9602407"/>
              <a:gd name="connsiteY6" fmla="*/ 2849421 h 4039392"/>
              <a:gd name="connsiteX7" fmla="*/ 4321786 w 9602407"/>
              <a:gd name="connsiteY7" fmla="*/ 2686583 h 4039392"/>
              <a:gd name="connsiteX8" fmla="*/ 4171474 w 9602407"/>
              <a:gd name="connsiteY8" fmla="*/ 2818106 h 4039392"/>
              <a:gd name="connsiteX9" fmla="*/ 4465835 w 9602407"/>
              <a:gd name="connsiteY9" fmla="*/ 2874473 h 4039392"/>
              <a:gd name="connsiteX10" fmla="*/ 3933479 w 9602407"/>
              <a:gd name="connsiteY10" fmla="*/ 2586375 h 4039392"/>
              <a:gd name="connsiteX0" fmla="*/ 0 w 9656300"/>
              <a:gd name="connsiteY0" fmla="*/ 4038473 h 4038473"/>
              <a:gd name="connsiteX1" fmla="*/ 2655824 w 9656300"/>
              <a:gd name="connsiteY1" fmla="*/ 3612590 h 4038473"/>
              <a:gd name="connsiteX2" fmla="*/ 4321786 w 9656300"/>
              <a:gd name="connsiteY2" fmla="*/ 2648086 h 4038473"/>
              <a:gd name="connsiteX3" fmla="*/ 5905675 w 9656300"/>
              <a:gd name="connsiteY3" fmla="*/ 946463 h 4038473"/>
              <a:gd name="connsiteX4" fmla="*/ 8085348 w 9656300"/>
              <a:gd name="connsiteY4" fmla="*/ 10206 h 4038473"/>
              <a:gd name="connsiteX5" fmla="*/ 9401090 w 9656300"/>
              <a:gd name="connsiteY5" fmla="*/ 1664793 h 4038473"/>
              <a:gd name="connsiteX6" fmla="*/ 5793594 w 9656300"/>
              <a:gd name="connsiteY6" fmla="*/ 2848502 h 4038473"/>
              <a:gd name="connsiteX7" fmla="*/ 4321786 w 9656300"/>
              <a:gd name="connsiteY7" fmla="*/ 2685664 h 4038473"/>
              <a:gd name="connsiteX8" fmla="*/ 4171474 w 9656300"/>
              <a:gd name="connsiteY8" fmla="*/ 2817187 h 4038473"/>
              <a:gd name="connsiteX9" fmla="*/ 4465835 w 9656300"/>
              <a:gd name="connsiteY9" fmla="*/ 2873554 h 4038473"/>
              <a:gd name="connsiteX10" fmla="*/ 3933479 w 9656300"/>
              <a:gd name="connsiteY10" fmla="*/ 2585456 h 4038473"/>
              <a:gd name="connsiteX0" fmla="*/ 0 w 9560122"/>
              <a:gd name="connsiteY0" fmla="*/ 4039269 h 4039269"/>
              <a:gd name="connsiteX1" fmla="*/ 2655824 w 9560122"/>
              <a:gd name="connsiteY1" fmla="*/ 3613386 h 4039269"/>
              <a:gd name="connsiteX2" fmla="*/ 4321786 w 9560122"/>
              <a:gd name="connsiteY2" fmla="*/ 2648882 h 4039269"/>
              <a:gd name="connsiteX3" fmla="*/ 5905675 w 9560122"/>
              <a:gd name="connsiteY3" fmla="*/ 947259 h 4039269"/>
              <a:gd name="connsiteX4" fmla="*/ 8085348 w 9560122"/>
              <a:gd name="connsiteY4" fmla="*/ 11002 h 4039269"/>
              <a:gd name="connsiteX5" fmla="*/ 9401090 w 9560122"/>
              <a:gd name="connsiteY5" fmla="*/ 1665589 h 4039269"/>
              <a:gd name="connsiteX6" fmla="*/ 6365664 w 9560122"/>
              <a:gd name="connsiteY6" fmla="*/ 2749602 h 4039269"/>
              <a:gd name="connsiteX7" fmla="*/ 4321786 w 9560122"/>
              <a:gd name="connsiteY7" fmla="*/ 2686460 h 4039269"/>
              <a:gd name="connsiteX8" fmla="*/ 4171474 w 9560122"/>
              <a:gd name="connsiteY8" fmla="*/ 2817983 h 4039269"/>
              <a:gd name="connsiteX9" fmla="*/ 4465835 w 9560122"/>
              <a:gd name="connsiteY9" fmla="*/ 2874350 h 4039269"/>
              <a:gd name="connsiteX10" fmla="*/ 3933479 w 9560122"/>
              <a:gd name="connsiteY10" fmla="*/ 2586252 h 4039269"/>
              <a:gd name="connsiteX0" fmla="*/ 0 w 9560122"/>
              <a:gd name="connsiteY0" fmla="*/ 4039269 h 4039269"/>
              <a:gd name="connsiteX1" fmla="*/ 2655824 w 9560122"/>
              <a:gd name="connsiteY1" fmla="*/ 3613386 h 4039269"/>
              <a:gd name="connsiteX2" fmla="*/ 4321786 w 9560122"/>
              <a:gd name="connsiteY2" fmla="*/ 2648882 h 4039269"/>
              <a:gd name="connsiteX3" fmla="*/ 5905675 w 9560122"/>
              <a:gd name="connsiteY3" fmla="*/ 947259 h 4039269"/>
              <a:gd name="connsiteX4" fmla="*/ 8085348 w 9560122"/>
              <a:gd name="connsiteY4" fmla="*/ 11002 h 4039269"/>
              <a:gd name="connsiteX5" fmla="*/ 9401090 w 9560122"/>
              <a:gd name="connsiteY5" fmla="*/ 1665589 h 4039269"/>
              <a:gd name="connsiteX6" fmla="*/ 6365664 w 9560122"/>
              <a:gd name="connsiteY6" fmla="*/ 2749602 h 4039269"/>
              <a:gd name="connsiteX7" fmla="*/ 4321786 w 9560122"/>
              <a:gd name="connsiteY7" fmla="*/ 2686460 h 4039269"/>
              <a:gd name="connsiteX8" fmla="*/ 4171474 w 9560122"/>
              <a:gd name="connsiteY8" fmla="*/ 2817983 h 4039269"/>
              <a:gd name="connsiteX9" fmla="*/ 4465835 w 9560122"/>
              <a:gd name="connsiteY9" fmla="*/ 2874350 h 4039269"/>
              <a:gd name="connsiteX10" fmla="*/ 3933479 w 9560122"/>
              <a:gd name="connsiteY10" fmla="*/ 2586252 h 4039269"/>
              <a:gd name="connsiteX0" fmla="*/ 0 w 9586218"/>
              <a:gd name="connsiteY0" fmla="*/ 4038961 h 4038961"/>
              <a:gd name="connsiteX1" fmla="*/ 2655824 w 9586218"/>
              <a:gd name="connsiteY1" fmla="*/ 3613078 h 4038961"/>
              <a:gd name="connsiteX2" fmla="*/ 4321786 w 9586218"/>
              <a:gd name="connsiteY2" fmla="*/ 2648574 h 4038961"/>
              <a:gd name="connsiteX3" fmla="*/ 5905675 w 9586218"/>
              <a:gd name="connsiteY3" fmla="*/ 946951 h 4038961"/>
              <a:gd name="connsiteX4" fmla="*/ 8085348 w 9586218"/>
              <a:gd name="connsiteY4" fmla="*/ 10694 h 4038961"/>
              <a:gd name="connsiteX5" fmla="*/ 9401090 w 9586218"/>
              <a:gd name="connsiteY5" fmla="*/ 1665281 h 4038961"/>
              <a:gd name="connsiteX6" fmla="*/ 6365664 w 9586218"/>
              <a:gd name="connsiteY6" fmla="*/ 2749294 h 4038961"/>
              <a:gd name="connsiteX7" fmla="*/ 4321786 w 9586218"/>
              <a:gd name="connsiteY7" fmla="*/ 2686152 h 4038961"/>
              <a:gd name="connsiteX8" fmla="*/ 4171474 w 9586218"/>
              <a:gd name="connsiteY8" fmla="*/ 2817675 h 4038961"/>
              <a:gd name="connsiteX9" fmla="*/ 4465835 w 9586218"/>
              <a:gd name="connsiteY9" fmla="*/ 2874042 h 4038961"/>
              <a:gd name="connsiteX10" fmla="*/ 3933479 w 9586218"/>
              <a:gd name="connsiteY10" fmla="*/ 2585944 h 4038961"/>
              <a:gd name="connsiteX0" fmla="*/ 0 w 9669443"/>
              <a:gd name="connsiteY0" fmla="*/ 4041204 h 4041204"/>
              <a:gd name="connsiteX1" fmla="*/ 2655824 w 9669443"/>
              <a:gd name="connsiteY1" fmla="*/ 3615321 h 4041204"/>
              <a:gd name="connsiteX2" fmla="*/ 4321786 w 9669443"/>
              <a:gd name="connsiteY2" fmla="*/ 2650817 h 4041204"/>
              <a:gd name="connsiteX3" fmla="*/ 5905675 w 9669443"/>
              <a:gd name="connsiteY3" fmla="*/ 949194 h 4041204"/>
              <a:gd name="connsiteX4" fmla="*/ 8085348 w 9669443"/>
              <a:gd name="connsiteY4" fmla="*/ 12937 h 4041204"/>
              <a:gd name="connsiteX5" fmla="*/ 9401090 w 9669443"/>
              <a:gd name="connsiteY5" fmla="*/ 1667524 h 4041204"/>
              <a:gd name="connsiteX6" fmla="*/ 6365664 w 9669443"/>
              <a:gd name="connsiteY6" fmla="*/ 2751537 h 4041204"/>
              <a:gd name="connsiteX7" fmla="*/ 4321786 w 9669443"/>
              <a:gd name="connsiteY7" fmla="*/ 2688395 h 4041204"/>
              <a:gd name="connsiteX8" fmla="*/ 4171474 w 9669443"/>
              <a:gd name="connsiteY8" fmla="*/ 2819918 h 4041204"/>
              <a:gd name="connsiteX9" fmla="*/ 4465835 w 9669443"/>
              <a:gd name="connsiteY9" fmla="*/ 2876285 h 4041204"/>
              <a:gd name="connsiteX10" fmla="*/ 3933479 w 9669443"/>
              <a:gd name="connsiteY10" fmla="*/ 2588187 h 4041204"/>
              <a:gd name="connsiteX0" fmla="*/ 0 w 12729702"/>
              <a:gd name="connsiteY0" fmla="*/ 3843401 h 3843402"/>
              <a:gd name="connsiteX1" fmla="*/ 5716083 w 12729702"/>
              <a:gd name="connsiteY1" fmla="*/ 3615321 h 3843402"/>
              <a:gd name="connsiteX2" fmla="*/ 7382045 w 12729702"/>
              <a:gd name="connsiteY2" fmla="*/ 2650817 h 3843402"/>
              <a:gd name="connsiteX3" fmla="*/ 8965934 w 12729702"/>
              <a:gd name="connsiteY3" fmla="*/ 949194 h 3843402"/>
              <a:gd name="connsiteX4" fmla="*/ 11145607 w 12729702"/>
              <a:gd name="connsiteY4" fmla="*/ 12937 h 3843402"/>
              <a:gd name="connsiteX5" fmla="*/ 12461349 w 12729702"/>
              <a:gd name="connsiteY5" fmla="*/ 1667524 h 3843402"/>
              <a:gd name="connsiteX6" fmla="*/ 9425923 w 12729702"/>
              <a:gd name="connsiteY6" fmla="*/ 2751537 h 3843402"/>
              <a:gd name="connsiteX7" fmla="*/ 7382045 w 12729702"/>
              <a:gd name="connsiteY7" fmla="*/ 2688395 h 3843402"/>
              <a:gd name="connsiteX8" fmla="*/ 7231733 w 12729702"/>
              <a:gd name="connsiteY8" fmla="*/ 2819918 h 3843402"/>
              <a:gd name="connsiteX9" fmla="*/ 7526094 w 12729702"/>
              <a:gd name="connsiteY9" fmla="*/ 2876285 h 3843402"/>
              <a:gd name="connsiteX10" fmla="*/ 6993738 w 12729702"/>
              <a:gd name="connsiteY10" fmla="*/ 2588187 h 3843402"/>
              <a:gd name="connsiteX0" fmla="*/ 0 w 12729702"/>
              <a:gd name="connsiteY0" fmla="*/ 3843401 h 3849782"/>
              <a:gd name="connsiteX1" fmla="*/ 4359299 w 12729702"/>
              <a:gd name="connsiteY1" fmla="*/ 3721480 h 3849782"/>
              <a:gd name="connsiteX2" fmla="*/ 7382045 w 12729702"/>
              <a:gd name="connsiteY2" fmla="*/ 2650817 h 3849782"/>
              <a:gd name="connsiteX3" fmla="*/ 8965934 w 12729702"/>
              <a:gd name="connsiteY3" fmla="*/ 949194 h 3849782"/>
              <a:gd name="connsiteX4" fmla="*/ 11145607 w 12729702"/>
              <a:gd name="connsiteY4" fmla="*/ 12937 h 3849782"/>
              <a:gd name="connsiteX5" fmla="*/ 12461349 w 12729702"/>
              <a:gd name="connsiteY5" fmla="*/ 1667524 h 3849782"/>
              <a:gd name="connsiteX6" fmla="*/ 9425923 w 12729702"/>
              <a:gd name="connsiteY6" fmla="*/ 2751537 h 3849782"/>
              <a:gd name="connsiteX7" fmla="*/ 7382045 w 12729702"/>
              <a:gd name="connsiteY7" fmla="*/ 2688395 h 3849782"/>
              <a:gd name="connsiteX8" fmla="*/ 7231733 w 12729702"/>
              <a:gd name="connsiteY8" fmla="*/ 2819918 h 3849782"/>
              <a:gd name="connsiteX9" fmla="*/ 7526094 w 12729702"/>
              <a:gd name="connsiteY9" fmla="*/ 2876285 h 3849782"/>
              <a:gd name="connsiteX10" fmla="*/ 6993738 w 12729702"/>
              <a:gd name="connsiteY10" fmla="*/ 2588187 h 3849782"/>
              <a:gd name="connsiteX0" fmla="*/ 0 w 12729702"/>
              <a:gd name="connsiteY0" fmla="*/ 3843401 h 3843402"/>
              <a:gd name="connsiteX1" fmla="*/ 4359299 w 12729702"/>
              <a:gd name="connsiteY1" fmla="*/ 3721480 h 3843402"/>
              <a:gd name="connsiteX2" fmla="*/ 7382045 w 12729702"/>
              <a:gd name="connsiteY2" fmla="*/ 2650817 h 3843402"/>
              <a:gd name="connsiteX3" fmla="*/ 8965934 w 12729702"/>
              <a:gd name="connsiteY3" fmla="*/ 949194 h 3843402"/>
              <a:gd name="connsiteX4" fmla="*/ 11145607 w 12729702"/>
              <a:gd name="connsiteY4" fmla="*/ 12937 h 3843402"/>
              <a:gd name="connsiteX5" fmla="*/ 12461349 w 12729702"/>
              <a:gd name="connsiteY5" fmla="*/ 1667524 h 3843402"/>
              <a:gd name="connsiteX6" fmla="*/ 9425923 w 12729702"/>
              <a:gd name="connsiteY6" fmla="*/ 2751537 h 3843402"/>
              <a:gd name="connsiteX7" fmla="*/ 7382045 w 12729702"/>
              <a:gd name="connsiteY7" fmla="*/ 2688395 h 3843402"/>
              <a:gd name="connsiteX8" fmla="*/ 7231733 w 12729702"/>
              <a:gd name="connsiteY8" fmla="*/ 2819918 h 3843402"/>
              <a:gd name="connsiteX9" fmla="*/ 7526094 w 12729702"/>
              <a:gd name="connsiteY9" fmla="*/ 2876285 h 3843402"/>
              <a:gd name="connsiteX10" fmla="*/ 6993738 w 12729702"/>
              <a:gd name="connsiteY10" fmla="*/ 2588187 h 3843402"/>
              <a:gd name="connsiteX0" fmla="*/ 0 w 12729702"/>
              <a:gd name="connsiteY0" fmla="*/ 3843401 h 3843400"/>
              <a:gd name="connsiteX1" fmla="*/ 4359299 w 12729702"/>
              <a:gd name="connsiteY1" fmla="*/ 3721480 h 3843400"/>
              <a:gd name="connsiteX2" fmla="*/ 7382045 w 12729702"/>
              <a:gd name="connsiteY2" fmla="*/ 2650817 h 3843400"/>
              <a:gd name="connsiteX3" fmla="*/ 8965934 w 12729702"/>
              <a:gd name="connsiteY3" fmla="*/ 949194 h 3843400"/>
              <a:gd name="connsiteX4" fmla="*/ 11145607 w 12729702"/>
              <a:gd name="connsiteY4" fmla="*/ 12937 h 3843400"/>
              <a:gd name="connsiteX5" fmla="*/ 12461349 w 12729702"/>
              <a:gd name="connsiteY5" fmla="*/ 1667524 h 3843400"/>
              <a:gd name="connsiteX6" fmla="*/ 9425923 w 12729702"/>
              <a:gd name="connsiteY6" fmla="*/ 2751537 h 3843400"/>
              <a:gd name="connsiteX7" fmla="*/ 7382045 w 12729702"/>
              <a:gd name="connsiteY7" fmla="*/ 2688395 h 3843400"/>
              <a:gd name="connsiteX8" fmla="*/ 7231733 w 12729702"/>
              <a:gd name="connsiteY8" fmla="*/ 2819918 h 3843400"/>
              <a:gd name="connsiteX9" fmla="*/ 7526094 w 12729702"/>
              <a:gd name="connsiteY9" fmla="*/ 2876285 h 3843400"/>
              <a:gd name="connsiteX10" fmla="*/ 6993738 w 12729702"/>
              <a:gd name="connsiteY10" fmla="*/ 2588187 h 3843400"/>
              <a:gd name="connsiteX0" fmla="*/ 0 w 12729702"/>
              <a:gd name="connsiteY0" fmla="*/ 3843401 h 3968746"/>
              <a:gd name="connsiteX1" fmla="*/ 4316510 w 12729702"/>
              <a:gd name="connsiteY1" fmla="*/ 3964476 h 3968746"/>
              <a:gd name="connsiteX2" fmla="*/ 7382045 w 12729702"/>
              <a:gd name="connsiteY2" fmla="*/ 2650817 h 3968746"/>
              <a:gd name="connsiteX3" fmla="*/ 8965934 w 12729702"/>
              <a:gd name="connsiteY3" fmla="*/ 949194 h 3968746"/>
              <a:gd name="connsiteX4" fmla="*/ 11145607 w 12729702"/>
              <a:gd name="connsiteY4" fmla="*/ 12937 h 3968746"/>
              <a:gd name="connsiteX5" fmla="*/ 12461349 w 12729702"/>
              <a:gd name="connsiteY5" fmla="*/ 1667524 h 3968746"/>
              <a:gd name="connsiteX6" fmla="*/ 9425923 w 12729702"/>
              <a:gd name="connsiteY6" fmla="*/ 2751537 h 3968746"/>
              <a:gd name="connsiteX7" fmla="*/ 7382045 w 12729702"/>
              <a:gd name="connsiteY7" fmla="*/ 2688395 h 3968746"/>
              <a:gd name="connsiteX8" fmla="*/ 7231733 w 12729702"/>
              <a:gd name="connsiteY8" fmla="*/ 2819918 h 3968746"/>
              <a:gd name="connsiteX9" fmla="*/ 7526094 w 12729702"/>
              <a:gd name="connsiteY9" fmla="*/ 2876285 h 3968746"/>
              <a:gd name="connsiteX10" fmla="*/ 6993738 w 12729702"/>
              <a:gd name="connsiteY10" fmla="*/ 2588187 h 3968746"/>
              <a:gd name="connsiteX0" fmla="*/ 0 w 12729702"/>
              <a:gd name="connsiteY0" fmla="*/ 3843401 h 3843401"/>
              <a:gd name="connsiteX1" fmla="*/ 4134034 w 12729702"/>
              <a:gd name="connsiteY1" fmla="*/ 3735521 h 3843401"/>
              <a:gd name="connsiteX2" fmla="*/ 7382045 w 12729702"/>
              <a:gd name="connsiteY2" fmla="*/ 2650817 h 3843401"/>
              <a:gd name="connsiteX3" fmla="*/ 8965934 w 12729702"/>
              <a:gd name="connsiteY3" fmla="*/ 949194 h 3843401"/>
              <a:gd name="connsiteX4" fmla="*/ 11145607 w 12729702"/>
              <a:gd name="connsiteY4" fmla="*/ 12937 h 3843401"/>
              <a:gd name="connsiteX5" fmla="*/ 12461349 w 12729702"/>
              <a:gd name="connsiteY5" fmla="*/ 1667524 h 3843401"/>
              <a:gd name="connsiteX6" fmla="*/ 9425923 w 12729702"/>
              <a:gd name="connsiteY6" fmla="*/ 2751537 h 3843401"/>
              <a:gd name="connsiteX7" fmla="*/ 7382045 w 12729702"/>
              <a:gd name="connsiteY7" fmla="*/ 2688395 h 3843401"/>
              <a:gd name="connsiteX8" fmla="*/ 7231733 w 12729702"/>
              <a:gd name="connsiteY8" fmla="*/ 2819918 h 3843401"/>
              <a:gd name="connsiteX9" fmla="*/ 7526094 w 12729702"/>
              <a:gd name="connsiteY9" fmla="*/ 2876285 h 3843401"/>
              <a:gd name="connsiteX10" fmla="*/ 6993738 w 12729702"/>
              <a:gd name="connsiteY10" fmla="*/ 2588187 h 3843401"/>
              <a:gd name="connsiteX0" fmla="*/ 0 w 12729702"/>
              <a:gd name="connsiteY0" fmla="*/ 3843401 h 3861962"/>
              <a:gd name="connsiteX1" fmla="*/ 4134034 w 12729702"/>
              <a:gd name="connsiteY1" fmla="*/ 3735521 h 3861962"/>
              <a:gd name="connsiteX2" fmla="*/ 7382045 w 12729702"/>
              <a:gd name="connsiteY2" fmla="*/ 2650817 h 3861962"/>
              <a:gd name="connsiteX3" fmla="*/ 8965934 w 12729702"/>
              <a:gd name="connsiteY3" fmla="*/ 949194 h 3861962"/>
              <a:gd name="connsiteX4" fmla="*/ 11145607 w 12729702"/>
              <a:gd name="connsiteY4" fmla="*/ 12937 h 3861962"/>
              <a:gd name="connsiteX5" fmla="*/ 12461349 w 12729702"/>
              <a:gd name="connsiteY5" fmla="*/ 1667524 h 3861962"/>
              <a:gd name="connsiteX6" fmla="*/ 9425923 w 12729702"/>
              <a:gd name="connsiteY6" fmla="*/ 2751537 h 3861962"/>
              <a:gd name="connsiteX7" fmla="*/ 7382045 w 12729702"/>
              <a:gd name="connsiteY7" fmla="*/ 2688395 h 3861962"/>
              <a:gd name="connsiteX8" fmla="*/ 7231733 w 12729702"/>
              <a:gd name="connsiteY8" fmla="*/ 2819918 h 3861962"/>
              <a:gd name="connsiteX9" fmla="*/ 7526094 w 12729702"/>
              <a:gd name="connsiteY9" fmla="*/ 2876285 h 3861962"/>
              <a:gd name="connsiteX10" fmla="*/ 6993738 w 12729702"/>
              <a:gd name="connsiteY10" fmla="*/ 2588187 h 3861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729702" h="3861962">
                <a:moveTo>
                  <a:pt x="0" y="3843401"/>
                </a:moveTo>
                <a:cubicBezTo>
                  <a:pt x="1322923" y="3823291"/>
                  <a:pt x="2906089" y="3948588"/>
                  <a:pt x="4134034" y="3735521"/>
                </a:cubicBezTo>
                <a:cubicBezTo>
                  <a:pt x="5969790" y="3416989"/>
                  <a:pt x="6576728" y="3115205"/>
                  <a:pt x="7382045" y="2650817"/>
                </a:cubicBezTo>
                <a:cubicBezTo>
                  <a:pt x="8187362" y="2186429"/>
                  <a:pt x="8338674" y="1388841"/>
                  <a:pt x="8965934" y="949194"/>
                </a:cubicBezTo>
                <a:cubicBezTo>
                  <a:pt x="9593194" y="509547"/>
                  <a:pt x="10279108" y="88417"/>
                  <a:pt x="11145607" y="12937"/>
                </a:cubicBezTo>
                <a:cubicBezTo>
                  <a:pt x="12819685" y="-132891"/>
                  <a:pt x="12994375" y="987981"/>
                  <a:pt x="12461349" y="1667524"/>
                </a:cubicBezTo>
                <a:cubicBezTo>
                  <a:pt x="12040900" y="2203546"/>
                  <a:pt x="10281852" y="2706013"/>
                  <a:pt x="9425923" y="2751537"/>
                </a:cubicBezTo>
                <a:cubicBezTo>
                  <a:pt x="8563662" y="2797398"/>
                  <a:pt x="7747743" y="2676998"/>
                  <a:pt x="7382045" y="2688395"/>
                </a:cubicBezTo>
                <a:cubicBezTo>
                  <a:pt x="7016347" y="2699792"/>
                  <a:pt x="7207725" y="2788603"/>
                  <a:pt x="7231733" y="2819918"/>
                </a:cubicBezTo>
                <a:cubicBezTo>
                  <a:pt x="7255741" y="2851233"/>
                  <a:pt x="7512382" y="2929923"/>
                  <a:pt x="7526094" y="2876285"/>
                </a:cubicBezTo>
                <a:cubicBezTo>
                  <a:pt x="7561584" y="2737455"/>
                  <a:pt x="7137787" y="2406559"/>
                  <a:pt x="6993738" y="2588187"/>
                </a:cubicBezTo>
              </a:path>
            </a:pathLst>
          </a:custGeom>
          <a:noFill/>
          <a:ln w="762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23" name="Gruppieren 22"/>
          <p:cNvGrpSpPr/>
          <p:nvPr/>
        </p:nvGrpSpPr>
        <p:grpSpPr>
          <a:xfrm>
            <a:off x="7060906" y="3085332"/>
            <a:ext cx="1890458" cy="1533334"/>
            <a:chOff x="6234531" y="2876737"/>
            <a:chExt cx="1890458" cy="1533334"/>
          </a:xfrm>
        </p:grpSpPr>
        <p:pic>
          <p:nvPicPr>
            <p:cNvPr id="13" name="Grafik 1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234531" y="3554591"/>
              <a:ext cx="1884116" cy="855480"/>
            </a:xfrm>
            <a:prstGeom prst="rect">
              <a:avLst/>
            </a:prstGeom>
            <a:effectLst>
              <a:outerShdw blurRad="50800" dist="38100" dir="2700000" algn="tl" rotWithShape="0">
                <a:prstClr val="black">
                  <a:alpha val="40000"/>
                </a:prstClr>
              </a:outerShdw>
            </a:effectLst>
          </p:spPr>
        </p:pic>
        <p:pic>
          <p:nvPicPr>
            <p:cNvPr id="15" name="Grafik 1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234531" y="3396936"/>
              <a:ext cx="1884116" cy="855480"/>
            </a:xfrm>
            <a:prstGeom prst="rect">
              <a:avLst/>
            </a:prstGeom>
            <a:effectLst>
              <a:outerShdw blurRad="50800" dist="38100" dir="2700000" algn="tl" rotWithShape="0">
                <a:prstClr val="black">
                  <a:alpha val="40000"/>
                </a:prstClr>
              </a:outerShdw>
            </a:effectLst>
          </p:spPr>
        </p:pic>
        <p:pic>
          <p:nvPicPr>
            <p:cNvPr id="17" name="Grafik 1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234531" y="3222041"/>
              <a:ext cx="1884116" cy="855480"/>
            </a:xfrm>
            <a:prstGeom prst="rect">
              <a:avLst/>
            </a:prstGeom>
            <a:effectLst>
              <a:outerShdw blurRad="50800" dist="38100" dir="2700000" algn="tl" rotWithShape="0">
                <a:prstClr val="black">
                  <a:alpha val="40000"/>
                </a:prstClr>
              </a:outerShdw>
            </a:effectLst>
          </p:spPr>
        </p:pic>
        <p:pic>
          <p:nvPicPr>
            <p:cNvPr id="19" name="Grafik 1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240873" y="3059015"/>
              <a:ext cx="1884116" cy="855480"/>
            </a:xfrm>
            <a:prstGeom prst="rect">
              <a:avLst/>
            </a:prstGeom>
            <a:effectLst>
              <a:outerShdw blurRad="50800" dist="38100" dir="2700000" algn="tl" rotWithShape="0">
                <a:prstClr val="black">
                  <a:alpha val="40000"/>
                </a:prstClr>
              </a:outerShdw>
            </a:effectLst>
          </p:spPr>
        </p:pic>
        <p:pic>
          <p:nvPicPr>
            <p:cNvPr id="21" name="Grafik 2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240873" y="2876737"/>
              <a:ext cx="1884116" cy="855480"/>
            </a:xfrm>
            <a:prstGeom prst="rect">
              <a:avLst/>
            </a:prstGeom>
            <a:effectLst>
              <a:outerShdw blurRad="50800" dist="38100" dir="2700000" algn="tl" rotWithShape="0">
                <a:prstClr val="black">
                  <a:alpha val="40000"/>
                </a:prstClr>
              </a:outerShdw>
            </a:effectLst>
          </p:spPr>
        </p:pic>
      </p:grpSp>
      <p:grpSp>
        <p:nvGrpSpPr>
          <p:cNvPr id="25" name="Gruppieren 24"/>
          <p:cNvGrpSpPr/>
          <p:nvPr/>
        </p:nvGrpSpPr>
        <p:grpSpPr>
          <a:xfrm>
            <a:off x="4911902" y="2455374"/>
            <a:ext cx="1890458" cy="1533334"/>
            <a:chOff x="3751560" y="2475314"/>
            <a:chExt cx="1890458" cy="1533334"/>
          </a:xfrm>
        </p:grpSpPr>
        <p:pic>
          <p:nvPicPr>
            <p:cNvPr id="14" name="Grafik 1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21072779">
              <a:off x="3751560" y="3153168"/>
              <a:ext cx="1884116" cy="855480"/>
            </a:xfrm>
            <a:prstGeom prst="rect">
              <a:avLst/>
            </a:prstGeom>
            <a:effectLst>
              <a:outerShdw blurRad="50800" dist="38100" dir="2700000" algn="tl" rotWithShape="0">
                <a:prstClr val="black">
                  <a:alpha val="40000"/>
                </a:prstClr>
              </a:outerShdw>
            </a:effectLst>
          </p:spPr>
        </p:pic>
        <p:pic>
          <p:nvPicPr>
            <p:cNvPr id="16" name="Grafik 1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21072779">
              <a:off x="3751560" y="2995513"/>
              <a:ext cx="1884116" cy="855480"/>
            </a:xfrm>
            <a:prstGeom prst="rect">
              <a:avLst/>
            </a:prstGeom>
            <a:effectLst>
              <a:outerShdw blurRad="50800" dist="38100" dir="2700000" algn="tl" rotWithShape="0">
                <a:prstClr val="black">
                  <a:alpha val="40000"/>
                </a:prstClr>
              </a:outerShdw>
            </a:effectLst>
          </p:spPr>
        </p:pic>
        <p:pic>
          <p:nvPicPr>
            <p:cNvPr id="18" name="Grafik 1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21072779">
              <a:off x="3751560" y="2820618"/>
              <a:ext cx="1884116" cy="855480"/>
            </a:xfrm>
            <a:prstGeom prst="rect">
              <a:avLst/>
            </a:prstGeom>
            <a:effectLst>
              <a:outerShdw blurRad="50800" dist="38100" dir="2700000" algn="tl" rotWithShape="0">
                <a:prstClr val="black">
                  <a:alpha val="40000"/>
                </a:prstClr>
              </a:outerShdw>
            </a:effectLst>
          </p:spPr>
        </p:pic>
        <p:pic>
          <p:nvPicPr>
            <p:cNvPr id="20" name="Grafik 1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21072779">
              <a:off x="3757902" y="2657592"/>
              <a:ext cx="1884116" cy="855480"/>
            </a:xfrm>
            <a:prstGeom prst="rect">
              <a:avLst/>
            </a:prstGeom>
            <a:effectLst>
              <a:outerShdw blurRad="50800" dist="38100" dir="2700000" algn="tl" rotWithShape="0">
                <a:prstClr val="black">
                  <a:alpha val="40000"/>
                </a:prstClr>
              </a:outerShdw>
            </a:effectLst>
          </p:spPr>
        </p:pic>
        <p:pic>
          <p:nvPicPr>
            <p:cNvPr id="22" name="Grafik 2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21072779">
              <a:off x="3757902" y="2475314"/>
              <a:ext cx="1884116" cy="855480"/>
            </a:xfrm>
            <a:prstGeom prst="rect">
              <a:avLst/>
            </a:prstGeom>
            <a:effectLst>
              <a:outerShdw blurRad="50800" dist="38100" dir="2700000" algn="tl" rotWithShape="0">
                <a:prstClr val="black">
                  <a:alpha val="40000"/>
                </a:prstClr>
              </a:outerShdw>
            </a:effectLst>
          </p:spPr>
        </p:pic>
      </p:grpSp>
      <p:sp>
        <p:nvSpPr>
          <p:cNvPr id="3" name="Foliennummernplatzhalter 2"/>
          <p:cNvSpPr>
            <a:spLocks noGrp="1"/>
          </p:cNvSpPr>
          <p:nvPr>
            <p:ph type="sldNum" sz="quarter" idx="12"/>
          </p:nvPr>
        </p:nvSpPr>
        <p:spPr/>
        <p:txBody>
          <a:bodyPr/>
          <a:lstStyle/>
          <a:p>
            <a:fld id="{4AD1E780-DE1C-4ECA-B5E5-863D0BC53287}" type="slidenum">
              <a:rPr lang="de-DE" smtClean="0"/>
              <a:pPr/>
              <a:t>12</a:t>
            </a:fld>
            <a:endParaRPr lang="de-DE" dirty="0"/>
          </a:p>
        </p:txBody>
      </p:sp>
      <p:sp>
        <p:nvSpPr>
          <p:cNvPr id="4" name="Textplatzhalter 2"/>
          <p:cNvSpPr txBox="1">
            <a:spLocks/>
          </p:cNvSpPr>
          <p:nvPr/>
        </p:nvSpPr>
        <p:spPr>
          <a:xfrm>
            <a:off x="302341" y="426280"/>
            <a:ext cx="8885499" cy="697671"/>
          </a:xfrm>
          <a:prstGeom prst="rect">
            <a:avLst/>
          </a:prstGeom>
        </p:spPr>
        <p:txBody>
          <a:bodyPr anchor="t" anchorCtr="0"/>
          <a:lstStyle>
            <a:lvl1pPr marL="0" indent="0" algn="l" defTabSz="914400" rtl="0" eaLnBrk="1" latinLnBrk="0" hangingPunct="1">
              <a:spcBef>
                <a:spcPts val="200"/>
              </a:spcBef>
              <a:buClr>
                <a:schemeClr val="tx2"/>
              </a:buClr>
              <a:buFont typeface="Wingdings" pitchFamily="2" charset="2"/>
              <a:buNone/>
              <a:defRPr sz="1600" kern="1200">
                <a:solidFill>
                  <a:schemeClr val="tx2"/>
                </a:solidFill>
                <a:latin typeface="+mn-lt"/>
                <a:ea typeface="+mn-ea"/>
                <a:cs typeface="+mn-cs"/>
              </a:defRPr>
            </a:lvl1pPr>
            <a:lvl2pPr marL="180975" indent="-180975" algn="l" defTabSz="914400" rtl="0" eaLnBrk="1" latinLnBrk="0" hangingPunct="1">
              <a:spcBef>
                <a:spcPts val="200"/>
              </a:spcBef>
              <a:buClr>
                <a:schemeClr val="tx2"/>
              </a:buClr>
              <a:buFont typeface="Wingdings" pitchFamily="2" charset="2"/>
              <a:buChar char="§"/>
              <a:defRPr sz="1600" kern="1200">
                <a:solidFill>
                  <a:schemeClr val="tx2"/>
                </a:solidFill>
                <a:latin typeface="+mn-lt"/>
                <a:ea typeface="+mn-ea"/>
                <a:cs typeface="+mn-cs"/>
              </a:defRPr>
            </a:lvl2pPr>
            <a:lvl3pPr marL="355600" indent="-174625"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3pPr>
            <a:lvl4pPr marL="538163" indent="-182563"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4pPr>
            <a:lvl5pPr marL="719138" indent="-180975" algn="l" defTabSz="914400" rtl="0" eaLnBrk="1" latinLnBrk="0" hangingPunct="1">
              <a:spcBef>
                <a:spcPts val="200"/>
              </a:spcBef>
              <a:buClr>
                <a:schemeClr val="tx2"/>
              </a:buClr>
              <a:buFont typeface="Symbol" pitchFamily="18" charset="2"/>
              <a:buChar char="-"/>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3600" b="1" dirty="0" smtClean="0">
                <a:solidFill>
                  <a:schemeClr val="accent6"/>
                </a:solidFill>
              </a:rPr>
              <a:t>Publishing </a:t>
            </a:r>
            <a:r>
              <a:rPr lang="de-DE" sz="3600" b="1" dirty="0" err="1" smtClean="0">
                <a:solidFill>
                  <a:schemeClr val="accent6"/>
                </a:solidFill>
              </a:rPr>
              <a:t>and</a:t>
            </a:r>
            <a:r>
              <a:rPr lang="de-DE" sz="3600" b="1" dirty="0" smtClean="0">
                <a:solidFill>
                  <a:schemeClr val="accent6"/>
                </a:solidFill>
              </a:rPr>
              <a:t> </a:t>
            </a:r>
            <a:r>
              <a:rPr lang="de-DE" sz="3600" b="1" dirty="0" err="1" smtClean="0">
                <a:solidFill>
                  <a:schemeClr val="accent6"/>
                </a:solidFill>
              </a:rPr>
              <a:t>access</a:t>
            </a:r>
            <a:r>
              <a:rPr lang="de-DE" sz="3600" b="1" dirty="0" smtClean="0">
                <a:solidFill>
                  <a:schemeClr val="accent6"/>
                </a:solidFill>
              </a:rPr>
              <a:t> </a:t>
            </a:r>
            <a:r>
              <a:rPr lang="de-DE" sz="3600" b="1" dirty="0" err="1" smtClean="0">
                <a:solidFill>
                  <a:schemeClr val="accent6"/>
                </a:solidFill>
              </a:rPr>
              <a:t>are</a:t>
            </a:r>
            <a:r>
              <a:rPr lang="de-DE" sz="3600" b="1" dirty="0" smtClean="0">
                <a:solidFill>
                  <a:schemeClr val="accent6"/>
                </a:solidFill>
              </a:rPr>
              <a:t> </a:t>
            </a:r>
            <a:r>
              <a:rPr lang="de-DE" sz="3600" b="1" dirty="0" err="1" smtClean="0">
                <a:solidFill>
                  <a:schemeClr val="accent6"/>
                </a:solidFill>
              </a:rPr>
              <a:t>two</a:t>
            </a:r>
            <a:r>
              <a:rPr lang="de-DE" sz="3600" b="1" dirty="0" smtClean="0">
                <a:solidFill>
                  <a:schemeClr val="accent6"/>
                </a:solidFill>
              </a:rPr>
              <a:t> </a:t>
            </a:r>
            <a:r>
              <a:rPr lang="de-DE" sz="3600" b="1" dirty="0" err="1" smtClean="0">
                <a:solidFill>
                  <a:schemeClr val="accent6"/>
                </a:solidFill>
              </a:rPr>
              <a:t>sides</a:t>
            </a:r>
            <a:r>
              <a:rPr lang="de-DE" sz="3600" b="1" dirty="0" smtClean="0">
                <a:solidFill>
                  <a:schemeClr val="accent6"/>
                </a:solidFill>
              </a:rPr>
              <a:t> </a:t>
            </a:r>
            <a:r>
              <a:rPr lang="de-DE" sz="3600" b="1" dirty="0" err="1" smtClean="0">
                <a:solidFill>
                  <a:schemeClr val="accent6"/>
                </a:solidFill>
              </a:rPr>
              <a:t>of</a:t>
            </a:r>
            <a:r>
              <a:rPr lang="de-DE" sz="3600" b="1" dirty="0" smtClean="0">
                <a:solidFill>
                  <a:schemeClr val="accent6"/>
                </a:solidFill>
              </a:rPr>
              <a:t> </a:t>
            </a:r>
            <a:r>
              <a:rPr lang="de-DE" sz="3600" b="1" dirty="0" err="1" smtClean="0">
                <a:solidFill>
                  <a:schemeClr val="accent6"/>
                </a:solidFill>
              </a:rPr>
              <a:t>the</a:t>
            </a:r>
            <a:r>
              <a:rPr lang="de-DE" sz="3600" b="1" dirty="0" smtClean="0">
                <a:solidFill>
                  <a:schemeClr val="accent6"/>
                </a:solidFill>
              </a:rPr>
              <a:t> same </a:t>
            </a:r>
            <a:r>
              <a:rPr lang="de-DE" sz="3600" b="1" dirty="0" err="1" smtClean="0">
                <a:solidFill>
                  <a:schemeClr val="accent6"/>
                </a:solidFill>
              </a:rPr>
              <a:t>coin</a:t>
            </a:r>
            <a:endParaRPr lang="de-DE" sz="3600" b="1" dirty="0" smtClean="0">
              <a:solidFill>
                <a:schemeClr val="accent6"/>
              </a:solidFill>
            </a:endParaRPr>
          </a:p>
        </p:txBody>
      </p:sp>
      <p:sp>
        <p:nvSpPr>
          <p:cNvPr id="8" name="Freihandform 7"/>
          <p:cNvSpPr/>
          <p:nvPr/>
        </p:nvSpPr>
        <p:spPr>
          <a:xfrm rot="20983708">
            <a:off x="7857948" y="3339212"/>
            <a:ext cx="576860" cy="1239170"/>
          </a:xfrm>
          <a:custGeom>
            <a:avLst/>
            <a:gdLst>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3162822 w 7780257"/>
              <a:gd name="connsiteY34" fmla="*/ 2787041 h 3757808"/>
              <a:gd name="connsiteX35" fmla="*/ 2699359 w 7780257"/>
              <a:gd name="connsiteY35" fmla="*/ 2812093 h 3757808"/>
              <a:gd name="connsiteX36" fmla="*/ 2661781 w 7780257"/>
              <a:gd name="connsiteY36" fmla="*/ 2830882 h 3757808"/>
              <a:gd name="connsiteX37" fmla="*/ 2642992 w 7780257"/>
              <a:gd name="connsiteY37" fmla="*/ 2855934 h 3757808"/>
              <a:gd name="connsiteX38" fmla="*/ 2649255 w 7780257"/>
              <a:gd name="connsiteY38" fmla="*/ 2968668 h 3757808"/>
              <a:gd name="connsiteX39" fmla="*/ 2743200 w 7780257"/>
              <a:gd name="connsiteY39" fmla="*/ 2931090 h 3757808"/>
              <a:gd name="connsiteX40" fmla="*/ 2686833 w 7780257"/>
              <a:gd name="connsiteY40" fmla="*/ 2824619 h 3757808"/>
              <a:gd name="connsiteX41" fmla="*/ 2636729 w 7780257"/>
              <a:gd name="connsiteY41" fmla="*/ 2812093 h 3757808"/>
              <a:gd name="connsiteX42" fmla="*/ 2542784 w 7780257"/>
              <a:gd name="connsiteY42" fmla="*/ 2855934 h 3757808"/>
              <a:gd name="connsiteX43" fmla="*/ 2730674 w 7780257"/>
              <a:gd name="connsiteY43" fmla="*/ 2874723 h 3757808"/>
              <a:gd name="connsiteX44" fmla="*/ 2780778 w 7780257"/>
              <a:gd name="connsiteY44" fmla="*/ 2887249 h 3757808"/>
              <a:gd name="connsiteX45" fmla="*/ 2874723 w 7780257"/>
              <a:gd name="connsiteY45" fmla="*/ 2937353 h 3757808"/>
              <a:gd name="connsiteX46" fmla="*/ 2931090 w 7780257"/>
              <a:gd name="connsiteY46" fmla="*/ 3018772 h 3757808"/>
              <a:gd name="connsiteX47" fmla="*/ 2931090 w 7780257"/>
              <a:gd name="connsiteY47" fmla="*/ 3018772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3162822 w 7780257"/>
              <a:gd name="connsiteY34" fmla="*/ 2787041 h 3757808"/>
              <a:gd name="connsiteX35" fmla="*/ 2699359 w 7780257"/>
              <a:gd name="connsiteY35" fmla="*/ 2812093 h 3757808"/>
              <a:gd name="connsiteX36" fmla="*/ 2661781 w 7780257"/>
              <a:gd name="connsiteY36" fmla="*/ 2830882 h 3757808"/>
              <a:gd name="connsiteX37" fmla="*/ 2649255 w 7780257"/>
              <a:gd name="connsiteY37" fmla="*/ 2968668 h 3757808"/>
              <a:gd name="connsiteX38" fmla="*/ 2743200 w 7780257"/>
              <a:gd name="connsiteY38" fmla="*/ 2931090 h 3757808"/>
              <a:gd name="connsiteX39" fmla="*/ 2686833 w 7780257"/>
              <a:gd name="connsiteY39" fmla="*/ 2824619 h 3757808"/>
              <a:gd name="connsiteX40" fmla="*/ 2636729 w 7780257"/>
              <a:gd name="connsiteY40" fmla="*/ 2812093 h 3757808"/>
              <a:gd name="connsiteX41" fmla="*/ 2542784 w 7780257"/>
              <a:gd name="connsiteY41" fmla="*/ 2855934 h 3757808"/>
              <a:gd name="connsiteX42" fmla="*/ 2730674 w 7780257"/>
              <a:gd name="connsiteY42" fmla="*/ 2874723 h 3757808"/>
              <a:gd name="connsiteX43" fmla="*/ 2780778 w 7780257"/>
              <a:gd name="connsiteY43" fmla="*/ 2887249 h 3757808"/>
              <a:gd name="connsiteX44" fmla="*/ 2874723 w 7780257"/>
              <a:gd name="connsiteY44" fmla="*/ 2937353 h 3757808"/>
              <a:gd name="connsiteX45" fmla="*/ 2931090 w 7780257"/>
              <a:gd name="connsiteY45" fmla="*/ 3018772 h 3757808"/>
              <a:gd name="connsiteX46" fmla="*/ 2931090 w 7780257"/>
              <a:gd name="connsiteY46" fmla="*/ 3018772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3162822 w 7780257"/>
              <a:gd name="connsiteY34" fmla="*/ 2787041 h 3757808"/>
              <a:gd name="connsiteX35" fmla="*/ 2699359 w 7780257"/>
              <a:gd name="connsiteY35" fmla="*/ 2812093 h 3757808"/>
              <a:gd name="connsiteX36" fmla="*/ 2661781 w 7780257"/>
              <a:gd name="connsiteY36" fmla="*/ 2830882 h 3757808"/>
              <a:gd name="connsiteX37" fmla="*/ 2649255 w 7780257"/>
              <a:gd name="connsiteY37" fmla="*/ 2968668 h 3757808"/>
              <a:gd name="connsiteX38" fmla="*/ 2743200 w 7780257"/>
              <a:gd name="connsiteY38" fmla="*/ 2931090 h 3757808"/>
              <a:gd name="connsiteX39" fmla="*/ 2636729 w 7780257"/>
              <a:gd name="connsiteY39" fmla="*/ 2812093 h 3757808"/>
              <a:gd name="connsiteX40" fmla="*/ 2542784 w 7780257"/>
              <a:gd name="connsiteY40" fmla="*/ 2855934 h 3757808"/>
              <a:gd name="connsiteX41" fmla="*/ 2730674 w 7780257"/>
              <a:gd name="connsiteY41" fmla="*/ 2874723 h 3757808"/>
              <a:gd name="connsiteX42" fmla="*/ 2780778 w 7780257"/>
              <a:gd name="connsiteY42" fmla="*/ 2887249 h 3757808"/>
              <a:gd name="connsiteX43" fmla="*/ 2874723 w 7780257"/>
              <a:gd name="connsiteY43" fmla="*/ 2937353 h 3757808"/>
              <a:gd name="connsiteX44" fmla="*/ 2931090 w 7780257"/>
              <a:gd name="connsiteY44" fmla="*/ 3018772 h 3757808"/>
              <a:gd name="connsiteX45" fmla="*/ 2931090 w 7780257"/>
              <a:gd name="connsiteY45" fmla="*/ 3018772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3162822 w 7780257"/>
              <a:gd name="connsiteY34" fmla="*/ 2787041 h 3757808"/>
              <a:gd name="connsiteX35" fmla="*/ 2699359 w 7780257"/>
              <a:gd name="connsiteY35" fmla="*/ 2812093 h 3757808"/>
              <a:gd name="connsiteX36" fmla="*/ 2661781 w 7780257"/>
              <a:gd name="connsiteY36" fmla="*/ 2830882 h 3757808"/>
              <a:gd name="connsiteX37" fmla="*/ 2743200 w 7780257"/>
              <a:gd name="connsiteY37" fmla="*/ 2931090 h 3757808"/>
              <a:gd name="connsiteX38" fmla="*/ 2636729 w 7780257"/>
              <a:gd name="connsiteY38" fmla="*/ 2812093 h 3757808"/>
              <a:gd name="connsiteX39" fmla="*/ 2542784 w 7780257"/>
              <a:gd name="connsiteY39" fmla="*/ 2855934 h 3757808"/>
              <a:gd name="connsiteX40" fmla="*/ 2730674 w 7780257"/>
              <a:gd name="connsiteY40" fmla="*/ 2874723 h 3757808"/>
              <a:gd name="connsiteX41" fmla="*/ 2780778 w 7780257"/>
              <a:gd name="connsiteY41" fmla="*/ 2887249 h 3757808"/>
              <a:gd name="connsiteX42" fmla="*/ 2874723 w 7780257"/>
              <a:gd name="connsiteY42" fmla="*/ 2937353 h 3757808"/>
              <a:gd name="connsiteX43" fmla="*/ 2931090 w 7780257"/>
              <a:gd name="connsiteY43" fmla="*/ 3018772 h 3757808"/>
              <a:gd name="connsiteX44" fmla="*/ 2931090 w 7780257"/>
              <a:gd name="connsiteY44" fmla="*/ 3018772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3162822 w 7780257"/>
              <a:gd name="connsiteY34" fmla="*/ 2787041 h 3757808"/>
              <a:gd name="connsiteX35" fmla="*/ 2699359 w 7780257"/>
              <a:gd name="connsiteY35" fmla="*/ 2812093 h 3757808"/>
              <a:gd name="connsiteX36" fmla="*/ 2661781 w 7780257"/>
              <a:gd name="connsiteY36" fmla="*/ 2830882 h 3757808"/>
              <a:gd name="connsiteX37" fmla="*/ 2636729 w 7780257"/>
              <a:gd name="connsiteY37" fmla="*/ 2812093 h 3757808"/>
              <a:gd name="connsiteX38" fmla="*/ 2542784 w 7780257"/>
              <a:gd name="connsiteY38" fmla="*/ 2855934 h 3757808"/>
              <a:gd name="connsiteX39" fmla="*/ 2730674 w 7780257"/>
              <a:gd name="connsiteY39" fmla="*/ 2874723 h 3757808"/>
              <a:gd name="connsiteX40" fmla="*/ 2780778 w 7780257"/>
              <a:gd name="connsiteY40" fmla="*/ 2887249 h 3757808"/>
              <a:gd name="connsiteX41" fmla="*/ 2874723 w 7780257"/>
              <a:gd name="connsiteY41" fmla="*/ 2937353 h 3757808"/>
              <a:gd name="connsiteX42" fmla="*/ 2931090 w 7780257"/>
              <a:gd name="connsiteY42" fmla="*/ 3018772 h 3757808"/>
              <a:gd name="connsiteX43" fmla="*/ 2931090 w 7780257"/>
              <a:gd name="connsiteY43" fmla="*/ 3018772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661781 w 7780257"/>
              <a:gd name="connsiteY35" fmla="*/ 2830882 h 3757808"/>
              <a:gd name="connsiteX36" fmla="*/ 2636729 w 7780257"/>
              <a:gd name="connsiteY36" fmla="*/ 2812093 h 3757808"/>
              <a:gd name="connsiteX37" fmla="*/ 2542784 w 7780257"/>
              <a:gd name="connsiteY37" fmla="*/ 2855934 h 3757808"/>
              <a:gd name="connsiteX38" fmla="*/ 2730674 w 7780257"/>
              <a:gd name="connsiteY38" fmla="*/ 2874723 h 3757808"/>
              <a:gd name="connsiteX39" fmla="*/ 2780778 w 7780257"/>
              <a:gd name="connsiteY39" fmla="*/ 2887249 h 3757808"/>
              <a:gd name="connsiteX40" fmla="*/ 2874723 w 7780257"/>
              <a:gd name="connsiteY40" fmla="*/ 2937353 h 3757808"/>
              <a:gd name="connsiteX41" fmla="*/ 2931090 w 7780257"/>
              <a:gd name="connsiteY41" fmla="*/ 3018772 h 3757808"/>
              <a:gd name="connsiteX42" fmla="*/ 2931090 w 7780257"/>
              <a:gd name="connsiteY42" fmla="*/ 3018772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661781 w 7780257"/>
              <a:gd name="connsiteY35" fmla="*/ 2830882 h 3757808"/>
              <a:gd name="connsiteX36" fmla="*/ 2636729 w 7780257"/>
              <a:gd name="connsiteY36" fmla="*/ 2812093 h 3757808"/>
              <a:gd name="connsiteX37" fmla="*/ 2730674 w 7780257"/>
              <a:gd name="connsiteY37" fmla="*/ 2874723 h 3757808"/>
              <a:gd name="connsiteX38" fmla="*/ 2780778 w 7780257"/>
              <a:gd name="connsiteY38" fmla="*/ 2887249 h 3757808"/>
              <a:gd name="connsiteX39" fmla="*/ 2874723 w 7780257"/>
              <a:gd name="connsiteY39" fmla="*/ 2937353 h 3757808"/>
              <a:gd name="connsiteX40" fmla="*/ 2931090 w 7780257"/>
              <a:gd name="connsiteY40" fmla="*/ 3018772 h 3757808"/>
              <a:gd name="connsiteX41" fmla="*/ 2931090 w 7780257"/>
              <a:gd name="connsiteY41" fmla="*/ 3018772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661781 w 7780257"/>
              <a:gd name="connsiteY35" fmla="*/ 2830882 h 3757808"/>
              <a:gd name="connsiteX36" fmla="*/ 2492679 w 7780257"/>
              <a:gd name="connsiteY36" fmla="*/ 2874723 h 3757808"/>
              <a:gd name="connsiteX37" fmla="*/ 2730674 w 7780257"/>
              <a:gd name="connsiteY37" fmla="*/ 2874723 h 3757808"/>
              <a:gd name="connsiteX38" fmla="*/ 2780778 w 7780257"/>
              <a:gd name="connsiteY38" fmla="*/ 2887249 h 3757808"/>
              <a:gd name="connsiteX39" fmla="*/ 2874723 w 7780257"/>
              <a:gd name="connsiteY39" fmla="*/ 2937353 h 3757808"/>
              <a:gd name="connsiteX40" fmla="*/ 2931090 w 7780257"/>
              <a:gd name="connsiteY40" fmla="*/ 3018772 h 3757808"/>
              <a:gd name="connsiteX41" fmla="*/ 2931090 w 7780257"/>
              <a:gd name="connsiteY41" fmla="*/ 3018772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492679 w 7780257"/>
              <a:gd name="connsiteY35" fmla="*/ 2874723 h 3757808"/>
              <a:gd name="connsiteX36" fmla="*/ 2730674 w 7780257"/>
              <a:gd name="connsiteY36" fmla="*/ 2874723 h 3757808"/>
              <a:gd name="connsiteX37" fmla="*/ 2780778 w 7780257"/>
              <a:gd name="connsiteY37" fmla="*/ 2887249 h 3757808"/>
              <a:gd name="connsiteX38" fmla="*/ 2874723 w 7780257"/>
              <a:gd name="connsiteY38" fmla="*/ 2937353 h 3757808"/>
              <a:gd name="connsiteX39" fmla="*/ 2931090 w 7780257"/>
              <a:gd name="connsiteY39" fmla="*/ 3018772 h 3757808"/>
              <a:gd name="connsiteX40" fmla="*/ 2931090 w 7780257"/>
              <a:gd name="connsiteY40" fmla="*/ 3018772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492679 w 7780257"/>
              <a:gd name="connsiteY35" fmla="*/ 2874723 h 3757808"/>
              <a:gd name="connsiteX36" fmla="*/ 2693096 w 7780257"/>
              <a:gd name="connsiteY36" fmla="*/ 2937353 h 3757808"/>
              <a:gd name="connsiteX37" fmla="*/ 2780778 w 7780257"/>
              <a:gd name="connsiteY37" fmla="*/ 2887249 h 3757808"/>
              <a:gd name="connsiteX38" fmla="*/ 2874723 w 7780257"/>
              <a:gd name="connsiteY38" fmla="*/ 2937353 h 3757808"/>
              <a:gd name="connsiteX39" fmla="*/ 2931090 w 7780257"/>
              <a:gd name="connsiteY39" fmla="*/ 3018772 h 3757808"/>
              <a:gd name="connsiteX40" fmla="*/ 2931090 w 7780257"/>
              <a:gd name="connsiteY40" fmla="*/ 3018772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492679 w 7780257"/>
              <a:gd name="connsiteY35" fmla="*/ 2874723 h 3757808"/>
              <a:gd name="connsiteX36" fmla="*/ 2693096 w 7780257"/>
              <a:gd name="connsiteY36" fmla="*/ 2937353 h 3757808"/>
              <a:gd name="connsiteX37" fmla="*/ 2780778 w 7780257"/>
              <a:gd name="connsiteY37" fmla="*/ 2937353 h 3757808"/>
              <a:gd name="connsiteX38" fmla="*/ 2874723 w 7780257"/>
              <a:gd name="connsiteY38" fmla="*/ 2937353 h 3757808"/>
              <a:gd name="connsiteX39" fmla="*/ 2931090 w 7780257"/>
              <a:gd name="connsiteY39" fmla="*/ 3018772 h 3757808"/>
              <a:gd name="connsiteX40" fmla="*/ 2931090 w 7780257"/>
              <a:gd name="connsiteY40" fmla="*/ 3018772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492679 w 7780257"/>
              <a:gd name="connsiteY35" fmla="*/ 2874723 h 3757808"/>
              <a:gd name="connsiteX36" fmla="*/ 2693096 w 7780257"/>
              <a:gd name="connsiteY36" fmla="*/ 2937353 h 3757808"/>
              <a:gd name="connsiteX37" fmla="*/ 2874723 w 7780257"/>
              <a:gd name="connsiteY37" fmla="*/ 2937353 h 3757808"/>
              <a:gd name="connsiteX38" fmla="*/ 2931090 w 7780257"/>
              <a:gd name="connsiteY38" fmla="*/ 3018772 h 3757808"/>
              <a:gd name="connsiteX39" fmla="*/ 2931090 w 7780257"/>
              <a:gd name="connsiteY39" fmla="*/ 3018772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486416 w 7780257"/>
              <a:gd name="connsiteY35" fmla="*/ 2824619 h 3757808"/>
              <a:gd name="connsiteX36" fmla="*/ 2693096 w 7780257"/>
              <a:gd name="connsiteY36" fmla="*/ 2937353 h 3757808"/>
              <a:gd name="connsiteX37" fmla="*/ 2874723 w 7780257"/>
              <a:gd name="connsiteY37" fmla="*/ 2937353 h 3757808"/>
              <a:gd name="connsiteX38" fmla="*/ 2931090 w 7780257"/>
              <a:gd name="connsiteY38" fmla="*/ 3018772 h 3757808"/>
              <a:gd name="connsiteX39" fmla="*/ 2931090 w 7780257"/>
              <a:gd name="connsiteY39" fmla="*/ 3018772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486416 w 7780257"/>
              <a:gd name="connsiteY35" fmla="*/ 2824619 h 3757808"/>
              <a:gd name="connsiteX36" fmla="*/ 2549047 w 7780257"/>
              <a:gd name="connsiteY36" fmla="*/ 2943616 h 3757808"/>
              <a:gd name="connsiteX37" fmla="*/ 2874723 w 7780257"/>
              <a:gd name="connsiteY37" fmla="*/ 2937353 h 3757808"/>
              <a:gd name="connsiteX38" fmla="*/ 2931090 w 7780257"/>
              <a:gd name="connsiteY38" fmla="*/ 3018772 h 3757808"/>
              <a:gd name="connsiteX39" fmla="*/ 2931090 w 7780257"/>
              <a:gd name="connsiteY39" fmla="*/ 3018772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505205 w 7780257"/>
              <a:gd name="connsiteY35" fmla="*/ 2799567 h 3757808"/>
              <a:gd name="connsiteX36" fmla="*/ 2549047 w 7780257"/>
              <a:gd name="connsiteY36" fmla="*/ 2943616 h 3757808"/>
              <a:gd name="connsiteX37" fmla="*/ 2874723 w 7780257"/>
              <a:gd name="connsiteY37" fmla="*/ 2937353 h 3757808"/>
              <a:gd name="connsiteX38" fmla="*/ 2931090 w 7780257"/>
              <a:gd name="connsiteY38" fmla="*/ 3018772 h 3757808"/>
              <a:gd name="connsiteX39" fmla="*/ 2931090 w 7780257"/>
              <a:gd name="connsiteY39" fmla="*/ 3018772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549047 w 7780257"/>
              <a:gd name="connsiteY35" fmla="*/ 2943616 h 3757808"/>
              <a:gd name="connsiteX36" fmla="*/ 2874723 w 7780257"/>
              <a:gd name="connsiteY36" fmla="*/ 2937353 h 3757808"/>
              <a:gd name="connsiteX37" fmla="*/ 2931090 w 7780257"/>
              <a:gd name="connsiteY37" fmla="*/ 3018772 h 3757808"/>
              <a:gd name="connsiteX38" fmla="*/ 2931090 w 7780257"/>
              <a:gd name="connsiteY38" fmla="*/ 3018772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549047 w 7780257"/>
              <a:gd name="connsiteY35" fmla="*/ 2943616 h 3757808"/>
              <a:gd name="connsiteX36" fmla="*/ 2874723 w 7780257"/>
              <a:gd name="connsiteY36" fmla="*/ 2937353 h 3757808"/>
              <a:gd name="connsiteX37" fmla="*/ 2931090 w 7780257"/>
              <a:gd name="connsiteY37" fmla="*/ 3018772 h 3757808"/>
              <a:gd name="connsiteX38" fmla="*/ 2517732 w 7780257"/>
              <a:gd name="connsiteY38" fmla="*/ 2661781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549047 w 7780257"/>
              <a:gd name="connsiteY35" fmla="*/ 2943616 h 3757808"/>
              <a:gd name="connsiteX36" fmla="*/ 2931090 w 7780257"/>
              <a:gd name="connsiteY36" fmla="*/ 3018772 h 3757808"/>
              <a:gd name="connsiteX37" fmla="*/ 2517732 w 7780257"/>
              <a:gd name="connsiteY37" fmla="*/ 2661781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549047 w 7780257"/>
              <a:gd name="connsiteY35" fmla="*/ 2943616 h 3757808"/>
              <a:gd name="connsiteX36" fmla="*/ 2931090 w 7780257"/>
              <a:gd name="connsiteY36" fmla="*/ 3018772 h 3757808"/>
              <a:gd name="connsiteX37" fmla="*/ 2373682 w 7780257"/>
              <a:gd name="connsiteY37" fmla="*/ 2567835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549047 w 7780257"/>
              <a:gd name="connsiteY35" fmla="*/ 2943616 h 3757808"/>
              <a:gd name="connsiteX36" fmla="*/ 2843408 w 7780257"/>
              <a:gd name="connsiteY36" fmla="*/ 2999983 h 3757808"/>
              <a:gd name="connsiteX37" fmla="*/ 2373682 w 7780257"/>
              <a:gd name="connsiteY37" fmla="*/ 2567835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549047 w 7780257"/>
              <a:gd name="connsiteY35" fmla="*/ 2943616 h 3757808"/>
              <a:gd name="connsiteX36" fmla="*/ 2843408 w 7780257"/>
              <a:gd name="connsiteY36" fmla="*/ 2999983 h 3757808"/>
              <a:gd name="connsiteX37" fmla="*/ 2373682 w 7780257"/>
              <a:gd name="connsiteY37" fmla="*/ 2567835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549047 w 7780257"/>
              <a:gd name="connsiteY35" fmla="*/ 2943616 h 3757808"/>
              <a:gd name="connsiteX36" fmla="*/ 2843408 w 7780257"/>
              <a:gd name="connsiteY36" fmla="*/ 2999983 h 3757808"/>
              <a:gd name="connsiteX37" fmla="*/ 2311052 w 7780257"/>
              <a:gd name="connsiteY37" fmla="*/ 2711885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549047 w 7780257"/>
              <a:gd name="connsiteY35" fmla="*/ 2943616 h 3757808"/>
              <a:gd name="connsiteX36" fmla="*/ 2843408 w 7780257"/>
              <a:gd name="connsiteY36" fmla="*/ 2999983 h 3757808"/>
              <a:gd name="connsiteX37" fmla="*/ 2311052 w 7780257"/>
              <a:gd name="connsiteY37" fmla="*/ 2711885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549047 w 7780257"/>
              <a:gd name="connsiteY35" fmla="*/ 2943616 h 3757808"/>
              <a:gd name="connsiteX36" fmla="*/ 2843408 w 7780257"/>
              <a:gd name="connsiteY36" fmla="*/ 2999983 h 3757808"/>
              <a:gd name="connsiteX37" fmla="*/ 2311052 w 7780257"/>
              <a:gd name="connsiteY37" fmla="*/ 2711885 h 3757808"/>
              <a:gd name="connsiteX0" fmla="*/ 2935373 w 10715630"/>
              <a:gd name="connsiteY0" fmla="*/ 3757808 h 3799348"/>
              <a:gd name="connsiteX1" fmla="*/ 0 w 10715630"/>
              <a:gd name="connsiteY1" fmla="*/ 3799348 h 3799348"/>
              <a:gd name="connsiteX2" fmla="*/ 3968770 w 10715630"/>
              <a:gd name="connsiteY2" fmla="*/ 3739019 h 3799348"/>
              <a:gd name="connsiteX3" fmla="*/ 4162924 w 10715630"/>
              <a:gd name="connsiteY3" fmla="*/ 3720230 h 3799348"/>
              <a:gd name="connsiteX4" fmla="*/ 4344551 w 10715630"/>
              <a:gd name="connsiteY4" fmla="*/ 3682652 h 3799348"/>
              <a:gd name="connsiteX5" fmla="*/ 4876907 w 10715630"/>
              <a:gd name="connsiteY5" fmla="*/ 3482235 h 3799348"/>
              <a:gd name="connsiteX6" fmla="*/ 5321581 w 10715630"/>
              <a:gd name="connsiteY6" fmla="*/ 3156559 h 3799348"/>
              <a:gd name="connsiteX7" fmla="*/ 5634732 w 10715630"/>
              <a:gd name="connsiteY7" fmla="*/ 2774515 h 3799348"/>
              <a:gd name="connsiteX8" fmla="*/ 5716151 w 10715630"/>
              <a:gd name="connsiteY8" fmla="*/ 2617939 h 3799348"/>
              <a:gd name="connsiteX9" fmla="*/ 5866463 w 10715630"/>
              <a:gd name="connsiteY9" fmla="*/ 2254685 h 3799348"/>
              <a:gd name="connsiteX10" fmla="*/ 5997987 w 10715630"/>
              <a:gd name="connsiteY10" fmla="*/ 1803748 h 3799348"/>
              <a:gd name="connsiteX11" fmla="*/ 6411346 w 10715630"/>
              <a:gd name="connsiteY11" fmla="*/ 1108553 h 3799348"/>
              <a:gd name="connsiteX12" fmla="*/ 6693181 w 10715630"/>
              <a:gd name="connsiteY12" fmla="*/ 770350 h 3799348"/>
              <a:gd name="connsiteX13" fmla="*/ 6843494 w 10715630"/>
              <a:gd name="connsiteY13" fmla="*/ 632564 h 3799348"/>
              <a:gd name="connsiteX14" fmla="*/ 7306957 w 10715630"/>
              <a:gd name="connsiteY14" fmla="*/ 319413 h 3799348"/>
              <a:gd name="connsiteX15" fmla="*/ 7826787 w 10715630"/>
              <a:gd name="connsiteY15" fmla="*/ 112734 h 3799348"/>
              <a:gd name="connsiteX16" fmla="*/ 8071044 w 10715630"/>
              <a:gd name="connsiteY16" fmla="*/ 43841 h 3799348"/>
              <a:gd name="connsiteX17" fmla="*/ 8534507 w 10715630"/>
              <a:gd name="connsiteY17" fmla="*/ 0 h 3799348"/>
              <a:gd name="connsiteX18" fmla="*/ 9142020 w 10715630"/>
              <a:gd name="connsiteY18" fmla="*/ 31315 h 3799348"/>
              <a:gd name="connsiteX19" fmla="*/ 9386277 w 10715630"/>
              <a:gd name="connsiteY19" fmla="*/ 93945 h 3799348"/>
              <a:gd name="connsiteX20" fmla="*/ 9592957 w 10715630"/>
              <a:gd name="connsiteY20" fmla="*/ 169101 h 3799348"/>
              <a:gd name="connsiteX21" fmla="*/ 9981263 w 10715630"/>
              <a:gd name="connsiteY21" fmla="*/ 375781 h 3799348"/>
              <a:gd name="connsiteX22" fmla="*/ 10425937 w 10715630"/>
              <a:gd name="connsiteY22" fmla="*/ 751561 h 3799348"/>
              <a:gd name="connsiteX23" fmla="*/ 10670195 w 10715630"/>
              <a:gd name="connsiteY23" fmla="*/ 1240076 h 3799348"/>
              <a:gd name="connsiteX24" fmla="*/ 10714036 w 10715630"/>
              <a:gd name="connsiteY24" fmla="*/ 1791222 h 3799348"/>
              <a:gd name="connsiteX25" fmla="*/ 10707773 w 10715630"/>
              <a:gd name="connsiteY25" fmla="*/ 2035479 h 3799348"/>
              <a:gd name="connsiteX26" fmla="*/ 10632617 w 10715630"/>
              <a:gd name="connsiteY26" fmla="*/ 2311052 h 3799348"/>
              <a:gd name="connsiteX27" fmla="*/ 10432200 w 10715630"/>
              <a:gd name="connsiteY27" fmla="*/ 2680570 h 3799348"/>
              <a:gd name="connsiteX28" fmla="*/ 10269362 w 10715630"/>
              <a:gd name="connsiteY28" fmla="*/ 2843408 h 3799348"/>
              <a:gd name="connsiteX29" fmla="*/ 10012578 w 10715630"/>
              <a:gd name="connsiteY29" fmla="*/ 2987457 h 3799348"/>
              <a:gd name="connsiteX30" fmla="*/ 9430118 w 10715630"/>
              <a:gd name="connsiteY30" fmla="*/ 3118981 h 3799348"/>
              <a:gd name="connsiteX31" fmla="*/ 8496929 w 10715630"/>
              <a:gd name="connsiteY31" fmla="*/ 3106455 h 3799348"/>
              <a:gd name="connsiteX32" fmla="*/ 7632633 w 10715630"/>
              <a:gd name="connsiteY32" fmla="*/ 3043824 h 3799348"/>
              <a:gd name="connsiteX33" fmla="*/ 7106540 w 10715630"/>
              <a:gd name="connsiteY33" fmla="*/ 2974931 h 3799348"/>
              <a:gd name="connsiteX34" fmla="*/ 5634732 w 10715630"/>
              <a:gd name="connsiteY34" fmla="*/ 2812093 h 3799348"/>
              <a:gd name="connsiteX35" fmla="*/ 5484420 w 10715630"/>
              <a:gd name="connsiteY35" fmla="*/ 2943616 h 3799348"/>
              <a:gd name="connsiteX36" fmla="*/ 5778781 w 10715630"/>
              <a:gd name="connsiteY36" fmla="*/ 2999983 h 3799348"/>
              <a:gd name="connsiteX37" fmla="*/ 5246425 w 10715630"/>
              <a:gd name="connsiteY37" fmla="*/ 2711885 h 3799348"/>
              <a:gd name="connsiteX0" fmla="*/ 2935373 w 10715630"/>
              <a:gd name="connsiteY0" fmla="*/ 3757808 h 3799348"/>
              <a:gd name="connsiteX1" fmla="*/ 0 w 10715630"/>
              <a:gd name="connsiteY1" fmla="*/ 3799348 h 3799348"/>
              <a:gd name="connsiteX2" fmla="*/ 3968770 w 10715630"/>
              <a:gd name="connsiteY2" fmla="*/ 3739019 h 3799348"/>
              <a:gd name="connsiteX3" fmla="*/ 4344551 w 10715630"/>
              <a:gd name="connsiteY3" fmla="*/ 3682652 h 3799348"/>
              <a:gd name="connsiteX4" fmla="*/ 4876907 w 10715630"/>
              <a:gd name="connsiteY4" fmla="*/ 3482235 h 3799348"/>
              <a:gd name="connsiteX5" fmla="*/ 5321581 w 10715630"/>
              <a:gd name="connsiteY5" fmla="*/ 3156559 h 3799348"/>
              <a:gd name="connsiteX6" fmla="*/ 5634732 w 10715630"/>
              <a:gd name="connsiteY6" fmla="*/ 2774515 h 3799348"/>
              <a:gd name="connsiteX7" fmla="*/ 5716151 w 10715630"/>
              <a:gd name="connsiteY7" fmla="*/ 2617939 h 3799348"/>
              <a:gd name="connsiteX8" fmla="*/ 5866463 w 10715630"/>
              <a:gd name="connsiteY8" fmla="*/ 2254685 h 3799348"/>
              <a:gd name="connsiteX9" fmla="*/ 5997987 w 10715630"/>
              <a:gd name="connsiteY9" fmla="*/ 1803748 h 3799348"/>
              <a:gd name="connsiteX10" fmla="*/ 6411346 w 10715630"/>
              <a:gd name="connsiteY10" fmla="*/ 1108553 h 3799348"/>
              <a:gd name="connsiteX11" fmla="*/ 6693181 w 10715630"/>
              <a:gd name="connsiteY11" fmla="*/ 770350 h 3799348"/>
              <a:gd name="connsiteX12" fmla="*/ 6843494 w 10715630"/>
              <a:gd name="connsiteY12" fmla="*/ 632564 h 3799348"/>
              <a:gd name="connsiteX13" fmla="*/ 7306957 w 10715630"/>
              <a:gd name="connsiteY13" fmla="*/ 319413 h 3799348"/>
              <a:gd name="connsiteX14" fmla="*/ 7826787 w 10715630"/>
              <a:gd name="connsiteY14" fmla="*/ 112734 h 3799348"/>
              <a:gd name="connsiteX15" fmla="*/ 8071044 w 10715630"/>
              <a:gd name="connsiteY15" fmla="*/ 43841 h 3799348"/>
              <a:gd name="connsiteX16" fmla="*/ 8534507 w 10715630"/>
              <a:gd name="connsiteY16" fmla="*/ 0 h 3799348"/>
              <a:gd name="connsiteX17" fmla="*/ 9142020 w 10715630"/>
              <a:gd name="connsiteY17" fmla="*/ 31315 h 3799348"/>
              <a:gd name="connsiteX18" fmla="*/ 9386277 w 10715630"/>
              <a:gd name="connsiteY18" fmla="*/ 93945 h 3799348"/>
              <a:gd name="connsiteX19" fmla="*/ 9592957 w 10715630"/>
              <a:gd name="connsiteY19" fmla="*/ 169101 h 3799348"/>
              <a:gd name="connsiteX20" fmla="*/ 9981263 w 10715630"/>
              <a:gd name="connsiteY20" fmla="*/ 375781 h 3799348"/>
              <a:gd name="connsiteX21" fmla="*/ 10425937 w 10715630"/>
              <a:gd name="connsiteY21" fmla="*/ 751561 h 3799348"/>
              <a:gd name="connsiteX22" fmla="*/ 10670195 w 10715630"/>
              <a:gd name="connsiteY22" fmla="*/ 1240076 h 3799348"/>
              <a:gd name="connsiteX23" fmla="*/ 10714036 w 10715630"/>
              <a:gd name="connsiteY23" fmla="*/ 1791222 h 3799348"/>
              <a:gd name="connsiteX24" fmla="*/ 10707773 w 10715630"/>
              <a:gd name="connsiteY24" fmla="*/ 2035479 h 3799348"/>
              <a:gd name="connsiteX25" fmla="*/ 10632617 w 10715630"/>
              <a:gd name="connsiteY25" fmla="*/ 2311052 h 3799348"/>
              <a:gd name="connsiteX26" fmla="*/ 10432200 w 10715630"/>
              <a:gd name="connsiteY26" fmla="*/ 2680570 h 3799348"/>
              <a:gd name="connsiteX27" fmla="*/ 10269362 w 10715630"/>
              <a:gd name="connsiteY27" fmla="*/ 2843408 h 3799348"/>
              <a:gd name="connsiteX28" fmla="*/ 10012578 w 10715630"/>
              <a:gd name="connsiteY28" fmla="*/ 2987457 h 3799348"/>
              <a:gd name="connsiteX29" fmla="*/ 9430118 w 10715630"/>
              <a:gd name="connsiteY29" fmla="*/ 3118981 h 3799348"/>
              <a:gd name="connsiteX30" fmla="*/ 8496929 w 10715630"/>
              <a:gd name="connsiteY30" fmla="*/ 3106455 h 3799348"/>
              <a:gd name="connsiteX31" fmla="*/ 7632633 w 10715630"/>
              <a:gd name="connsiteY31" fmla="*/ 3043824 h 3799348"/>
              <a:gd name="connsiteX32" fmla="*/ 7106540 w 10715630"/>
              <a:gd name="connsiteY32" fmla="*/ 2974931 h 3799348"/>
              <a:gd name="connsiteX33" fmla="*/ 5634732 w 10715630"/>
              <a:gd name="connsiteY33" fmla="*/ 2812093 h 3799348"/>
              <a:gd name="connsiteX34" fmla="*/ 5484420 w 10715630"/>
              <a:gd name="connsiteY34" fmla="*/ 2943616 h 3799348"/>
              <a:gd name="connsiteX35" fmla="*/ 5778781 w 10715630"/>
              <a:gd name="connsiteY35" fmla="*/ 2999983 h 3799348"/>
              <a:gd name="connsiteX36" fmla="*/ 5246425 w 10715630"/>
              <a:gd name="connsiteY36" fmla="*/ 2711885 h 3799348"/>
              <a:gd name="connsiteX0" fmla="*/ 2935373 w 10715630"/>
              <a:gd name="connsiteY0" fmla="*/ 3757808 h 3799348"/>
              <a:gd name="connsiteX1" fmla="*/ 0 w 10715630"/>
              <a:gd name="connsiteY1" fmla="*/ 3799348 h 3799348"/>
              <a:gd name="connsiteX2" fmla="*/ 3968770 w 10715630"/>
              <a:gd name="connsiteY2" fmla="*/ 3739019 h 3799348"/>
              <a:gd name="connsiteX3" fmla="*/ 4876907 w 10715630"/>
              <a:gd name="connsiteY3" fmla="*/ 3482235 h 3799348"/>
              <a:gd name="connsiteX4" fmla="*/ 5321581 w 10715630"/>
              <a:gd name="connsiteY4" fmla="*/ 3156559 h 3799348"/>
              <a:gd name="connsiteX5" fmla="*/ 5634732 w 10715630"/>
              <a:gd name="connsiteY5" fmla="*/ 2774515 h 3799348"/>
              <a:gd name="connsiteX6" fmla="*/ 5716151 w 10715630"/>
              <a:gd name="connsiteY6" fmla="*/ 2617939 h 3799348"/>
              <a:gd name="connsiteX7" fmla="*/ 5866463 w 10715630"/>
              <a:gd name="connsiteY7" fmla="*/ 2254685 h 3799348"/>
              <a:gd name="connsiteX8" fmla="*/ 5997987 w 10715630"/>
              <a:gd name="connsiteY8" fmla="*/ 1803748 h 3799348"/>
              <a:gd name="connsiteX9" fmla="*/ 6411346 w 10715630"/>
              <a:gd name="connsiteY9" fmla="*/ 1108553 h 3799348"/>
              <a:gd name="connsiteX10" fmla="*/ 6693181 w 10715630"/>
              <a:gd name="connsiteY10" fmla="*/ 770350 h 3799348"/>
              <a:gd name="connsiteX11" fmla="*/ 6843494 w 10715630"/>
              <a:gd name="connsiteY11" fmla="*/ 632564 h 3799348"/>
              <a:gd name="connsiteX12" fmla="*/ 7306957 w 10715630"/>
              <a:gd name="connsiteY12" fmla="*/ 319413 h 3799348"/>
              <a:gd name="connsiteX13" fmla="*/ 7826787 w 10715630"/>
              <a:gd name="connsiteY13" fmla="*/ 112734 h 3799348"/>
              <a:gd name="connsiteX14" fmla="*/ 8071044 w 10715630"/>
              <a:gd name="connsiteY14" fmla="*/ 43841 h 3799348"/>
              <a:gd name="connsiteX15" fmla="*/ 8534507 w 10715630"/>
              <a:gd name="connsiteY15" fmla="*/ 0 h 3799348"/>
              <a:gd name="connsiteX16" fmla="*/ 9142020 w 10715630"/>
              <a:gd name="connsiteY16" fmla="*/ 31315 h 3799348"/>
              <a:gd name="connsiteX17" fmla="*/ 9386277 w 10715630"/>
              <a:gd name="connsiteY17" fmla="*/ 93945 h 3799348"/>
              <a:gd name="connsiteX18" fmla="*/ 9592957 w 10715630"/>
              <a:gd name="connsiteY18" fmla="*/ 169101 h 3799348"/>
              <a:gd name="connsiteX19" fmla="*/ 9981263 w 10715630"/>
              <a:gd name="connsiteY19" fmla="*/ 375781 h 3799348"/>
              <a:gd name="connsiteX20" fmla="*/ 10425937 w 10715630"/>
              <a:gd name="connsiteY20" fmla="*/ 751561 h 3799348"/>
              <a:gd name="connsiteX21" fmla="*/ 10670195 w 10715630"/>
              <a:gd name="connsiteY21" fmla="*/ 1240076 h 3799348"/>
              <a:gd name="connsiteX22" fmla="*/ 10714036 w 10715630"/>
              <a:gd name="connsiteY22" fmla="*/ 1791222 h 3799348"/>
              <a:gd name="connsiteX23" fmla="*/ 10707773 w 10715630"/>
              <a:gd name="connsiteY23" fmla="*/ 2035479 h 3799348"/>
              <a:gd name="connsiteX24" fmla="*/ 10632617 w 10715630"/>
              <a:gd name="connsiteY24" fmla="*/ 2311052 h 3799348"/>
              <a:gd name="connsiteX25" fmla="*/ 10432200 w 10715630"/>
              <a:gd name="connsiteY25" fmla="*/ 2680570 h 3799348"/>
              <a:gd name="connsiteX26" fmla="*/ 10269362 w 10715630"/>
              <a:gd name="connsiteY26" fmla="*/ 2843408 h 3799348"/>
              <a:gd name="connsiteX27" fmla="*/ 10012578 w 10715630"/>
              <a:gd name="connsiteY27" fmla="*/ 2987457 h 3799348"/>
              <a:gd name="connsiteX28" fmla="*/ 9430118 w 10715630"/>
              <a:gd name="connsiteY28" fmla="*/ 3118981 h 3799348"/>
              <a:gd name="connsiteX29" fmla="*/ 8496929 w 10715630"/>
              <a:gd name="connsiteY29" fmla="*/ 3106455 h 3799348"/>
              <a:gd name="connsiteX30" fmla="*/ 7632633 w 10715630"/>
              <a:gd name="connsiteY30" fmla="*/ 3043824 h 3799348"/>
              <a:gd name="connsiteX31" fmla="*/ 7106540 w 10715630"/>
              <a:gd name="connsiteY31" fmla="*/ 2974931 h 3799348"/>
              <a:gd name="connsiteX32" fmla="*/ 5634732 w 10715630"/>
              <a:gd name="connsiteY32" fmla="*/ 2812093 h 3799348"/>
              <a:gd name="connsiteX33" fmla="*/ 5484420 w 10715630"/>
              <a:gd name="connsiteY33" fmla="*/ 2943616 h 3799348"/>
              <a:gd name="connsiteX34" fmla="*/ 5778781 w 10715630"/>
              <a:gd name="connsiteY34" fmla="*/ 2999983 h 3799348"/>
              <a:gd name="connsiteX35" fmla="*/ 5246425 w 10715630"/>
              <a:gd name="connsiteY35" fmla="*/ 2711885 h 3799348"/>
              <a:gd name="connsiteX0" fmla="*/ 2935373 w 10715630"/>
              <a:gd name="connsiteY0" fmla="*/ 3757808 h 3799348"/>
              <a:gd name="connsiteX1" fmla="*/ 0 w 10715630"/>
              <a:gd name="connsiteY1" fmla="*/ 3799348 h 3799348"/>
              <a:gd name="connsiteX2" fmla="*/ 3968770 w 10715630"/>
              <a:gd name="connsiteY2" fmla="*/ 3739019 h 3799348"/>
              <a:gd name="connsiteX3" fmla="*/ 5321581 w 10715630"/>
              <a:gd name="connsiteY3" fmla="*/ 3156559 h 3799348"/>
              <a:gd name="connsiteX4" fmla="*/ 5634732 w 10715630"/>
              <a:gd name="connsiteY4" fmla="*/ 2774515 h 3799348"/>
              <a:gd name="connsiteX5" fmla="*/ 5716151 w 10715630"/>
              <a:gd name="connsiteY5" fmla="*/ 2617939 h 3799348"/>
              <a:gd name="connsiteX6" fmla="*/ 5866463 w 10715630"/>
              <a:gd name="connsiteY6" fmla="*/ 2254685 h 3799348"/>
              <a:gd name="connsiteX7" fmla="*/ 5997987 w 10715630"/>
              <a:gd name="connsiteY7" fmla="*/ 1803748 h 3799348"/>
              <a:gd name="connsiteX8" fmla="*/ 6411346 w 10715630"/>
              <a:gd name="connsiteY8" fmla="*/ 1108553 h 3799348"/>
              <a:gd name="connsiteX9" fmla="*/ 6693181 w 10715630"/>
              <a:gd name="connsiteY9" fmla="*/ 770350 h 3799348"/>
              <a:gd name="connsiteX10" fmla="*/ 6843494 w 10715630"/>
              <a:gd name="connsiteY10" fmla="*/ 632564 h 3799348"/>
              <a:gd name="connsiteX11" fmla="*/ 7306957 w 10715630"/>
              <a:gd name="connsiteY11" fmla="*/ 319413 h 3799348"/>
              <a:gd name="connsiteX12" fmla="*/ 7826787 w 10715630"/>
              <a:gd name="connsiteY12" fmla="*/ 112734 h 3799348"/>
              <a:gd name="connsiteX13" fmla="*/ 8071044 w 10715630"/>
              <a:gd name="connsiteY13" fmla="*/ 43841 h 3799348"/>
              <a:gd name="connsiteX14" fmla="*/ 8534507 w 10715630"/>
              <a:gd name="connsiteY14" fmla="*/ 0 h 3799348"/>
              <a:gd name="connsiteX15" fmla="*/ 9142020 w 10715630"/>
              <a:gd name="connsiteY15" fmla="*/ 31315 h 3799348"/>
              <a:gd name="connsiteX16" fmla="*/ 9386277 w 10715630"/>
              <a:gd name="connsiteY16" fmla="*/ 93945 h 3799348"/>
              <a:gd name="connsiteX17" fmla="*/ 9592957 w 10715630"/>
              <a:gd name="connsiteY17" fmla="*/ 169101 h 3799348"/>
              <a:gd name="connsiteX18" fmla="*/ 9981263 w 10715630"/>
              <a:gd name="connsiteY18" fmla="*/ 375781 h 3799348"/>
              <a:gd name="connsiteX19" fmla="*/ 10425937 w 10715630"/>
              <a:gd name="connsiteY19" fmla="*/ 751561 h 3799348"/>
              <a:gd name="connsiteX20" fmla="*/ 10670195 w 10715630"/>
              <a:gd name="connsiteY20" fmla="*/ 1240076 h 3799348"/>
              <a:gd name="connsiteX21" fmla="*/ 10714036 w 10715630"/>
              <a:gd name="connsiteY21" fmla="*/ 1791222 h 3799348"/>
              <a:gd name="connsiteX22" fmla="*/ 10707773 w 10715630"/>
              <a:gd name="connsiteY22" fmla="*/ 2035479 h 3799348"/>
              <a:gd name="connsiteX23" fmla="*/ 10632617 w 10715630"/>
              <a:gd name="connsiteY23" fmla="*/ 2311052 h 3799348"/>
              <a:gd name="connsiteX24" fmla="*/ 10432200 w 10715630"/>
              <a:gd name="connsiteY24" fmla="*/ 2680570 h 3799348"/>
              <a:gd name="connsiteX25" fmla="*/ 10269362 w 10715630"/>
              <a:gd name="connsiteY25" fmla="*/ 2843408 h 3799348"/>
              <a:gd name="connsiteX26" fmla="*/ 10012578 w 10715630"/>
              <a:gd name="connsiteY26" fmla="*/ 2987457 h 3799348"/>
              <a:gd name="connsiteX27" fmla="*/ 9430118 w 10715630"/>
              <a:gd name="connsiteY27" fmla="*/ 3118981 h 3799348"/>
              <a:gd name="connsiteX28" fmla="*/ 8496929 w 10715630"/>
              <a:gd name="connsiteY28" fmla="*/ 3106455 h 3799348"/>
              <a:gd name="connsiteX29" fmla="*/ 7632633 w 10715630"/>
              <a:gd name="connsiteY29" fmla="*/ 3043824 h 3799348"/>
              <a:gd name="connsiteX30" fmla="*/ 7106540 w 10715630"/>
              <a:gd name="connsiteY30" fmla="*/ 2974931 h 3799348"/>
              <a:gd name="connsiteX31" fmla="*/ 5634732 w 10715630"/>
              <a:gd name="connsiteY31" fmla="*/ 2812093 h 3799348"/>
              <a:gd name="connsiteX32" fmla="*/ 5484420 w 10715630"/>
              <a:gd name="connsiteY32" fmla="*/ 2943616 h 3799348"/>
              <a:gd name="connsiteX33" fmla="*/ 5778781 w 10715630"/>
              <a:gd name="connsiteY33" fmla="*/ 2999983 h 3799348"/>
              <a:gd name="connsiteX34" fmla="*/ 5246425 w 10715630"/>
              <a:gd name="connsiteY34" fmla="*/ 2711885 h 3799348"/>
              <a:gd name="connsiteX0" fmla="*/ 2935373 w 10715630"/>
              <a:gd name="connsiteY0" fmla="*/ 3757808 h 3828276"/>
              <a:gd name="connsiteX1" fmla="*/ 0 w 10715630"/>
              <a:gd name="connsiteY1" fmla="*/ 3799348 h 3828276"/>
              <a:gd name="connsiteX2" fmla="*/ 3968770 w 10715630"/>
              <a:gd name="connsiteY2" fmla="*/ 3739019 h 3828276"/>
              <a:gd name="connsiteX3" fmla="*/ 5634732 w 10715630"/>
              <a:gd name="connsiteY3" fmla="*/ 2774515 h 3828276"/>
              <a:gd name="connsiteX4" fmla="*/ 5716151 w 10715630"/>
              <a:gd name="connsiteY4" fmla="*/ 2617939 h 3828276"/>
              <a:gd name="connsiteX5" fmla="*/ 5866463 w 10715630"/>
              <a:gd name="connsiteY5" fmla="*/ 2254685 h 3828276"/>
              <a:gd name="connsiteX6" fmla="*/ 5997987 w 10715630"/>
              <a:gd name="connsiteY6" fmla="*/ 1803748 h 3828276"/>
              <a:gd name="connsiteX7" fmla="*/ 6411346 w 10715630"/>
              <a:gd name="connsiteY7" fmla="*/ 1108553 h 3828276"/>
              <a:gd name="connsiteX8" fmla="*/ 6693181 w 10715630"/>
              <a:gd name="connsiteY8" fmla="*/ 770350 h 3828276"/>
              <a:gd name="connsiteX9" fmla="*/ 6843494 w 10715630"/>
              <a:gd name="connsiteY9" fmla="*/ 632564 h 3828276"/>
              <a:gd name="connsiteX10" fmla="*/ 7306957 w 10715630"/>
              <a:gd name="connsiteY10" fmla="*/ 319413 h 3828276"/>
              <a:gd name="connsiteX11" fmla="*/ 7826787 w 10715630"/>
              <a:gd name="connsiteY11" fmla="*/ 112734 h 3828276"/>
              <a:gd name="connsiteX12" fmla="*/ 8071044 w 10715630"/>
              <a:gd name="connsiteY12" fmla="*/ 43841 h 3828276"/>
              <a:gd name="connsiteX13" fmla="*/ 8534507 w 10715630"/>
              <a:gd name="connsiteY13" fmla="*/ 0 h 3828276"/>
              <a:gd name="connsiteX14" fmla="*/ 9142020 w 10715630"/>
              <a:gd name="connsiteY14" fmla="*/ 31315 h 3828276"/>
              <a:gd name="connsiteX15" fmla="*/ 9386277 w 10715630"/>
              <a:gd name="connsiteY15" fmla="*/ 93945 h 3828276"/>
              <a:gd name="connsiteX16" fmla="*/ 9592957 w 10715630"/>
              <a:gd name="connsiteY16" fmla="*/ 169101 h 3828276"/>
              <a:gd name="connsiteX17" fmla="*/ 9981263 w 10715630"/>
              <a:gd name="connsiteY17" fmla="*/ 375781 h 3828276"/>
              <a:gd name="connsiteX18" fmla="*/ 10425937 w 10715630"/>
              <a:gd name="connsiteY18" fmla="*/ 751561 h 3828276"/>
              <a:gd name="connsiteX19" fmla="*/ 10670195 w 10715630"/>
              <a:gd name="connsiteY19" fmla="*/ 1240076 h 3828276"/>
              <a:gd name="connsiteX20" fmla="*/ 10714036 w 10715630"/>
              <a:gd name="connsiteY20" fmla="*/ 1791222 h 3828276"/>
              <a:gd name="connsiteX21" fmla="*/ 10707773 w 10715630"/>
              <a:gd name="connsiteY21" fmla="*/ 2035479 h 3828276"/>
              <a:gd name="connsiteX22" fmla="*/ 10632617 w 10715630"/>
              <a:gd name="connsiteY22" fmla="*/ 2311052 h 3828276"/>
              <a:gd name="connsiteX23" fmla="*/ 10432200 w 10715630"/>
              <a:gd name="connsiteY23" fmla="*/ 2680570 h 3828276"/>
              <a:gd name="connsiteX24" fmla="*/ 10269362 w 10715630"/>
              <a:gd name="connsiteY24" fmla="*/ 2843408 h 3828276"/>
              <a:gd name="connsiteX25" fmla="*/ 10012578 w 10715630"/>
              <a:gd name="connsiteY25" fmla="*/ 2987457 h 3828276"/>
              <a:gd name="connsiteX26" fmla="*/ 9430118 w 10715630"/>
              <a:gd name="connsiteY26" fmla="*/ 3118981 h 3828276"/>
              <a:gd name="connsiteX27" fmla="*/ 8496929 w 10715630"/>
              <a:gd name="connsiteY27" fmla="*/ 3106455 h 3828276"/>
              <a:gd name="connsiteX28" fmla="*/ 7632633 w 10715630"/>
              <a:gd name="connsiteY28" fmla="*/ 3043824 h 3828276"/>
              <a:gd name="connsiteX29" fmla="*/ 7106540 w 10715630"/>
              <a:gd name="connsiteY29" fmla="*/ 2974931 h 3828276"/>
              <a:gd name="connsiteX30" fmla="*/ 5634732 w 10715630"/>
              <a:gd name="connsiteY30" fmla="*/ 2812093 h 3828276"/>
              <a:gd name="connsiteX31" fmla="*/ 5484420 w 10715630"/>
              <a:gd name="connsiteY31" fmla="*/ 2943616 h 3828276"/>
              <a:gd name="connsiteX32" fmla="*/ 5778781 w 10715630"/>
              <a:gd name="connsiteY32" fmla="*/ 2999983 h 3828276"/>
              <a:gd name="connsiteX33" fmla="*/ 5246425 w 10715630"/>
              <a:gd name="connsiteY33" fmla="*/ 2711885 h 3828276"/>
              <a:gd name="connsiteX0" fmla="*/ 2935373 w 10715630"/>
              <a:gd name="connsiteY0" fmla="*/ 3757808 h 3828276"/>
              <a:gd name="connsiteX1" fmla="*/ 0 w 10715630"/>
              <a:gd name="connsiteY1" fmla="*/ 3799348 h 3828276"/>
              <a:gd name="connsiteX2" fmla="*/ 3968770 w 10715630"/>
              <a:gd name="connsiteY2" fmla="*/ 3739019 h 3828276"/>
              <a:gd name="connsiteX3" fmla="*/ 5634732 w 10715630"/>
              <a:gd name="connsiteY3" fmla="*/ 2774515 h 3828276"/>
              <a:gd name="connsiteX4" fmla="*/ 5866463 w 10715630"/>
              <a:gd name="connsiteY4" fmla="*/ 2254685 h 3828276"/>
              <a:gd name="connsiteX5" fmla="*/ 5997987 w 10715630"/>
              <a:gd name="connsiteY5" fmla="*/ 1803748 h 3828276"/>
              <a:gd name="connsiteX6" fmla="*/ 6411346 w 10715630"/>
              <a:gd name="connsiteY6" fmla="*/ 1108553 h 3828276"/>
              <a:gd name="connsiteX7" fmla="*/ 6693181 w 10715630"/>
              <a:gd name="connsiteY7" fmla="*/ 770350 h 3828276"/>
              <a:gd name="connsiteX8" fmla="*/ 6843494 w 10715630"/>
              <a:gd name="connsiteY8" fmla="*/ 632564 h 3828276"/>
              <a:gd name="connsiteX9" fmla="*/ 7306957 w 10715630"/>
              <a:gd name="connsiteY9" fmla="*/ 319413 h 3828276"/>
              <a:gd name="connsiteX10" fmla="*/ 7826787 w 10715630"/>
              <a:gd name="connsiteY10" fmla="*/ 112734 h 3828276"/>
              <a:gd name="connsiteX11" fmla="*/ 8071044 w 10715630"/>
              <a:gd name="connsiteY11" fmla="*/ 43841 h 3828276"/>
              <a:gd name="connsiteX12" fmla="*/ 8534507 w 10715630"/>
              <a:gd name="connsiteY12" fmla="*/ 0 h 3828276"/>
              <a:gd name="connsiteX13" fmla="*/ 9142020 w 10715630"/>
              <a:gd name="connsiteY13" fmla="*/ 31315 h 3828276"/>
              <a:gd name="connsiteX14" fmla="*/ 9386277 w 10715630"/>
              <a:gd name="connsiteY14" fmla="*/ 93945 h 3828276"/>
              <a:gd name="connsiteX15" fmla="*/ 9592957 w 10715630"/>
              <a:gd name="connsiteY15" fmla="*/ 169101 h 3828276"/>
              <a:gd name="connsiteX16" fmla="*/ 9981263 w 10715630"/>
              <a:gd name="connsiteY16" fmla="*/ 375781 h 3828276"/>
              <a:gd name="connsiteX17" fmla="*/ 10425937 w 10715630"/>
              <a:gd name="connsiteY17" fmla="*/ 751561 h 3828276"/>
              <a:gd name="connsiteX18" fmla="*/ 10670195 w 10715630"/>
              <a:gd name="connsiteY18" fmla="*/ 1240076 h 3828276"/>
              <a:gd name="connsiteX19" fmla="*/ 10714036 w 10715630"/>
              <a:gd name="connsiteY19" fmla="*/ 1791222 h 3828276"/>
              <a:gd name="connsiteX20" fmla="*/ 10707773 w 10715630"/>
              <a:gd name="connsiteY20" fmla="*/ 2035479 h 3828276"/>
              <a:gd name="connsiteX21" fmla="*/ 10632617 w 10715630"/>
              <a:gd name="connsiteY21" fmla="*/ 2311052 h 3828276"/>
              <a:gd name="connsiteX22" fmla="*/ 10432200 w 10715630"/>
              <a:gd name="connsiteY22" fmla="*/ 2680570 h 3828276"/>
              <a:gd name="connsiteX23" fmla="*/ 10269362 w 10715630"/>
              <a:gd name="connsiteY23" fmla="*/ 2843408 h 3828276"/>
              <a:gd name="connsiteX24" fmla="*/ 10012578 w 10715630"/>
              <a:gd name="connsiteY24" fmla="*/ 2987457 h 3828276"/>
              <a:gd name="connsiteX25" fmla="*/ 9430118 w 10715630"/>
              <a:gd name="connsiteY25" fmla="*/ 3118981 h 3828276"/>
              <a:gd name="connsiteX26" fmla="*/ 8496929 w 10715630"/>
              <a:gd name="connsiteY26" fmla="*/ 3106455 h 3828276"/>
              <a:gd name="connsiteX27" fmla="*/ 7632633 w 10715630"/>
              <a:gd name="connsiteY27" fmla="*/ 3043824 h 3828276"/>
              <a:gd name="connsiteX28" fmla="*/ 7106540 w 10715630"/>
              <a:gd name="connsiteY28" fmla="*/ 2974931 h 3828276"/>
              <a:gd name="connsiteX29" fmla="*/ 5634732 w 10715630"/>
              <a:gd name="connsiteY29" fmla="*/ 2812093 h 3828276"/>
              <a:gd name="connsiteX30" fmla="*/ 5484420 w 10715630"/>
              <a:gd name="connsiteY30" fmla="*/ 2943616 h 3828276"/>
              <a:gd name="connsiteX31" fmla="*/ 5778781 w 10715630"/>
              <a:gd name="connsiteY31" fmla="*/ 2999983 h 3828276"/>
              <a:gd name="connsiteX32" fmla="*/ 5246425 w 10715630"/>
              <a:gd name="connsiteY32" fmla="*/ 2711885 h 3828276"/>
              <a:gd name="connsiteX0" fmla="*/ 0 w 10715630"/>
              <a:gd name="connsiteY0" fmla="*/ 3799348 h 3828276"/>
              <a:gd name="connsiteX1" fmla="*/ 3968770 w 10715630"/>
              <a:gd name="connsiteY1" fmla="*/ 3739019 h 3828276"/>
              <a:gd name="connsiteX2" fmla="*/ 5634732 w 10715630"/>
              <a:gd name="connsiteY2" fmla="*/ 2774515 h 3828276"/>
              <a:gd name="connsiteX3" fmla="*/ 5866463 w 10715630"/>
              <a:gd name="connsiteY3" fmla="*/ 2254685 h 3828276"/>
              <a:gd name="connsiteX4" fmla="*/ 5997987 w 10715630"/>
              <a:gd name="connsiteY4" fmla="*/ 1803748 h 3828276"/>
              <a:gd name="connsiteX5" fmla="*/ 6411346 w 10715630"/>
              <a:gd name="connsiteY5" fmla="*/ 1108553 h 3828276"/>
              <a:gd name="connsiteX6" fmla="*/ 6693181 w 10715630"/>
              <a:gd name="connsiteY6" fmla="*/ 770350 h 3828276"/>
              <a:gd name="connsiteX7" fmla="*/ 6843494 w 10715630"/>
              <a:gd name="connsiteY7" fmla="*/ 632564 h 3828276"/>
              <a:gd name="connsiteX8" fmla="*/ 7306957 w 10715630"/>
              <a:gd name="connsiteY8" fmla="*/ 319413 h 3828276"/>
              <a:gd name="connsiteX9" fmla="*/ 7826787 w 10715630"/>
              <a:gd name="connsiteY9" fmla="*/ 112734 h 3828276"/>
              <a:gd name="connsiteX10" fmla="*/ 8071044 w 10715630"/>
              <a:gd name="connsiteY10" fmla="*/ 43841 h 3828276"/>
              <a:gd name="connsiteX11" fmla="*/ 8534507 w 10715630"/>
              <a:gd name="connsiteY11" fmla="*/ 0 h 3828276"/>
              <a:gd name="connsiteX12" fmla="*/ 9142020 w 10715630"/>
              <a:gd name="connsiteY12" fmla="*/ 31315 h 3828276"/>
              <a:gd name="connsiteX13" fmla="*/ 9386277 w 10715630"/>
              <a:gd name="connsiteY13" fmla="*/ 93945 h 3828276"/>
              <a:gd name="connsiteX14" fmla="*/ 9592957 w 10715630"/>
              <a:gd name="connsiteY14" fmla="*/ 169101 h 3828276"/>
              <a:gd name="connsiteX15" fmla="*/ 9981263 w 10715630"/>
              <a:gd name="connsiteY15" fmla="*/ 375781 h 3828276"/>
              <a:gd name="connsiteX16" fmla="*/ 10425937 w 10715630"/>
              <a:gd name="connsiteY16" fmla="*/ 751561 h 3828276"/>
              <a:gd name="connsiteX17" fmla="*/ 10670195 w 10715630"/>
              <a:gd name="connsiteY17" fmla="*/ 1240076 h 3828276"/>
              <a:gd name="connsiteX18" fmla="*/ 10714036 w 10715630"/>
              <a:gd name="connsiteY18" fmla="*/ 1791222 h 3828276"/>
              <a:gd name="connsiteX19" fmla="*/ 10707773 w 10715630"/>
              <a:gd name="connsiteY19" fmla="*/ 2035479 h 3828276"/>
              <a:gd name="connsiteX20" fmla="*/ 10632617 w 10715630"/>
              <a:gd name="connsiteY20" fmla="*/ 2311052 h 3828276"/>
              <a:gd name="connsiteX21" fmla="*/ 10432200 w 10715630"/>
              <a:gd name="connsiteY21" fmla="*/ 2680570 h 3828276"/>
              <a:gd name="connsiteX22" fmla="*/ 10269362 w 10715630"/>
              <a:gd name="connsiteY22" fmla="*/ 2843408 h 3828276"/>
              <a:gd name="connsiteX23" fmla="*/ 10012578 w 10715630"/>
              <a:gd name="connsiteY23" fmla="*/ 2987457 h 3828276"/>
              <a:gd name="connsiteX24" fmla="*/ 9430118 w 10715630"/>
              <a:gd name="connsiteY24" fmla="*/ 3118981 h 3828276"/>
              <a:gd name="connsiteX25" fmla="*/ 8496929 w 10715630"/>
              <a:gd name="connsiteY25" fmla="*/ 3106455 h 3828276"/>
              <a:gd name="connsiteX26" fmla="*/ 7632633 w 10715630"/>
              <a:gd name="connsiteY26" fmla="*/ 3043824 h 3828276"/>
              <a:gd name="connsiteX27" fmla="*/ 7106540 w 10715630"/>
              <a:gd name="connsiteY27" fmla="*/ 2974931 h 3828276"/>
              <a:gd name="connsiteX28" fmla="*/ 5634732 w 10715630"/>
              <a:gd name="connsiteY28" fmla="*/ 2812093 h 3828276"/>
              <a:gd name="connsiteX29" fmla="*/ 5484420 w 10715630"/>
              <a:gd name="connsiteY29" fmla="*/ 2943616 h 3828276"/>
              <a:gd name="connsiteX30" fmla="*/ 5778781 w 10715630"/>
              <a:gd name="connsiteY30" fmla="*/ 2999983 h 3828276"/>
              <a:gd name="connsiteX31" fmla="*/ 5246425 w 10715630"/>
              <a:gd name="connsiteY31" fmla="*/ 2711885 h 3828276"/>
              <a:gd name="connsiteX0" fmla="*/ 0 w 10302990"/>
              <a:gd name="connsiteY0" fmla="*/ 3799348 h 3828276"/>
              <a:gd name="connsiteX1" fmla="*/ 3556130 w 10302990"/>
              <a:gd name="connsiteY1" fmla="*/ 3739019 h 3828276"/>
              <a:gd name="connsiteX2" fmla="*/ 5222092 w 10302990"/>
              <a:gd name="connsiteY2" fmla="*/ 2774515 h 3828276"/>
              <a:gd name="connsiteX3" fmla="*/ 5453823 w 10302990"/>
              <a:gd name="connsiteY3" fmla="*/ 2254685 h 3828276"/>
              <a:gd name="connsiteX4" fmla="*/ 5585347 w 10302990"/>
              <a:gd name="connsiteY4" fmla="*/ 1803748 h 3828276"/>
              <a:gd name="connsiteX5" fmla="*/ 5998706 w 10302990"/>
              <a:gd name="connsiteY5" fmla="*/ 1108553 h 3828276"/>
              <a:gd name="connsiteX6" fmla="*/ 6280541 w 10302990"/>
              <a:gd name="connsiteY6" fmla="*/ 770350 h 3828276"/>
              <a:gd name="connsiteX7" fmla="*/ 6430854 w 10302990"/>
              <a:gd name="connsiteY7" fmla="*/ 632564 h 3828276"/>
              <a:gd name="connsiteX8" fmla="*/ 6894317 w 10302990"/>
              <a:gd name="connsiteY8" fmla="*/ 319413 h 3828276"/>
              <a:gd name="connsiteX9" fmla="*/ 7414147 w 10302990"/>
              <a:gd name="connsiteY9" fmla="*/ 112734 h 3828276"/>
              <a:gd name="connsiteX10" fmla="*/ 7658404 w 10302990"/>
              <a:gd name="connsiteY10" fmla="*/ 43841 h 3828276"/>
              <a:gd name="connsiteX11" fmla="*/ 8121867 w 10302990"/>
              <a:gd name="connsiteY11" fmla="*/ 0 h 3828276"/>
              <a:gd name="connsiteX12" fmla="*/ 8729380 w 10302990"/>
              <a:gd name="connsiteY12" fmla="*/ 31315 h 3828276"/>
              <a:gd name="connsiteX13" fmla="*/ 8973637 w 10302990"/>
              <a:gd name="connsiteY13" fmla="*/ 93945 h 3828276"/>
              <a:gd name="connsiteX14" fmla="*/ 9180317 w 10302990"/>
              <a:gd name="connsiteY14" fmla="*/ 169101 h 3828276"/>
              <a:gd name="connsiteX15" fmla="*/ 9568623 w 10302990"/>
              <a:gd name="connsiteY15" fmla="*/ 375781 h 3828276"/>
              <a:gd name="connsiteX16" fmla="*/ 10013297 w 10302990"/>
              <a:gd name="connsiteY16" fmla="*/ 751561 h 3828276"/>
              <a:gd name="connsiteX17" fmla="*/ 10257555 w 10302990"/>
              <a:gd name="connsiteY17" fmla="*/ 1240076 h 3828276"/>
              <a:gd name="connsiteX18" fmla="*/ 10301396 w 10302990"/>
              <a:gd name="connsiteY18" fmla="*/ 1791222 h 3828276"/>
              <a:gd name="connsiteX19" fmla="*/ 10295133 w 10302990"/>
              <a:gd name="connsiteY19" fmla="*/ 2035479 h 3828276"/>
              <a:gd name="connsiteX20" fmla="*/ 10219977 w 10302990"/>
              <a:gd name="connsiteY20" fmla="*/ 2311052 h 3828276"/>
              <a:gd name="connsiteX21" fmla="*/ 10019560 w 10302990"/>
              <a:gd name="connsiteY21" fmla="*/ 2680570 h 3828276"/>
              <a:gd name="connsiteX22" fmla="*/ 9856722 w 10302990"/>
              <a:gd name="connsiteY22" fmla="*/ 2843408 h 3828276"/>
              <a:gd name="connsiteX23" fmla="*/ 9599938 w 10302990"/>
              <a:gd name="connsiteY23" fmla="*/ 2987457 h 3828276"/>
              <a:gd name="connsiteX24" fmla="*/ 9017478 w 10302990"/>
              <a:gd name="connsiteY24" fmla="*/ 3118981 h 3828276"/>
              <a:gd name="connsiteX25" fmla="*/ 8084289 w 10302990"/>
              <a:gd name="connsiteY25" fmla="*/ 3106455 h 3828276"/>
              <a:gd name="connsiteX26" fmla="*/ 7219993 w 10302990"/>
              <a:gd name="connsiteY26" fmla="*/ 3043824 h 3828276"/>
              <a:gd name="connsiteX27" fmla="*/ 6693900 w 10302990"/>
              <a:gd name="connsiteY27" fmla="*/ 2974931 h 3828276"/>
              <a:gd name="connsiteX28" fmla="*/ 5222092 w 10302990"/>
              <a:gd name="connsiteY28" fmla="*/ 2812093 h 3828276"/>
              <a:gd name="connsiteX29" fmla="*/ 5071780 w 10302990"/>
              <a:gd name="connsiteY29" fmla="*/ 2943616 h 3828276"/>
              <a:gd name="connsiteX30" fmla="*/ 5366141 w 10302990"/>
              <a:gd name="connsiteY30" fmla="*/ 2999983 h 3828276"/>
              <a:gd name="connsiteX31" fmla="*/ 4833785 w 10302990"/>
              <a:gd name="connsiteY31" fmla="*/ 2711885 h 3828276"/>
              <a:gd name="connsiteX0" fmla="*/ 0 w 9402684"/>
              <a:gd name="connsiteY0" fmla="*/ 4164902 h 4164902"/>
              <a:gd name="connsiteX1" fmla="*/ 2655824 w 9402684"/>
              <a:gd name="connsiteY1" fmla="*/ 3739019 h 4164902"/>
              <a:gd name="connsiteX2" fmla="*/ 4321786 w 9402684"/>
              <a:gd name="connsiteY2" fmla="*/ 2774515 h 4164902"/>
              <a:gd name="connsiteX3" fmla="*/ 4553517 w 9402684"/>
              <a:gd name="connsiteY3" fmla="*/ 2254685 h 4164902"/>
              <a:gd name="connsiteX4" fmla="*/ 4685041 w 9402684"/>
              <a:gd name="connsiteY4" fmla="*/ 1803748 h 4164902"/>
              <a:gd name="connsiteX5" fmla="*/ 5098400 w 9402684"/>
              <a:gd name="connsiteY5" fmla="*/ 1108553 h 4164902"/>
              <a:gd name="connsiteX6" fmla="*/ 5380235 w 9402684"/>
              <a:gd name="connsiteY6" fmla="*/ 770350 h 4164902"/>
              <a:gd name="connsiteX7" fmla="*/ 5530548 w 9402684"/>
              <a:gd name="connsiteY7" fmla="*/ 632564 h 4164902"/>
              <a:gd name="connsiteX8" fmla="*/ 5994011 w 9402684"/>
              <a:gd name="connsiteY8" fmla="*/ 319413 h 4164902"/>
              <a:gd name="connsiteX9" fmla="*/ 6513841 w 9402684"/>
              <a:gd name="connsiteY9" fmla="*/ 112734 h 4164902"/>
              <a:gd name="connsiteX10" fmla="*/ 6758098 w 9402684"/>
              <a:gd name="connsiteY10" fmla="*/ 43841 h 4164902"/>
              <a:gd name="connsiteX11" fmla="*/ 7221561 w 9402684"/>
              <a:gd name="connsiteY11" fmla="*/ 0 h 4164902"/>
              <a:gd name="connsiteX12" fmla="*/ 7829074 w 9402684"/>
              <a:gd name="connsiteY12" fmla="*/ 31315 h 4164902"/>
              <a:gd name="connsiteX13" fmla="*/ 8073331 w 9402684"/>
              <a:gd name="connsiteY13" fmla="*/ 93945 h 4164902"/>
              <a:gd name="connsiteX14" fmla="*/ 8280011 w 9402684"/>
              <a:gd name="connsiteY14" fmla="*/ 169101 h 4164902"/>
              <a:gd name="connsiteX15" fmla="*/ 8668317 w 9402684"/>
              <a:gd name="connsiteY15" fmla="*/ 375781 h 4164902"/>
              <a:gd name="connsiteX16" fmla="*/ 9112991 w 9402684"/>
              <a:gd name="connsiteY16" fmla="*/ 751561 h 4164902"/>
              <a:gd name="connsiteX17" fmla="*/ 9357249 w 9402684"/>
              <a:gd name="connsiteY17" fmla="*/ 1240076 h 4164902"/>
              <a:gd name="connsiteX18" fmla="*/ 9401090 w 9402684"/>
              <a:gd name="connsiteY18" fmla="*/ 1791222 h 4164902"/>
              <a:gd name="connsiteX19" fmla="*/ 9394827 w 9402684"/>
              <a:gd name="connsiteY19" fmla="*/ 2035479 h 4164902"/>
              <a:gd name="connsiteX20" fmla="*/ 9319671 w 9402684"/>
              <a:gd name="connsiteY20" fmla="*/ 2311052 h 4164902"/>
              <a:gd name="connsiteX21" fmla="*/ 9119254 w 9402684"/>
              <a:gd name="connsiteY21" fmla="*/ 2680570 h 4164902"/>
              <a:gd name="connsiteX22" fmla="*/ 8956416 w 9402684"/>
              <a:gd name="connsiteY22" fmla="*/ 2843408 h 4164902"/>
              <a:gd name="connsiteX23" fmla="*/ 8699632 w 9402684"/>
              <a:gd name="connsiteY23" fmla="*/ 2987457 h 4164902"/>
              <a:gd name="connsiteX24" fmla="*/ 8117172 w 9402684"/>
              <a:gd name="connsiteY24" fmla="*/ 3118981 h 4164902"/>
              <a:gd name="connsiteX25" fmla="*/ 7183983 w 9402684"/>
              <a:gd name="connsiteY25" fmla="*/ 3106455 h 4164902"/>
              <a:gd name="connsiteX26" fmla="*/ 6319687 w 9402684"/>
              <a:gd name="connsiteY26" fmla="*/ 3043824 h 4164902"/>
              <a:gd name="connsiteX27" fmla="*/ 5793594 w 9402684"/>
              <a:gd name="connsiteY27" fmla="*/ 2974931 h 4164902"/>
              <a:gd name="connsiteX28" fmla="*/ 4321786 w 9402684"/>
              <a:gd name="connsiteY28" fmla="*/ 2812093 h 4164902"/>
              <a:gd name="connsiteX29" fmla="*/ 4171474 w 9402684"/>
              <a:gd name="connsiteY29" fmla="*/ 2943616 h 4164902"/>
              <a:gd name="connsiteX30" fmla="*/ 4465835 w 9402684"/>
              <a:gd name="connsiteY30" fmla="*/ 2999983 h 4164902"/>
              <a:gd name="connsiteX31" fmla="*/ 3933479 w 9402684"/>
              <a:gd name="connsiteY31" fmla="*/ 2711885 h 4164902"/>
              <a:gd name="connsiteX0" fmla="*/ 0 w 9402684"/>
              <a:gd name="connsiteY0" fmla="*/ 4164902 h 4164902"/>
              <a:gd name="connsiteX1" fmla="*/ 2655824 w 9402684"/>
              <a:gd name="connsiteY1" fmla="*/ 3739019 h 4164902"/>
              <a:gd name="connsiteX2" fmla="*/ 4321786 w 9402684"/>
              <a:gd name="connsiteY2" fmla="*/ 2774515 h 4164902"/>
              <a:gd name="connsiteX3" fmla="*/ 4553517 w 9402684"/>
              <a:gd name="connsiteY3" fmla="*/ 2254685 h 4164902"/>
              <a:gd name="connsiteX4" fmla="*/ 4685041 w 9402684"/>
              <a:gd name="connsiteY4" fmla="*/ 1803748 h 4164902"/>
              <a:gd name="connsiteX5" fmla="*/ 5098400 w 9402684"/>
              <a:gd name="connsiteY5" fmla="*/ 1108553 h 4164902"/>
              <a:gd name="connsiteX6" fmla="*/ 5380235 w 9402684"/>
              <a:gd name="connsiteY6" fmla="*/ 770350 h 4164902"/>
              <a:gd name="connsiteX7" fmla="*/ 5530548 w 9402684"/>
              <a:gd name="connsiteY7" fmla="*/ 632564 h 4164902"/>
              <a:gd name="connsiteX8" fmla="*/ 5994011 w 9402684"/>
              <a:gd name="connsiteY8" fmla="*/ 319413 h 4164902"/>
              <a:gd name="connsiteX9" fmla="*/ 6513841 w 9402684"/>
              <a:gd name="connsiteY9" fmla="*/ 112734 h 4164902"/>
              <a:gd name="connsiteX10" fmla="*/ 6758098 w 9402684"/>
              <a:gd name="connsiteY10" fmla="*/ 43841 h 4164902"/>
              <a:gd name="connsiteX11" fmla="*/ 7221561 w 9402684"/>
              <a:gd name="connsiteY11" fmla="*/ 0 h 4164902"/>
              <a:gd name="connsiteX12" fmla="*/ 7829074 w 9402684"/>
              <a:gd name="connsiteY12" fmla="*/ 31315 h 4164902"/>
              <a:gd name="connsiteX13" fmla="*/ 8073331 w 9402684"/>
              <a:gd name="connsiteY13" fmla="*/ 93945 h 4164902"/>
              <a:gd name="connsiteX14" fmla="*/ 8280011 w 9402684"/>
              <a:gd name="connsiteY14" fmla="*/ 169101 h 4164902"/>
              <a:gd name="connsiteX15" fmla="*/ 8668317 w 9402684"/>
              <a:gd name="connsiteY15" fmla="*/ 375781 h 4164902"/>
              <a:gd name="connsiteX16" fmla="*/ 9112991 w 9402684"/>
              <a:gd name="connsiteY16" fmla="*/ 751561 h 4164902"/>
              <a:gd name="connsiteX17" fmla="*/ 9357249 w 9402684"/>
              <a:gd name="connsiteY17" fmla="*/ 1240076 h 4164902"/>
              <a:gd name="connsiteX18" fmla="*/ 9401090 w 9402684"/>
              <a:gd name="connsiteY18" fmla="*/ 1791222 h 4164902"/>
              <a:gd name="connsiteX19" fmla="*/ 9394827 w 9402684"/>
              <a:gd name="connsiteY19" fmla="*/ 2035479 h 4164902"/>
              <a:gd name="connsiteX20" fmla="*/ 9319671 w 9402684"/>
              <a:gd name="connsiteY20" fmla="*/ 2311052 h 4164902"/>
              <a:gd name="connsiteX21" fmla="*/ 9119254 w 9402684"/>
              <a:gd name="connsiteY21" fmla="*/ 2680570 h 4164902"/>
              <a:gd name="connsiteX22" fmla="*/ 8956416 w 9402684"/>
              <a:gd name="connsiteY22" fmla="*/ 2843408 h 4164902"/>
              <a:gd name="connsiteX23" fmla="*/ 8731095 w 9402684"/>
              <a:gd name="connsiteY23" fmla="*/ 2974295 h 4164902"/>
              <a:gd name="connsiteX24" fmla="*/ 8699632 w 9402684"/>
              <a:gd name="connsiteY24" fmla="*/ 2987457 h 4164902"/>
              <a:gd name="connsiteX25" fmla="*/ 8117172 w 9402684"/>
              <a:gd name="connsiteY25" fmla="*/ 3118981 h 4164902"/>
              <a:gd name="connsiteX26" fmla="*/ 7183983 w 9402684"/>
              <a:gd name="connsiteY26" fmla="*/ 3106455 h 4164902"/>
              <a:gd name="connsiteX27" fmla="*/ 6319687 w 9402684"/>
              <a:gd name="connsiteY27" fmla="*/ 3043824 h 4164902"/>
              <a:gd name="connsiteX28" fmla="*/ 5793594 w 9402684"/>
              <a:gd name="connsiteY28" fmla="*/ 2974931 h 4164902"/>
              <a:gd name="connsiteX29" fmla="*/ 4321786 w 9402684"/>
              <a:gd name="connsiteY29" fmla="*/ 2812093 h 4164902"/>
              <a:gd name="connsiteX30" fmla="*/ 4171474 w 9402684"/>
              <a:gd name="connsiteY30" fmla="*/ 2943616 h 4164902"/>
              <a:gd name="connsiteX31" fmla="*/ 4465835 w 9402684"/>
              <a:gd name="connsiteY31" fmla="*/ 2999983 h 4164902"/>
              <a:gd name="connsiteX32" fmla="*/ 3933479 w 9402684"/>
              <a:gd name="connsiteY32" fmla="*/ 2711885 h 4164902"/>
              <a:gd name="connsiteX0" fmla="*/ 0 w 9402684"/>
              <a:gd name="connsiteY0" fmla="*/ 4164902 h 4164902"/>
              <a:gd name="connsiteX1" fmla="*/ 2655824 w 9402684"/>
              <a:gd name="connsiteY1" fmla="*/ 3739019 h 4164902"/>
              <a:gd name="connsiteX2" fmla="*/ 4321786 w 9402684"/>
              <a:gd name="connsiteY2" fmla="*/ 2774515 h 4164902"/>
              <a:gd name="connsiteX3" fmla="*/ 4553517 w 9402684"/>
              <a:gd name="connsiteY3" fmla="*/ 2254685 h 4164902"/>
              <a:gd name="connsiteX4" fmla="*/ 4685041 w 9402684"/>
              <a:gd name="connsiteY4" fmla="*/ 1803748 h 4164902"/>
              <a:gd name="connsiteX5" fmla="*/ 5098400 w 9402684"/>
              <a:gd name="connsiteY5" fmla="*/ 1108553 h 4164902"/>
              <a:gd name="connsiteX6" fmla="*/ 5380235 w 9402684"/>
              <a:gd name="connsiteY6" fmla="*/ 770350 h 4164902"/>
              <a:gd name="connsiteX7" fmla="*/ 5530548 w 9402684"/>
              <a:gd name="connsiteY7" fmla="*/ 632564 h 4164902"/>
              <a:gd name="connsiteX8" fmla="*/ 5994011 w 9402684"/>
              <a:gd name="connsiteY8" fmla="*/ 319413 h 4164902"/>
              <a:gd name="connsiteX9" fmla="*/ 6513841 w 9402684"/>
              <a:gd name="connsiteY9" fmla="*/ 112734 h 4164902"/>
              <a:gd name="connsiteX10" fmla="*/ 6758098 w 9402684"/>
              <a:gd name="connsiteY10" fmla="*/ 43841 h 4164902"/>
              <a:gd name="connsiteX11" fmla="*/ 7221561 w 9402684"/>
              <a:gd name="connsiteY11" fmla="*/ 0 h 4164902"/>
              <a:gd name="connsiteX12" fmla="*/ 7829074 w 9402684"/>
              <a:gd name="connsiteY12" fmla="*/ 31315 h 4164902"/>
              <a:gd name="connsiteX13" fmla="*/ 8073331 w 9402684"/>
              <a:gd name="connsiteY13" fmla="*/ 93945 h 4164902"/>
              <a:gd name="connsiteX14" fmla="*/ 8280011 w 9402684"/>
              <a:gd name="connsiteY14" fmla="*/ 169101 h 4164902"/>
              <a:gd name="connsiteX15" fmla="*/ 8668317 w 9402684"/>
              <a:gd name="connsiteY15" fmla="*/ 375781 h 4164902"/>
              <a:gd name="connsiteX16" fmla="*/ 9112991 w 9402684"/>
              <a:gd name="connsiteY16" fmla="*/ 751561 h 4164902"/>
              <a:gd name="connsiteX17" fmla="*/ 9357249 w 9402684"/>
              <a:gd name="connsiteY17" fmla="*/ 1240076 h 4164902"/>
              <a:gd name="connsiteX18" fmla="*/ 9401090 w 9402684"/>
              <a:gd name="connsiteY18" fmla="*/ 1791222 h 4164902"/>
              <a:gd name="connsiteX19" fmla="*/ 9394827 w 9402684"/>
              <a:gd name="connsiteY19" fmla="*/ 2035479 h 4164902"/>
              <a:gd name="connsiteX20" fmla="*/ 9319671 w 9402684"/>
              <a:gd name="connsiteY20" fmla="*/ 2311052 h 4164902"/>
              <a:gd name="connsiteX21" fmla="*/ 9119254 w 9402684"/>
              <a:gd name="connsiteY21" fmla="*/ 2680570 h 4164902"/>
              <a:gd name="connsiteX22" fmla="*/ 8731095 w 9402684"/>
              <a:gd name="connsiteY22" fmla="*/ 2974295 h 4164902"/>
              <a:gd name="connsiteX23" fmla="*/ 8699632 w 9402684"/>
              <a:gd name="connsiteY23" fmla="*/ 2987457 h 4164902"/>
              <a:gd name="connsiteX24" fmla="*/ 8117172 w 9402684"/>
              <a:gd name="connsiteY24" fmla="*/ 3118981 h 4164902"/>
              <a:gd name="connsiteX25" fmla="*/ 7183983 w 9402684"/>
              <a:gd name="connsiteY25" fmla="*/ 3106455 h 4164902"/>
              <a:gd name="connsiteX26" fmla="*/ 6319687 w 9402684"/>
              <a:gd name="connsiteY26" fmla="*/ 3043824 h 4164902"/>
              <a:gd name="connsiteX27" fmla="*/ 5793594 w 9402684"/>
              <a:gd name="connsiteY27" fmla="*/ 2974931 h 4164902"/>
              <a:gd name="connsiteX28" fmla="*/ 4321786 w 9402684"/>
              <a:gd name="connsiteY28" fmla="*/ 2812093 h 4164902"/>
              <a:gd name="connsiteX29" fmla="*/ 4171474 w 9402684"/>
              <a:gd name="connsiteY29" fmla="*/ 2943616 h 4164902"/>
              <a:gd name="connsiteX30" fmla="*/ 4465835 w 9402684"/>
              <a:gd name="connsiteY30" fmla="*/ 2999983 h 4164902"/>
              <a:gd name="connsiteX31" fmla="*/ 3933479 w 9402684"/>
              <a:gd name="connsiteY31" fmla="*/ 2711885 h 4164902"/>
              <a:gd name="connsiteX0" fmla="*/ 0 w 9402684"/>
              <a:gd name="connsiteY0" fmla="*/ 4164902 h 4164902"/>
              <a:gd name="connsiteX1" fmla="*/ 2655824 w 9402684"/>
              <a:gd name="connsiteY1" fmla="*/ 3739019 h 4164902"/>
              <a:gd name="connsiteX2" fmla="*/ 4321786 w 9402684"/>
              <a:gd name="connsiteY2" fmla="*/ 2774515 h 4164902"/>
              <a:gd name="connsiteX3" fmla="*/ 4553517 w 9402684"/>
              <a:gd name="connsiteY3" fmla="*/ 2254685 h 4164902"/>
              <a:gd name="connsiteX4" fmla="*/ 4685041 w 9402684"/>
              <a:gd name="connsiteY4" fmla="*/ 1803748 h 4164902"/>
              <a:gd name="connsiteX5" fmla="*/ 5098400 w 9402684"/>
              <a:gd name="connsiteY5" fmla="*/ 1108553 h 4164902"/>
              <a:gd name="connsiteX6" fmla="*/ 5380235 w 9402684"/>
              <a:gd name="connsiteY6" fmla="*/ 770350 h 4164902"/>
              <a:gd name="connsiteX7" fmla="*/ 5530548 w 9402684"/>
              <a:gd name="connsiteY7" fmla="*/ 632564 h 4164902"/>
              <a:gd name="connsiteX8" fmla="*/ 5994011 w 9402684"/>
              <a:gd name="connsiteY8" fmla="*/ 319413 h 4164902"/>
              <a:gd name="connsiteX9" fmla="*/ 6513841 w 9402684"/>
              <a:gd name="connsiteY9" fmla="*/ 112734 h 4164902"/>
              <a:gd name="connsiteX10" fmla="*/ 6758098 w 9402684"/>
              <a:gd name="connsiteY10" fmla="*/ 43841 h 4164902"/>
              <a:gd name="connsiteX11" fmla="*/ 7221561 w 9402684"/>
              <a:gd name="connsiteY11" fmla="*/ 0 h 4164902"/>
              <a:gd name="connsiteX12" fmla="*/ 7829074 w 9402684"/>
              <a:gd name="connsiteY12" fmla="*/ 31315 h 4164902"/>
              <a:gd name="connsiteX13" fmla="*/ 8073331 w 9402684"/>
              <a:gd name="connsiteY13" fmla="*/ 93945 h 4164902"/>
              <a:gd name="connsiteX14" fmla="*/ 8280011 w 9402684"/>
              <a:gd name="connsiteY14" fmla="*/ 169101 h 4164902"/>
              <a:gd name="connsiteX15" fmla="*/ 8668317 w 9402684"/>
              <a:gd name="connsiteY15" fmla="*/ 375781 h 4164902"/>
              <a:gd name="connsiteX16" fmla="*/ 9112991 w 9402684"/>
              <a:gd name="connsiteY16" fmla="*/ 751561 h 4164902"/>
              <a:gd name="connsiteX17" fmla="*/ 9357249 w 9402684"/>
              <a:gd name="connsiteY17" fmla="*/ 1240076 h 4164902"/>
              <a:gd name="connsiteX18" fmla="*/ 9401090 w 9402684"/>
              <a:gd name="connsiteY18" fmla="*/ 1791222 h 4164902"/>
              <a:gd name="connsiteX19" fmla="*/ 9394827 w 9402684"/>
              <a:gd name="connsiteY19" fmla="*/ 2035479 h 4164902"/>
              <a:gd name="connsiteX20" fmla="*/ 9319671 w 9402684"/>
              <a:gd name="connsiteY20" fmla="*/ 2311052 h 4164902"/>
              <a:gd name="connsiteX21" fmla="*/ 9119254 w 9402684"/>
              <a:gd name="connsiteY21" fmla="*/ 2680570 h 4164902"/>
              <a:gd name="connsiteX22" fmla="*/ 8731095 w 9402684"/>
              <a:gd name="connsiteY22" fmla="*/ 2974295 h 4164902"/>
              <a:gd name="connsiteX23" fmla="*/ 8117172 w 9402684"/>
              <a:gd name="connsiteY23" fmla="*/ 3118981 h 4164902"/>
              <a:gd name="connsiteX24" fmla="*/ 7183983 w 9402684"/>
              <a:gd name="connsiteY24" fmla="*/ 3106455 h 4164902"/>
              <a:gd name="connsiteX25" fmla="*/ 6319687 w 9402684"/>
              <a:gd name="connsiteY25" fmla="*/ 3043824 h 4164902"/>
              <a:gd name="connsiteX26" fmla="*/ 5793594 w 9402684"/>
              <a:gd name="connsiteY26" fmla="*/ 2974931 h 4164902"/>
              <a:gd name="connsiteX27" fmla="*/ 4321786 w 9402684"/>
              <a:gd name="connsiteY27" fmla="*/ 2812093 h 4164902"/>
              <a:gd name="connsiteX28" fmla="*/ 4171474 w 9402684"/>
              <a:gd name="connsiteY28" fmla="*/ 2943616 h 4164902"/>
              <a:gd name="connsiteX29" fmla="*/ 4465835 w 9402684"/>
              <a:gd name="connsiteY29" fmla="*/ 2999983 h 4164902"/>
              <a:gd name="connsiteX30" fmla="*/ 3933479 w 9402684"/>
              <a:gd name="connsiteY30" fmla="*/ 2711885 h 4164902"/>
              <a:gd name="connsiteX0" fmla="*/ 0 w 9402684"/>
              <a:gd name="connsiteY0" fmla="*/ 4164902 h 4164902"/>
              <a:gd name="connsiteX1" fmla="*/ 2655824 w 9402684"/>
              <a:gd name="connsiteY1" fmla="*/ 3739019 h 4164902"/>
              <a:gd name="connsiteX2" fmla="*/ 4321786 w 9402684"/>
              <a:gd name="connsiteY2" fmla="*/ 2774515 h 4164902"/>
              <a:gd name="connsiteX3" fmla="*/ 4553517 w 9402684"/>
              <a:gd name="connsiteY3" fmla="*/ 2254685 h 4164902"/>
              <a:gd name="connsiteX4" fmla="*/ 4685041 w 9402684"/>
              <a:gd name="connsiteY4" fmla="*/ 1803748 h 4164902"/>
              <a:gd name="connsiteX5" fmla="*/ 5098400 w 9402684"/>
              <a:gd name="connsiteY5" fmla="*/ 1108553 h 4164902"/>
              <a:gd name="connsiteX6" fmla="*/ 5380235 w 9402684"/>
              <a:gd name="connsiteY6" fmla="*/ 770350 h 4164902"/>
              <a:gd name="connsiteX7" fmla="*/ 5530548 w 9402684"/>
              <a:gd name="connsiteY7" fmla="*/ 632564 h 4164902"/>
              <a:gd name="connsiteX8" fmla="*/ 5994011 w 9402684"/>
              <a:gd name="connsiteY8" fmla="*/ 319413 h 4164902"/>
              <a:gd name="connsiteX9" fmla="*/ 6513841 w 9402684"/>
              <a:gd name="connsiteY9" fmla="*/ 112734 h 4164902"/>
              <a:gd name="connsiteX10" fmla="*/ 6758098 w 9402684"/>
              <a:gd name="connsiteY10" fmla="*/ 43841 h 4164902"/>
              <a:gd name="connsiteX11" fmla="*/ 7221561 w 9402684"/>
              <a:gd name="connsiteY11" fmla="*/ 0 h 4164902"/>
              <a:gd name="connsiteX12" fmla="*/ 7829074 w 9402684"/>
              <a:gd name="connsiteY12" fmla="*/ 31315 h 4164902"/>
              <a:gd name="connsiteX13" fmla="*/ 8073331 w 9402684"/>
              <a:gd name="connsiteY13" fmla="*/ 93945 h 4164902"/>
              <a:gd name="connsiteX14" fmla="*/ 8280011 w 9402684"/>
              <a:gd name="connsiteY14" fmla="*/ 169101 h 4164902"/>
              <a:gd name="connsiteX15" fmla="*/ 8668317 w 9402684"/>
              <a:gd name="connsiteY15" fmla="*/ 375781 h 4164902"/>
              <a:gd name="connsiteX16" fmla="*/ 9112991 w 9402684"/>
              <a:gd name="connsiteY16" fmla="*/ 751561 h 4164902"/>
              <a:gd name="connsiteX17" fmla="*/ 9357249 w 9402684"/>
              <a:gd name="connsiteY17" fmla="*/ 1240076 h 4164902"/>
              <a:gd name="connsiteX18" fmla="*/ 9401090 w 9402684"/>
              <a:gd name="connsiteY18" fmla="*/ 1791222 h 4164902"/>
              <a:gd name="connsiteX19" fmla="*/ 9394827 w 9402684"/>
              <a:gd name="connsiteY19" fmla="*/ 2035479 h 4164902"/>
              <a:gd name="connsiteX20" fmla="*/ 9319671 w 9402684"/>
              <a:gd name="connsiteY20" fmla="*/ 2311052 h 4164902"/>
              <a:gd name="connsiteX21" fmla="*/ 9119254 w 9402684"/>
              <a:gd name="connsiteY21" fmla="*/ 2680570 h 4164902"/>
              <a:gd name="connsiteX22" fmla="*/ 8117172 w 9402684"/>
              <a:gd name="connsiteY22" fmla="*/ 3118981 h 4164902"/>
              <a:gd name="connsiteX23" fmla="*/ 7183983 w 9402684"/>
              <a:gd name="connsiteY23" fmla="*/ 3106455 h 4164902"/>
              <a:gd name="connsiteX24" fmla="*/ 6319687 w 9402684"/>
              <a:gd name="connsiteY24" fmla="*/ 3043824 h 4164902"/>
              <a:gd name="connsiteX25" fmla="*/ 5793594 w 9402684"/>
              <a:gd name="connsiteY25" fmla="*/ 2974931 h 4164902"/>
              <a:gd name="connsiteX26" fmla="*/ 4321786 w 9402684"/>
              <a:gd name="connsiteY26" fmla="*/ 2812093 h 4164902"/>
              <a:gd name="connsiteX27" fmla="*/ 4171474 w 9402684"/>
              <a:gd name="connsiteY27" fmla="*/ 2943616 h 4164902"/>
              <a:gd name="connsiteX28" fmla="*/ 4465835 w 9402684"/>
              <a:gd name="connsiteY28" fmla="*/ 2999983 h 4164902"/>
              <a:gd name="connsiteX29" fmla="*/ 3933479 w 9402684"/>
              <a:gd name="connsiteY29" fmla="*/ 2711885 h 4164902"/>
              <a:gd name="connsiteX0" fmla="*/ 0 w 9402684"/>
              <a:gd name="connsiteY0" fmla="*/ 4164902 h 4164902"/>
              <a:gd name="connsiteX1" fmla="*/ 2655824 w 9402684"/>
              <a:gd name="connsiteY1" fmla="*/ 3739019 h 4164902"/>
              <a:gd name="connsiteX2" fmla="*/ 4321786 w 9402684"/>
              <a:gd name="connsiteY2" fmla="*/ 2774515 h 4164902"/>
              <a:gd name="connsiteX3" fmla="*/ 4553517 w 9402684"/>
              <a:gd name="connsiteY3" fmla="*/ 2254685 h 4164902"/>
              <a:gd name="connsiteX4" fmla="*/ 4685041 w 9402684"/>
              <a:gd name="connsiteY4" fmla="*/ 1803748 h 4164902"/>
              <a:gd name="connsiteX5" fmla="*/ 5098400 w 9402684"/>
              <a:gd name="connsiteY5" fmla="*/ 1108553 h 4164902"/>
              <a:gd name="connsiteX6" fmla="*/ 5380235 w 9402684"/>
              <a:gd name="connsiteY6" fmla="*/ 770350 h 4164902"/>
              <a:gd name="connsiteX7" fmla="*/ 5530548 w 9402684"/>
              <a:gd name="connsiteY7" fmla="*/ 632564 h 4164902"/>
              <a:gd name="connsiteX8" fmla="*/ 5994011 w 9402684"/>
              <a:gd name="connsiteY8" fmla="*/ 319413 h 4164902"/>
              <a:gd name="connsiteX9" fmla="*/ 6513841 w 9402684"/>
              <a:gd name="connsiteY9" fmla="*/ 112734 h 4164902"/>
              <a:gd name="connsiteX10" fmla="*/ 6758098 w 9402684"/>
              <a:gd name="connsiteY10" fmla="*/ 43841 h 4164902"/>
              <a:gd name="connsiteX11" fmla="*/ 7221561 w 9402684"/>
              <a:gd name="connsiteY11" fmla="*/ 0 h 4164902"/>
              <a:gd name="connsiteX12" fmla="*/ 7829074 w 9402684"/>
              <a:gd name="connsiteY12" fmla="*/ 31315 h 4164902"/>
              <a:gd name="connsiteX13" fmla="*/ 8073331 w 9402684"/>
              <a:gd name="connsiteY13" fmla="*/ 93945 h 4164902"/>
              <a:gd name="connsiteX14" fmla="*/ 8280011 w 9402684"/>
              <a:gd name="connsiteY14" fmla="*/ 169101 h 4164902"/>
              <a:gd name="connsiteX15" fmla="*/ 8668317 w 9402684"/>
              <a:gd name="connsiteY15" fmla="*/ 375781 h 4164902"/>
              <a:gd name="connsiteX16" fmla="*/ 9112991 w 9402684"/>
              <a:gd name="connsiteY16" fmla="*/ 751561 h 4164902"/>
              <a:gd name="connsiteX17" fmla="*/ 9357249 w 9402684"/>
              <a:gd name="connsiteY17" fmla="*/ 1240076 h 4164902"/>
              <a:gd name="connsiteX18" fmla="*/ 9401090 w 9402684"/>
              <a:gd name="connsiteY18" fmla="*/ 1791222 h 4164902"/>
              <a:gd name="connsiteX19" fmla="*/ 9394827 w 9402684"/>
              <a:gd name="connsiteY19" fmla="*/ 2035479 h 4164902"/>
              <a:gd name="connsiteX20" fmla="*/ 9319671 w 9402684"/>
              <a:gd name="connsiteY20" fmla="*/ 2311052 h 4164902"/>
              <a:gd name="connsiteX21" fmla="*/ 9119254 w 9402684"/>
              <a:gd name="connsiteY21" fmla="*/ 2680570 h 4164902"/>
              <a:gd name="connsiteX22" fmla="*/ 7183983 w 9402684"/>
              <a:gd name="connsiteY22" fmla="*/ 3106455 h 4164902"/>
              <a:gd name="connsiteX23" fmla="*/ 6319687 w 9402684"/>
              <a:gd name="connsiteY23" fmla="*/ 3043824 h 4164902"/>
              <a:gd name="connsiteX24" fmla="*/ 5793594 w 9402684"/>
              <a:gd name="connsiteY24" fmla="*/ 2974931 h 4164902"/>
              <a:gd name="connsiteX25" fmla="*/ 4321786 w 9402684"/>
              <a:gd name="connsiteY25" fmla="*/ 2812093 h 4164902"/>
              <a:gd name="connsiteX26" fmla="*/ 4171474 w 9402684"/>
              <a:gd name="connsiteY26" fmla="*/ 2943616 h 4164902"/>
              <a:gd name="connsiteX27" fmla="*/ 4465835 w 9402684"/>
              <a:gd name="connsiteY27" fmla="*/ 2999983 h 4164902"/>
              <a:gd name="connsiteX28" fmla="*/ 3933479 w 9402684"/>
              <a:gd name="connsiteY28" fmla="*/ 2711885 h 4164902"/>
              <a:gd name="connsiteX0" fmla="*/ 0 w 9501499"/>
              <a:gd name="connsiteY0" fmla="*/ 4164902 h 4164902"/>
              <a:gd name="connsiteX1" fmla="*/ 2655824 w 9501499"/>
              <a:gd name="connsiteY1" fmla="*/ 3739019 h 4164902"/>
              <a:gd name="connsiteX2" fmla="*/ 4321786 w 9501499"/>
              <a:gd name="connsiteY2" fmla="*/ 2774515 h 4164902"/>
              <a:gd name="connsiteX3" fmla="*/ 4553517 w 9501499"/>
              <a:gd name="connsiteY3" fmla="*/ 2254685 h 4164902"/>
              <a:gd name="connsiteX4" fmla="*/ 4685041 w 9501499"/>
              <a:gd name="connsiteY4" fmla="*/ 1803748 h 4164902"/>
              <a:gd name="connsiteX5" fmla="*/ 5098400 w 9501499"/>
              <a:gd name="connsiteY5" fmla="*/ 1108553 h 4164902"/>
              <a:gd name="connsiteX6" fmla="*/ 5380235 w 9501499"/>
              <a:gd name="connsiteY6" fmla="*/ 770350 h 4164902"/>
              <a:gd name="connsiteX7" fmla="*/ 5530548 w 9501499"/>
              <a:gd name="connsiteY7" fmla="*/ 632564 h 4164902"/>
              <a:gd name="connsiteX8" fmla="*/ 5994011 w 9501499"/>
              <a:gd name="connsiteY8" fmla="*/ 319413 h 4164902"/>
              <a:gd name="connsiteX9" fmla="*/ 6513841 w 9501499"/>
              <a:gd name="connsiteY9" fmla="*/ 112734 h 4164902"/>
              <a:gd name="connsiteX10" fmla="*/ 6758098 w 9501499"/>
              <a:gd name="connsiteY10" fmla="*/ 43841 h 4164902"/>
              <a:gd name="connsiteX11" fmla="*/ 7221561 w 9501499"/>
              <a:gd name="connsiteY11" fmla="*/ 0 h 4164902"/>
              <a:gd name="connsiteX12" fmla="*/ 7829074 w 9501499"/>
              <a:gd name="connsiteY12" fmla="*/ 31315 h 4164902"/>
              <a:gd name="connsiteX13" fmla="*/ 8073331 w 9501499"/>
              <a:gd name="connsiteY13" fmla="*/ 93945 h 4164902"/>
              <a:gd name="connsiteX14" fmla="*/ 8280011 w 9501499"/>
              <a:gd name="connsiteY14" fmla="*/ 169101 h 4164902"/>
              <a:gd name="connsiteX15" fmla="*/ 8668317 w 9501499"/>
              <a:gd name="connsiteY15" fmla="*/ 375781 h 4164902"/>
              <a:gd name="connsiteX16" fmla="*/ 9112991 w 9501499"/>
              <a:gd name="connsiteY16" fmla="*/ 751561 h 4164902"/>
              <a:gd name="connsiteX17" fmla="*/ 9357249 w 9501499"/>
              <a:gd name="connsiteY17" fmla="*/ 1240076 h 4164902"/>
              <a:gd name="connsiteX18" fmla="*/ 9401090 w 9501499"/>
              <a:gd name="connsiteY18" fmla="*/ 1791222 h 4164902"/>
              <a:gd name="connsiteX19" fmla="*/ 9394827 w 9501499"/>
              <a:gd name="connsiteY19" fmla="*/ 2035479 h 4164902"/>
              <a:gd name="connsiteX20" fmla="*/ 9319671 w 9501499"/>
              <a:gd name="connsiteY20" fmla="*/ 2311052 h 4164902"/>
              <a:gd name="connsiteX21" fmla="*/ 7183983 w 9501499"/>
              <a:gd name="connsiteY21" fmla="*/ 3106455 h 4164902"/>
              <a:gd name="connsiteX22" fmla="*/ 6319687 w 9501499"/>
              <a:gd name="connsiteY22" fmla="*/ 3043824 h 4164902"/>
              <a:gd name="connsiteX23" fmla="*/ 5793594 w 9501499"/>
              <a:gd name="connsiteY23" fmla="*/ 2974931 h 4164902"/>
              <a:gd name="connsiteX24" fmla="*/ 4321786 w 9501499"/>
              <a:gd name="connsiteY24" fmla="*/ 2812093 h 4164902"/>
              <a:gd name="connsiteX25" fmla="*/ 4171474 w 9501499"/>
              <a:gd name="connsiteY25" fmla="*/ 2943616 h 4164902"/>
              <a:gd name="connsiteX26" fmla="*/ 4465835 w 9501499"/>
              <a:gd name="connsiteY26" fmla="*/ 2999983 h 4164902"/>
              <a:gd name="connsiteX27" fmla="*/ 3933479 w 9501499"/>
              <a:gd name="connsiteY27" fmla="*/ 2711885 h 4164902"/>
              <a:gd name="connsiteX0" fmla="*/ 0 w 9560696"/>
              <a:gd name="connsiteY0" fmla="*/ 4164902 h 4164902"/>
              <a:gd name="connsiteX1" fmla="*/ 2655824 w 9560696"/>
              <a:gd name="connsiteY1" fmla="*/ 3739019 h 4164902"/>
              <a:gd name="connsiteX2" fmla="*/ 4321786 w 9560696"/>
              <a:gd name="connsiteY2" fmla="*/ 2774515 h 4164902"/>
              <a:gd name="connsiteX3" fmla="*/ 4553517 w 9560696"/>
              <a:gd name="connsiteY3" fmla="*/ 2254685 h 4164902"/>
              <a:gd name="connsiteX4" fmla="*/ 4685041 w 9560696"/>
              <a:gd name="connsiteY4" fmla="*/ 1803748 h 4164902"/>
              <a:gd name="connsiteX5" fmla="*/ 5098400 w 9560696"/>
              <a:gd name="connsiteY5" fmla="*/ 1108553 h 4164902"/>
              <a:gd name="connsiteX6" fmla="*/ 5380235 w 9560696"/>
              <a:gd name="connsiteY6" fmla="*/ 770350 h 4164902"/>
              <a:gd name="connsiteX7" fmla="*/ 5530548 w 9560696"/>
              <a:gd name="connsiteY7" fmla="*/ 632564 h 4164902"/>
              <a:gd name="connsiteX8" fmla="*/ 5994011 w 9560696"/>
              <a:gd name="connsiteY8" fmla="*/ 319413 h 4164902"/>
              <a:gd name="connsiteX9" fmla="*/ 6513841 w 9560696"/>
              <a:gd name="connsiteY9" fmla="*/ 112734 h 4164902"/>
              <a:gd name="connsiteX10" fmla="*/ 6758098 w 9560696"/>
              <a:gd name="connsiteY10" fmla="*/ 43841 h 4164902"/>
              <a:gd name="connsiteX11" fmla="*/ 7221561 w 9560696"/>
              <a:gd name="connsiteY11" fmla="*/ 0 h 4164902"/>
              <a:gd name="connsiteX12" fmla="*/ 7829074 w 9560696"/>
              <a:gd name="connsiteY12" fmla="*/ 31315 h 4164902"/>
              <a:gd name="connsiteX13" fmla="*/ 8073331 w 9560696"/>
              <a:gd name="connsiteY13" fmla="*/ 93945 h 4164902"/>
              <a:gd name="connsiteX14" fmla="*/ 8280011 w 9560696"/>
              <a:gd name="connsiteY14" fmla="*/ 169101 h 4164902"/>
              <a:gd name="connsiteX15" fmla="*/ 8668317 w 9560696"/>
              <a:gd name="connsiteY15" fmla="*/ 375781 h 4164902"/>
              <a:gd name="connsiteX16" fmla="*/ 9112991 w 9560696"/>
              <a:gd name="connsiteY16" fmla="*/ 751561 h 4164902"/>
              <a:gd name="connsiteX17" fmla="*/ 9357249 w 9560696"/>
              <a:gd name="connsiteY17" fmla="*/ 1240076 h 4164902"/>
              <a:gd name="connsiteX18" fmla="*/ 9401090 w 9560696"/>
              <a:gd name="connsiteY18" fmla="*/ 1791222 h 4164902"/>
              <a:gd name="connsiteX19" fmla="*/ 9394827 w 9560696"/>
              <a:gd name="connsiteY19" fmla="*/ 2035479 h 4164902"/>
              <a:gd name="connsiteX20" fmla="*/ 7183983 w 9560696"/>
              <a:gd name="connsiteY20" fmla="*/ 3106455 h 4164902"/>
              <a:gd name="connsiteX21" fmla="*/ 6319687 w 9560696"/>
              <a:gd name="connsiteY21" fmla="*/ 3043824 h 4164902"/>
              <a:gd name="connsiteX22" fmla="*/ 5793594 w 9560696"/>
              <a:gd name="connsiteY22" fmla="*/ 2974931 h 4164902"/>
              <a:gd name="connsiteX23" fmla="*/ 4321786 w 9560696"/>
              <a:gd name="connsiteY23" fmla="*/ 2812093 h 4164902"/>
              <a:gd name="connsiteX24" fmla="*/ 4171474 w 9560696"/>
              <a:gd name="connsiteY24" fmla="*/ 2943616 h 4164902"/>
              <a:gd name="connsiteX25" fmla="*/ 4465835 w 9560696"/>
              <a:gd name="connsiteY25" fmla="*/ 2999983 h 4164902"/>
              <a:gd name="connsiteX26" fmla="*/ 3933479 w 9560696"/>
              <a:gd name="connsiteY26" fmla="*/ 2711885 h 4164902"/>
              <a:gd name="connsiteX0" fmla="*/ 0 w 9434827"/>
              <a:gd name="connsiteY0" fmla="*/ 4164902 h 4164902"/>
              <a:gd name="connsiteX1" fmla="*/ 2655824 w 9434827"/>
              <a:gd name="connsiteY1" fmla="*/ 3739019 h 4164902"/>
              <a:gd name="connsiteX2" fmla="*/ 4321786 w 9434827"/>
              <a:gd name="connsiteY2" fmla="*/ 2774515 h 4164902"/>
              <a:gd name="connsiteX3" fmla="*/ 4553517 w 9434827"/>
              <a:gd name="connsiteY3" fmla="*/ 2254685 h 4164902"/>
              <a:gd name="connsiteX4" fmla="*/ 4685041 w 9434827"/>
              <a:gd name="connsiteY4" fmla="*/ 1803748 h 4164902"/>
              <a:gd name="connsiteX5" fmla="*/ 5098400 w 9434827"/>
              <a:gd name="connsiteY5" fmla="*/ 1108553 h 4164902"/>
              <a:gd name="connsiteX6" fmla="*/ 5380235 w 9434827"/>
              <a:gd name="connsiteY6" fmla="*/ 770350 h 4164902"/>
              <a:gd name="connsiteX7" fmla="*/ 5530548 w 9434827"/>
              <a:gd name="connsiteY7" fmla="*/ 632564 h 4164902"/>
              <a:gd name="connsiteX8" fmla="*/ 5994011 w 9434827"/>
              <a:gd name="connsiteY8" fmla="*/ 319413 h 4164902"/>
              <a:gd name="connsiteX9" fmla="*/ 6513841 w 9434827"/>
              <a:gd name="connsiteY9" fmla="*/ 112734 h 4164902"/>
              <a:gd name="connsiteX10" fmla="*/ 6758098 w 9434827"/>
              <a:gd name="connsiteY10" fmla="*/ 43841 h 4164902"/>
              <a:gd name="connsiteX11" fmla="*/ 7221561 w 9434827"/>
              <a:gd name="connsiteY11" fmla="*/ 0 h 4164902"/>
              <a:gd name="connsiteX12" fmla="*/ 7829074 w 9434827"/>
              <a:gd name="connsiteY12" fmla="*/ 31315 h 4164902"/>
              <a:gd name="connsiteX13" fmla="*/ 8073331 w 9434827"/>
              <a:gd name="connsiteY13" fmla="*/ 93945 h 4164902"/>
              <a:gd name="connsiteX14" fmla="*/ 8280011 w 9434827"/>
              <a:gd name="connsiteY14" fmla="*/ 169101 h 4164902"/>
              <a:gd name="connsiteX15" fmla="*/ 8668317 w 9434827"/>
              <a:gd name="connsiteY15" fmla="*/ 375781 h 4164902"/>
              <a:gd name="connsiteX16" fmla="*/ 9112991 w 9434827"/>
              <a:gd name="connsiteY16" fmla="*/ 751561 h 4164902"/>
              <a:gd name="connsiteX17" fmla="*/ 9357249 w 9434827"/>
              <a:gd name="connsiteY17" fmla="*/ 1240076 h 4164902"/>
              <a:gd name="connsiteX18" fmla="*/ 9401090 w 9434827"/>
              <a:gd name="connsiteY18" fmla="*/ 1791222 h 4164902"/>
              <a:gd name="connsiteX19" fmla="*/ 8879025 w 9434827"/>
              <a:gd name="connsiteY19" fmla="*/ 2907829 h 4164902"/>
              <a:gd name="connsiteX20" fmla="*/ 7183983 w 9434827"/>
              <a:gd name="connsiteY20" fmla="*/ 3106455 h 4164902"/>
              <a:gd name="connsiteX21" fmla="*/ 6319687 w 9434827"/>
              <a:gd name="connsiteY21" fmla="*/ 3043824 h 4164902"/>
              <a:gd name="connsiteX22" fmla="*/ 5793594 w 9434827"/>
              <a:gd name="connsiteY22" fmla="*/ 2974931 h 4164902"/>
              <a:gd name="connsiteX23" fmla="*/ 4321786 w 9434827"/>
              <a:gd name="connsiteY23" fmla="*/ 2812093 h 4164902"/>
              <a:gd name="connsiteX24" fmla="*/ 4171474 w 9434827"/>
              <a:gd name="connsiteY24" fmla="*/ 2943616 h 4164902"/>
              <a:gd name="connsiteX25" fmla="*/ 4465835 w 9434827"/>
              <a:gd name="connsiteY25" fmla="*/ 2999983 h 4164902"/>
              <a:gd name="connsiteX26" fmla="*/ 3933479 w 9434827"/>
              <a:gd name="connsiteY26" fmla="*/ 2711885 h 4164902"/>
              <a:gd name="connsiteX0" fmla="*/ 0 w 9405946"/>
              <a:gd name="connsiteY0" fmla="*/ 4164902 h 4164902"/>
              <a:gd name="connsiteX1" fmla="*/ 2655824 w 9405946"/>
              <a:gd name="connsiteY1" fmla="*/ 3739019 h 4164902"/>
              <a:gd name="connsiteX2" fmla="*/ 4321786 w 9405946"/>
              <a:gd name="connsiteY2" fmla="*/ 2774515 h 4164902"/>
              <a:gd name="connsiteX3" fmla="*/ 4553517 w 9405946"/>
              <a:gd name="connsiteY3" fmla="*/ 2254685 h 4164902"/>
              <a:gd name="connsiteX4" fmla="*/ 4685041 w 9405946"/>
              <a:gd name="connsiteY4" fmla="*/ 1803748 h 4164902"/>
              <a:gd name="connsiteX5" fmla="*/ 5098400 w 9405946"/>
              <a:gd name="connsiteY5" fmla="*/ 1108553 h 4164902"/>
              <a:gd name="connsiteX6" fmla="*/ 5380235 w 9405946"/>
              <a:gd name="connsiteY6" fmla="*/ 770350 h 4164902"/>
              <a:gd name="connsiteX7" fmla="*/ 5530548 w 9405946"/>
              <a:gd name="connsiteY7" fmla="*/ 632564 h 4164902"/>
              <a:gd name="connsiteX8" fmla="*/ 5994011 w 9405946"/>
              <a:gd name="connsiteY8" fmla="*/ 319413 h 4164902"/>
              <a:gd name="connsiteX9" fmla="*/ 6513841 w 9405946"/>
              <a:gd name="connsiteY9" fmla="*/ 112734 h 4164902"/>
              <a:gd name="connsiteX10" fmla="*/ 6758098 w 9405946"/>
              <a:gd name="connsiteY10" fmla="*/ 43841 h 4164902"/>
              <a:gd name="connsiteX11" fmla="*/ 7221561 w 9405946"/>
              <a:gd name="connsiteY11" fmla="*/ 0 h 4164902"/>
              <a:gd name="connsiteX12" fmla="*/ 7829074 w 9405946"/>
              <a:gd name="connsiteY12" fmla="*/ 31315 h 4164902"/>
              <a:gd name="connsiteX13" fmla="*/ 8073331 w 9405946"/>
              <a:gd name="connsiteY13" fmla="*/ 93945 h 4164902"/>
              <a:gd name="connsiteX14" fmla="*/ 8280011 w 9405946"/>
              <a:gd name="connsiteY14" fmla="*/ 169101 h 4164902"/>
              <a:gd name="connsiteX15" fmla="*/ 8668317 w 9405946"/>
              <a:gd name="connsiteY15" fmla="*/ 375781 h 4164902"/>
              <a:gd name="connsiteX16" fmla="*/ 9112991 w 9405946"/>
              <a:gd name="connsiteY16" fmla="*/ 751561 h 4164902"/>
              <a:gd name="connsiteX17" fmla="*/ 9401090 w 9405946"/>
              <a:gd name="connsiteY17" fmla="*/ 1791222 h 4164902"/>
              <a:gd name="connsiteX18" fmla="*/ 8879025 w 9405946"/>
              <a:gd name="connsiteY18" fmla="*/ 2907829 h 4164902"/>
              <a:gd name="connsiteX19" fmla="*/ 7183983 w 9405946"/>
              <a:gd name="connsiteY19" fmla="*/ 3106455 h 4164902"/>
              <a:gd name="connsiteX20" fmla="*/ 6319687 w 9405946"/>
              <a:gd name="connsiteY20" fmla="*/ 3043824 h 4164902"/>
              <a:gd name="connsiteX21" fmla="*/ 5793594 w 9405946"/>
              <a:gd name="connsiteY21" fmla="*/ 2974931 h 4164902"/>
              <a:gd name="connsiteX22" fmla="*/ 4321786 w 9405946"/>
              <a:gd name="connsiteY22" fmla="*/ 2812093 h 4164902"/>
              <a:gd name="connsiteX23" fmla="*/ 4171474 w 9405946"/>
              <a:gd name="connsiteY23" fmla="*/ 2943616 h 4164902"/>
              <a:gd name="connsiteX24" fmla="*/ 4465835 w 9405946"/>
              <a:gd name="connsiteY24" fmla="*/ 2999983 h 4164902"/>
              <a:gd name="connsiteX25" fmla="*/ 3933479 w 9405946"/>
              <a:gd name="connsiteY25" fmla="*/ 2711885 h 4164902"/>
              <a:gd name="connsiteX0" fmla="*/ 0 w 9407634"/>
              <a:gd name="connsiteY0" fmla="*/ 4164902 h 4164902"/>
              <a:gd name="connsiteX1" fmla="*/ 2655824 w 9407634"/>
              <a:gd name="connsiteY1" fmla="*/ 3739019 h 4164902"/>
              <a:gd name="connsiteX2" fmla="*/ 4321786 w 9407634"/>
              <a:gd name="connsiteY2" fmla="*/ 2774515 h 4164902"/>
              <a:gd name="connsiteX3" fmla="*/ 4553517 w 9407634"/>
              <a:gd name="connsiteY3" fmla="*/ 2254685 h 4164902"/>
              <a:gd name="connsiteX4" fmla="*/ 4685041 w 9407634"/>
              <a:gd name="connsiteY4" fmla="*/ 1803748 h 4164902"/>
              <a:gd name="connsiteX5" fmla="*/ 5098400 w 9407634"/>
              <a:gd name="connsiteY5" fmla="*/ 1108553 h 4164902"/>
              <a:gd name="connsiteX6" fmla="*/ 5380235 w 9407634"/>
              <a:gd name="connsiteY6" fmla="*/ 770350 h 4164902"/>
              <a:gd name="connsiteX7" fmla="*/ 5530548 w 9407634"/>
              <a:gd name="connsiteY7" fmla="*/ 632564 h 4164902"/>
              <a:gd name="connsiteX8" fmla="*/ 5994011 w 9407634"/>
              <a:gd name="connsiteY8" fmla="*/ 319413 h 4164902"/>
              <a:gd name="connsiteX9" fmla="*/ 6513841 w 9407634"/>
              <a:gd name="connsiteY9" fmla="*/ 112734 h 4164902"/>
              <a:gd name="connsiteX10" fmla="*/ 6758098 w 9407634"/>
              <a:gd name="connsiteY10" fmla="*/ 43841 h 4164902"/>
              <a:gd name="connsiteX11" fmla="*/ 7221561 w 9407634"/>
              <a:gd name="connsiteY11" fmla="*/ 0 h 4164902"/>
              <a:gd name="connsiteX12" fmla="*/ 7829074 w 9407634"/>
              <a:gd name="connsiteY12" fmla="*/ 31315 h 4164902"/>
              <a:gd name="connsiteX13" fmla="*/ 8073331 w 9407634"/>
              <a:gd name="connsiteY13" fmla="*/ 93945 h 4164902"/>
              <a:gd name="connsiteX14" fmla="*/ 8280011 w 9407634"/>
              <a:gd name="connsiteY14" fmla="*/ 169101 h 4164902"/>
              <a:gd name="connsiteX15" fmla="*/ 9112991 w 9407634"/>
              <a:gd name="connsiteY15" fmla="*/ 751561 h 4164902"/>
              <a:gd name="connsiteX16" fmla="*/ 9401090 w 9407634"/>
              <a:gd name="connsiteY16" fmla="*/ 1791222 h 4164902"/>
              <a:gd name="connsiteX17" fmla="*/ 8879025 w 9407634"/>
              <a:gd name="connsiteY17" fmla="*/ 2907829 h 4164902"/>
              <a:gd name="connsiteX18" fmla="*/ 7183983 w 9407634"/>
              <a:gd name="connsiteY18" fmla="*/ 3106455 h 4164902"/>
              <a:gd name="connsiteX19" fmla="*/ 6319687 w 9407634"/>
              <a:gd name="connsiteY19" fmla="*/ 3043824 h 4164902"/>
              <a:gd name="connsiteX20" fmla="*/ 5793594 w 9407634"/>
              <a:gd name="connsiteY20" fmla="*/ 2974931 h 4164902"/>
              <a:gd name="connsiteX21" fmla="*/ 4321786 w 9407634"/>
              <a:gd name="connsiteY21" fmla="*/ 2812093 h 4164902"/>
              <a:gd name="connsiteX22" fmla="*/ 4171474 w 9407634"/>
              <a:gd name="connsiteY22" fmla="*/ 2943616 h 4164902"/>
              <a:gd name="connsiteX23" fmla="*/ 4465835 w 9407634"/>
              <a:gd name="connsiteY23" fmla="*/ 2999983 h 4164902"/>
              <a:gd name="connsiteX24" fmla="*/ 3933479 w 9407634"/>
              <a:gd name="connsiteY24" fmla="*/ 2711885 h 4164902"/>
              <a:gd name="connsiteX0" fmla="*/ 0 w 9409039"/>
              <a:gd name="connsiteY0" fmla="*/ 4164902 h 4164902"/>
              <a:gd name="connsiteX1" fmla="*/ 2655824 w 9409039"/>
              <a:gd name="connsiteY1" fmla="*/ 3739019 h 4164902"/>
              <a:gd name="connsiteX2" fmla="*/ 4321786 w 9409039"/>
              <a:gd name="connsiteY2" fmla="*/ 2774515 h 4164902"/>
              <a:gd name="connsiteX3" fmla="*/ 4553517 w 9409039"/>
              <a:gd name="connsiteY3" fmla="*/ 2254685 h 4164902"/>
              <a:gd name="connsiteX4" fmla="*/ 4685041 w 9409039"/>
              <a:gd name="connsiteY4" fmla="*/ 1803748 h 4164902"/>
              <a:gd name="connsiteX5" fmla="*/ 5098400 w 9409039"/>
              <a:gd name="connsiteY5" fmla="*/ 1108553 h 4164902"/>
              <a:gd name="connsiteX6" fmla="*/ 5380235 w 9409039"/>
              <a:gd name="connsiteY6" fmla="*/ 770350 h 4164902"/>
              <a:gd name="connsiteX7" fmla="*/ 5530548 w 9409039"/>
              <a:gd name="connsiteY7" fmla="*/ 632564 h 4164902"/>
              <a:gd name="connsiteX8" fmla="*/ 5994011 w 9409039"/>
              <a:gd name="connsiteY8" fmla="*/ 319413 h 4164902"/>
              <a:gd name="connsiteX9" fmla="*/ 6513841 w 9409039"/>
              <a:gd name="connsiteY9" fmla="*/ 112734 h 4164902"/>
              <a:gd name="connsiteX10" fmla="*/ 6758098 w 9409039"/>
              <a:gd name="connsiteY10" fmla="*/ 43841 h 4164902"/>
              <a:gd name="connsiteX11" fmla="*/ 7221561 w 9409039"/>
              <a:gd name="connsiteY11" fmla="*/ 0 h 4164902"/>
              <a:gd name="connsiteX12" fmla="*/ 7829074 w 9409039"/>
              <a:gd name="connsiteY12" fmla="*/ 31315 h 4164902"/>
              <a:gd name="connsiteX13" fmla="*/ 8073331 w 9409039"/>
              <a:gd name="connsiteY13" fmla="*/ 93945 h 4164902"/>
              <a:gd name="connsiteX14" fmla="*/ 9112991 w 9409039"/>
              <a:gd name="connsiteY14" fmla="*/ 751561 h 4164902"/>
              <a:gd name="connsiteX15" fmla="*/ 9401090 w 9409039"/>
              <a:gd name="connsiteY15" fmla="*/ 1791222 h 4164902"/>
              <a:gd name="connsiteX16" fmla="*/ 8879025 w 9409039"/>
              <a:gd name="connsiteY16" fmla="*/ 2907829 h 4164902"/>
              <a:gd name="connsiteX17" fmla="*/ 7183983 w 9409039"/>
              <a:gd name="connsiteY17" fmla="*/ 3106455 h 4164902"/>
              <a:gd name="connsiteX18" fmla="*/ 6319687 w 9409039"/>
              <a:gd name="connsiteY18" fmla="*/ 3043824 h 4164902"/>
              <a:gd name="connsiteX19" fmla="*/ 5793594 w 9409039"/>
              <a:gd name="connsiteY19" fmla="*/ 2974931 h 4164902"/>
              <a:gd name="connsiteX20" fmla="*/ 4321786 w 9409039"/>
              <a:gd name="connsiteY20" fmla="*/ 2812093 h 4164902"/>
              <a:gd name="connsiteX21" fmla="*/ 4171474 w 9409039"/>
              <a:gd name="connsiteY21" fmla="*/ 2943616 h 4164902"/>
              <a:gd name="connsiteX22" fmla="*/ 4465835 w 9409039"/>
              <a:gd name="connsiteY22" fmla="*/ 2999983 h 4164902"/>
              <a:gd name="connsiteX23" fmla="*/ 3933479 w 9409039"/>
              <a:gd name="connsiteY23" fmla="*/ 2711885 h 4164902"/>
              <a:gd name="connsiteX0" fmla="*/ 0 w 9409039"/>
              <a:gd name="connsiteY0" fmla="*/ 4164902 h 4164902"/>
              <a:gd name="connsiteX1" fmla="*/ 2655824 w 9409039"/>
              <a:gd name="connsiteY1" fmla="*/ 3739019 h 4164902"/>
              <a:gd name="connsiteX2" fmla="*/ 4321786 w 9409039"/>
              <a:gd name="connsiteY2" fmla="*/ 2774515 h 4164902"/>
              <a:gd name="connsiteX3" fmla="*/ 4553517 w 9409039"/>
              <a:gd name="connsiteY3" fmla="*/ 2254685 h 4164902"/>
              <a:gd name="connsiteX4" fmla="*/ 4685041 w 9409039"/>
              <a:gd name="connsiteY4" fmla="*/ 1803748 h 4164902"/>
              <a:gd name="connsiteX5" fmla="*/ 5098400 w 9409039"/>
              <a:gd name="connsiteY5" fmla="*/ 1108553 h 4164902"/>
              <a:gd name="connsiteX6" fmla="*/ 5380235 w 9409039"/>
              <a:gd name="connsiteY6" fmla="*/ 770350 h 4164902"/>
              <a:gd name="connsiteX7" fmla="*/ 5530548 w 9409039"/>
              <a:gd name="connsiteY7" fmla="*/ 632564 h 4164902"/>
              <a:gd name="connsiteX8" fmla="*/ 5994011 w 9409039"/>
              <a:gd name="connsiteY8" fmla="*/ 319413 h 4164902"/>
              <a:gd name="connsiteX9" fmla="*/ 6513841 w 9409039"/>
              <a:gd name="connsiteY9" fmla="*/ 112734 h 4164902"/>
              <a:gd name="connsiteX10" fmla="*/ 6758098 w 9409039"/>
              <a:gd name="connsiteY10" fmla="*/ 43841 h 4164902"/>
              <a:gd name="connsiteX11" fmla="*/ 7221561 w 9409039"/>
              <a:gd name="connsiteY11" fmla="*/ 0 h 4164902"/>
              <a:gd name="connsiteX12" fmla="*/ 7829074 w 9409039"/>
              <a:gd name="connsiteY12" fmla="*/ 31315 h 4164902"/>
              <a:gd name="connsiteX13" fmla="*/ 8018350 w 9409039"/>
              <a:gd name="connsiteY13" fmla="*/ 74773 h 4164902"/>
              <a:gd name="connsiteX14" fmla="*/ 8073331 w 9409039"/>
              <a:gd name="connsiteY14" fmla="*/ 93945 h 4164902"/>
              <a:gd name="connsiteX15" fmla="*/ 9112991 w 9409039"/>
              <a:gd name="connsiteY15" fmla="*/ 751561 h 4164902"/>
              <a:gd name="connsiteX16" fmla="*/ 9401090 w 9409039"/>
              <a:gd name="connsiteY16" fmla="*/ 1791222 h 4164902"/>
              <a:gd name="connsiteX17" fmla="*/ 8879025 w 9409039"/>
              <a:gd name="connsiteY17" fmla="*/ 2907829 h 4164902"/>
              <a:gd name="connsiteX18" fmla="*/ 7183983 w 9409039"/>
              <a:gd name="connsiteY18" fmla="*/ 3106455 h 4164902"/>
              <a:gd name="connsiteX19" fmla="*/ 6319687 w 9409039"/>
              <a:gd name="connsiteY19" fmla="*/ 3043824 h 4164902"/>
              <a:gd name="connsiteX20" fmla="*/ 5793594 w 9409039"/>
              <a:gd name="connsiteY20" fmla="*/ 2974931 h 4164902"/>
              <a:gd name="connsiteX21" fmla="*/ 4321786 w 9409039"/>
              <a:gd name="connsiteY21" fmla="*/ 2812093 h 4164902"/>
              <a:gd name="connsiteX22" fmla="*/ 4171474 w 9409039"/>
              <a:gd name="connsiteY22" fmla="*/ 2943616 h 4164902"/>
              <a:gd name="connsiteX23" fmla="*/ 4465835 w 9409039"/>
              <a:gd name="connsiteY23" fmla="*/ 2999983 h 4164902"/>
              <a:gd name="connsiteX24" fmla="*/ 3933479 w 9409039"/>
              <a:gd name="connsiteY24" fmla="*/ 2711885 h 4164902"/>
              <a:gd name="connsiteX0" fmla="*/ 0 w 9409039"/>
              <a:gd name="connsiteY0" fmla="*/ 4164902 h 4164902"/>
              <a:gd name="connsiteX1" fmla="*/ 2655824 w 9409039"/>
              <a:gd name="connsiteY1" fmla="*/ 3739019 h 4164902"/>
              <a:gd name="connsiteX2" fmla="*/ 4321786 w 9409039"/>
              <a:gd name="connsiteY2" fmla="*/ 2774515 h 4164902"/>
              <a:gd name="connsiteX3" fmla="*/ 4553517 w 9409039"/>
              <a:gd name="connsiteY3" fmla="*/ 2254685 h 4164902"/>
              <a:gd name="connsiteX4" fmla="*/ 4685041 w 9409039"/>
              <a:gd name="connsiteY4" fmla="*/ 1803748 h 4164902"/>
              <a:gd name="connsiteX5" fmla="*/ 5098400 w 9409039"/>
              <a:gd name="connsiteY5" fmla="*/ 1108553 h 4164902"/>
              <a:gd name="connsiteX6" fmla="*/ 5380235 w 9409039"/>
              <a:gd name="connsiteY6" fmla="*/ 770350 h 4164902"/>
              <a:gd name="connsiteX7" fmla="*/ 5530548 w 9409039"/>
              <a:gd name="connsiteY7" fmla="*/ 632564 h 4164902"/>
              <a:gd name="connsiteX8" fmla="*/ 5994011 w 9409039"/>
              <a:gd name="connsiteY8" fmla="*/ 319413 h 4164902"/>
              <a:gd name="connsiteX9" fmla="*/ 6513841 w 9409039"/>
              <a:gd name="connsiteY9" fmla="*/ 112734 h 4164902"/>
              <a:gd name="connsiteX10" fmla="*/ 6758098 w 9409039"/>
              <a:gd name="connsiteY10" fmla="*/ 43841 h 4164902"/>
              <a:gd name="connsiteX11" fmla="*/ 7221561 w 9409039"/>
              <a:gd name="connsiteY11" fmla="*/ 0 h 4164902"/>
              <a:gd name="connsiteX12" fmla="*/ 8018350 w 9409039"/>
              <a:gd name="connsiteY12" fmla="*/ 74773 h 4164902"/>
              <a:gd name="connsiteX13" fmla="*/ 8073331 w 9409039"/>
              <a:gd name="connsiteY13" fmla="*/ 93945 h 4164902"/>
              <a:gd name="connsiteX14" fmla="*/ 9112991 w 9409039"/>
              <a:gd name="connsiteY14" fmla="*/ 751561 h 4164902"/>
              <a:gd name="connsiteX15" fmla="*/ 9401090 w 9409039"/>
              <a:gd name="connsiteY15" fmla="*/ 1791222 h 4164902"/>
              <a:gd name="connsiteX16" fmla="*/ 8879025 w 9409039"/>
              <a:gd name="connsiteY16" fmla="*/ 2907829 h 4164902"/>
              <a:gd name="connsiteX17" fmla="*/ 7183983 w 9409039"/>
              <a:gd name="connsiteY17" fmla="*/ 3106455 h 4164902"/>
              <a:gd name="connsiteX18" fmla="*/ 6319687 w 9409039"/>
              <a:gd name="connsiteY18" fmla="*/ 3043824 h 4164902"/>
              <a:gd name="connsiteX19" fmla="*/ 5793594 w 9409039"/>
              <a:gd name="connsiteY19" fmla="*/ 2974931 h 4164902"/>
              <a:gd name="connsiteX20" fmla="*/ 4321786 w 9409039"/>
              <a:gd name="connsiteY20" fmla="*/ 2812093 h 4164902"/>
              <a:gd name="connsiteX21" fmla="*/ 4171474 w 9409039"/>
              <a:gd name="connsiteY21" fmla="*/ 2943616 h 4164902"/>
              <a:gd name="connsiteX22" fmla="*/ 4465835 w 9409039"/>
              <a:gd name="connsiteY22" fmla="*/ 2999983 h 4164902"/>
              <a:gd name="connsiteX23" fmla="*/ 3933479 w 9409039"/>
              <a:gd name="connsiteY23" fmla="*/ 2711885 h 4164902"/>
              <a:gd name="connsiteX0" fmla="*/ 0 w 9409502"/>
              <a:gd name="connsiteY0" fmla="*/ 4172857 h 4172857"/>
              <a:gd name="connsiteX1" fmla="*/ 2655824 w 9409502"/>
              <a:gd name="connsiteY1" fmla="*/ 3746974 h 4172857"/>
              <a:gd name="connsiteX2" fmla="*/ 4321786 w 9409502"/>
              <a:gd name="connsiteY2" fmla="*/ 2782470 h 4172857"/>
              <a:gd name="connsiteX3" fmla="*/ 4553517 w 9409502"/>
              <a:gd name="connsiteY3" fmla="*/ 2262640 h 4172857"/>
              <a:gd name="connsiteX4" fmla="*/ 4685041 w 9409502"/>
              <a:gd name="connsiteY4" fmla="*/ 1811703 h 4172857"/>
              <a:gd name="connsiteX5" fmla="*/ 5098400 w 9409502"/>
              <a:gd name="connsiteY5" fmla="*/ 1116508 h 4172857"/>
              <a:gd name="connsiteX6" fmla="*/ 5380235 w 9409502"/>
              <a:gd name="connsiteY6" fmla="*/ 778305 h 4172857"/>
              <a:gd name="connsiteX7" fmla="*/ 5530548 w 9409502"/>
              <a:gd name="connsiteY7" fmla="*/ 640519 h 4172857"/>
              <a:gd name="connsiteX8" fmla="*/ 5994011 w 9409502"/>
              <a:gd name="connsiteY8" fmla="*/ 327368 h 4172857"/>
              <a:gd name="connsiteX9" fmla="*/ 6513841 w 9409502"/>
              <a:gd name="connsiteY9" fmla="*/ 120689 h 4172857"/>
              <a:gd name="connsiteX10" fmla="*/ 6758098 w 9409502"/>
              <a:gd name="connsiteY10" fmla="*/ 51796 h 4172857"/>
              <a:gd name="connsiteX11" fmla="*/ 7221561 w 9409502"/>
              <a:gd name="connsiteY11" fmla="*/ 7955 h 4172857"/>
              <a:gd name="connsiteX12" fmla="*/ 8018350 w 9409502"/>
              <a:gd name="connsiteY12" fmla="*/ 82728 h 4172857"/>
              <a:gd name="connsiteX13" fmla="*/ 9112991 w 9409502"/>
              <a:gd name="connsiteY13" fmla="*/ 759516 h 4172857"/>
              <a:gd name="connsiteX14" fmla="*/ 9401090 w 9409502"/>
              <a:gd name="connsiteY14" fmla="*/ 1799177 h 4172857"/>
              <a:gd name="connsiteX15" fmla="*/ 8879025 w 9409502"/>
              <a:gd name="connsiteY15" fmla="*/ 2915784 h 4172857"/>
              <a:gd name="connsiteX16" fmla="*/ 7183983 w 9409502"/>
              <a:gd name="connsiteY16" fmla="*/ 3114410 h 4172857"/>
              <a:gd name="connsiteX17" fmla="*/ 6319687 w 9409502"/>
              <a:gd name="connsiteY17" fmla="*/ 3051779 h 4172857"/>
              <a:gd name="connsiteX18" fmla="*/ 5793594 w 9409502"/>
              <a:gd name="connsiteY18" fmla="*/ 2982886 h 4172857"/>
              <a:gd name="connsiteX19" fmla="*/ 4321786 w 9409502"/>
              <a:gd name="connsiteY19" fmla="*/ 2820048 h 4172857"/>
              <a:gd name="connsiteX20" fmla="*/ 4171474 w 9409502"/>
              <a:gd name="connsiteY20" fmla="*/ 2951571 h 4172857"/>
              <a:gd name="connsiteX21" fmla="*/ 4465835 w 9409502"/>
              <a:gd name="connsiteY21" fmla="*/ 3007938 h 4172857"/>
              <a:gd name="connsiteX22" fmla="*/ 3933479 w 9409502"/>
              <a:gd name="connsiteY22" fmla="*/ 2719840 h 4172857"/>
              <a:gd name="connsiteX0" fmla="*/ 0 w 9409105"/>
              <a:gd name="connsiteY0" fmla="*/ 4172858 h 4172858"/>
              <a:gd name="connsiteX1" fmla="*/ 2655824 w 9409105"/>
              <a:gd name="connsiteY1" fmla="*/ 3746975 h 4172858"/>
              <a:gd name="connsiteX2" fmla="*/ 4321786 w 9409105"/>
              <a:gd name="connsiteY2" fmla="*/ 2782471 h 4172858"/>
              <a:gd name="connsiteX3" fmla="*/ 4553517 w 9409105"/>
              <a:gd name="connsiteY3" fmla="*/ 2262641 h 4172858"/>
              <a:gd name="connsiteX4" fmla="*/ 4685041 w 9409105"/>
              <a:gd name="connsiteY4" fmla="*/ 1811704 h 4172858"/>
              <a:gd name="connsiteX5" fmla="*/ 5098400 w 9409105"/>
              <a:gd name="connsiteY5" fmla="*/ 1116509 h 4172858"/>
              <a:gd name="connsiteX6" fmla="*/ 5380235 w 9409105"/>
              <a:gd name="connsiteY6" fmla="*/ 778306 h 4172858"/>
              <a:gd name="connsiteX7" fmla="*/ 5530548 w 9409105"/>
              <a:gd name="connsiteY7" fmla="*/ 640520 h 4172858"/>
              <a:gd name="connsiteX8" fmla="*/ 5994011 w 9409105"/>
              <a:gd name="connsiteY8" fmla="*/ 327369 h 4172858"/>
              <a:gd name="connsiteX9" fmla="*/ 6513841 w 9409105"/>
              <a:gd name="connsiteY9" fmla="*/ 120690 h 4172858"/>
              <a:gd name="connsiteX10" fmla="*/ 6758098 w 9409105"/>
              <a:gd name="connsiteY10" fmla="*/ 51797 h 4172858"/>
              <a:gd name="connsiteX11" fmla="*/ 7221561 w 9409105"/>
              <a:gd name="connsiteY11" fmla="*/ 7956 h 4172858"/>
              <a:gd name="connsiteX12" fmla="*/ 8018350 w 9409105"/>
              <a:gd name="connsiteY12" fmla="*/ 82729 h 4172858"/>
              <a:gd name="connsiteX13" fmla="*/ 8065240 w 9409105"/>
              <a:gd name="connsiteY13" fmla="*/ 99347 h 4172858"/>
              <a:gd name="connsiteX14" fmla="*/ 9112991 w 9409105"/>
              <a:gd name="connsiteY14" fmla="*/ 759517 h 4172858"/>
              <a:gd name="connsiteX15" fmla="*/ 9401090 w 9409105"/>
              <a:gd name="connsiteY15" fmla="*/ 1799178 h 4172858"/>
              <a:gd name="connsiteX16" fmla="*/ 8879025 w 9409105"/>
              <a:gd name="connsiteY16" fmla="*/ 2915785 h 4172858"/>
              <a:gd name="connsiteX17" fmla="*/ 7183983 w 9409105"/>
              <a:gd name="connsiteY17" fmla="*/ 3114411 h 4172858"/>
              <a:gd name="connsiteX18" fmla="*/ 6319687 w 9409105"/>
              <a:gd name="connsiteY18" fmla="*/ 3051780 h 4172858"/>
              <a:gd name="connsiteX19" fmla="*/ 5793594 w 9409105"/>
              <a:gd name="connsiteY19" fmla="*/ 2982887 h 4172858"/>
              <a:gd name="connsiteX20" fmla="*/ 4321786 w 9409105"/>
              <a:gd name="connsiteY20" fmla="*/ 2820049 h 4172858"/>
              <a:gd name="connsiteX21" fmla="*/ 4171474 w 9409105"/>
              <a:gd name="connsiteY21" fmla="*/ 2951572 h 4172858"/>
              <a:gd name="connsiteX22" fmla="*/ 4465835 w 9409105"/>
              <a:gd name="connsiteY22" fmla="*/ 3007939 h 4172858"/>
              <a:gd name="connsiteX23" fmla="*/ 3933479 w 9409105"/>
              <a:gd name="connsiteY23" fmla="*/ 2719841 h 4172858"/>
              <a:gd name="connsiteX0" fmla="*/ 0 w 9409502"/>
              <a:gd name="connsiteY0" fmla="*/ 4172858 h 4172858"/>
              <a:gd name="connsiteX1" fmla="*/ 2655824 w 9409502"/>
              <a:gd name="connsiteY1" fmla="*/ 3746975 h 4172858"/>
              <a:gd name="connsiteX2" fmla="*/ 4321786 w 9409502"/>
              <a:gd name="connsiteY2" fmla="*/ 2782471 h 4172858"/>
              <a:gd name="connsiteX3" fmla="*/ 4553517 w 9409502"/>
              <a:gd name="connsiteY3" fmla="*/ 2262641 h 4172858"/>
              <a:gd name="connsiteX4" fmla="*/ 4685041 w 9409502"/>
              <a:gd name="connsiteY4" fmla="*/ 1811704 h 4172858"/>
              <a:gd name="connsiteX5" fmla="*/ 5098400 w 9409502"/>
              <a:gd name="connsiteY5" fmla="*/ 1116509 h 4172858"/>
              <a:gd name="connsiteX6" fmla="*/ 5380235 w 9409502"/>
              <a:gd name="connsiteY6" fmla="*/ 778306 h 4172858"/>
              <a:gd name="connsiteX7" fmla="*/ 5530548 w 9409502"/>
              <a:gd name="connsiteY7" fmla="*/ 640520 h 4172858"/>
              <a:gd name="connsiteX8" fmla="*/ 5994011 w 9409502"/>
              <a:gd name="connsiteY8" fmla="*/ 327369 h 4172858"/>
              <a:gd name="connsiteX9" fmla="*/ 6513841 w 9409502"/>
              <a:gd name="connsiteY9" fmla="*/ 120690 h 4172858"/>
              <a:gd name="connsiteX10" fmla="*/ 6758098 w 9409502"/>
              <a:gd name="connsiteY10" fmla="*/ 51797 h 4172858"/>
              <a:gd name="connsiteX11" fmla="*/ 7221561 w 9409502"/>
              <a:gd name="connsiteY11" fmla="*/ 7956 h 4172858"/>
              <a:gd name="connsiteX12" fmla="*/ 8018350 w 9409502"/>
              <a:gd name="connsiteY12" fmla="*/ 82729 h 4172858"/>
              <a:gd name="connsiteX13" fmla="*/ 9112991 w 9409502"/>
              <a:gd name="connsiteY13" fmla="*/ 759517 h 4172858"/>
              <a:gd name="connsiteX14" fmla="*/ 9401090 w 9409502"/>
              <a:gd name="connsiteY14" fmla="*/ 1799178 h 4172858"/>
              <a:gd name="connsiteX15" fmla="*/ 8879025 w 9409502"/>
              <a:gd name="connsiteY15" fmla="*/ 2915785 h 4172858"/>
              <a:gd name="connsiteX16" fmla="*/ 7183983 w 9409502"/>
              <a:gd name="connsiteY16" fmla="*/ 3114411 h 4172858"/>
              <a:gd name="connsiteX17" fmla="*/ 6319687 w 9409502"/>
              <a:gd name="connsiteY17" fmla="*/ 3051780 h 4172858"/>
              <a:gd name="connsiteX18" fmla="*/ 5793594 w 9409502"/>
              <a:gd name="connsiteY18" fmla="*/ 2982887 h 4172858"/>
              <a:gd name="connsiteX19" fmla="*/ 4321786 w 9409502"/>
              <a:gd name="connsiteY19" fmla="*/ 2820049 h 4172858"/>
              <a:gd name="connsiteX20" fmla="*/ 4171474 w 9409502"/>
              <a:gd name="connsiteY20" fmla="*/ 2951572 h 4172858"/>
              <a:gd name="connsiteX21" fmla="*/ 4465835 w 9409502"/>
              <a:gd name="connsiteY21" fmla="*/ 3007939 h 4172858"/>
              <a:gd name="connsiteX22" fmla="*/ 3933479 w 9409502"/>
              <a:gd name="connsiteY22" fmla="*/ 2719841 h 4172858"/>
              <a:gd name="connsiteX0" fmla="*/ 0 w 9424727"/>
              <a:gd name="connsiteY0" fmla="*/ 4164903 h 4164903"/>
              <a:gd name="connsiteX1" fmla="*/ 2655824 w 9424727"/>
              <a:gd name="connsiteY1" fmla="*/ 3739020 h 4164903"/>
              <a:gd name="connsiteX2" fmla="*/ 4321786 w 9424727"/>
              <a:gd name="connsiteY2" fmla="*/ 2774516 h 4164903"/>
              <a:gd name="connsiteX3" fmla="*/ 4553517 w 9424727"/>
              <a:gd name="connsiteY3" fmla="*/ 2254686 h 4164903"/>
              <a:gd name="connsiteX4" fmla="*/ 4685041 w 9424727"/>
              <a:gd name="connsiteY4" fmla="*/ 1803749 h 4164903"/>
              <a:gd name="connsiteX5" fmla="*/ 5098400 w 9424727"/>
              <a:gd name="connsiteY5" fmla="*/ 1108554 h 4164903"/>
              <a:gd name="connsiteX6" fmla="*/ 5380235 w 9424727"/>
              <a:gd name="connsiteY6" fmla="*/ 770351 h 4164903"/>
              <a:gd name="connsiteX7" fmla="*/ 5530548 w 9424727"/>
              <a:gd name="connsiteY7" fmla="*/ 632565 h 4164903"/>
              <a:gd name="connsiteX8" fmla="*/ 5994011 w 9424727"/>
              <a:gd name="connsiteY8" fmla="*/ 319414 h 4164903"/>
              <a:gd name="connsiteX9" fmla="*/ 6513841 w 9424727"/>
              <a:gd name="connsiteY9" fmla="*/ 112735 h 4164903"/>
              <a:gd name="connsiteX10" fmla="*/ 6758098 w 9424727"/>
              <a:gd name="connsiteY10" fmla="*/ 43842 h 4164903"/>
              <a:gd name="connsiteX11" fmla="*/ 7221561 w 9424727"/>
              <a:gd name="connsiteY11" fmla="*/ 1 h 4164903"/>
              <a:gd name="connsiteX12" fmla="*/ 9112991 w 9424727"/>
              <a:gd name="connsiteY12" fmla="*/ 751562 h 4164903"/>
              <a:gd name="connsiteX13" fmla="*/ 9401090 w 9424727"/>
              <a:gd name="connsiteY13" fmla="*/ 1791223 h 4164903"/>
              <a:gd name="connsiteX14" fmla="*/ 8879025 w 9424727"/>
              <a:gd name="connsiteY14" fmla="*/ 2907830 h 4164903"/>
              <a:gd name="connsiteX15" fmla="*/ 7183983 w 9424727"/>
              <a:gd name="connsiteY15" fmla="*/ 3106456 h 4164903"/>
              <a:gd name="connsiteX16" fmla="*/ 6319687 w 9424727"/>
              <a:gd name="connsiteY16" fmla="*/ 3043825 h 4164903"/>
              <a:gd name="connsiteX17" fmla="*/ 5793594 w 9424727"/>
              <a:gd name="connsiteY17" fmla="*/ 2974932 h 4164903"/>
              <a:gd name="connsiteX18" fmla="*/ 4321786 w 9424727"/>
              <a:gd name="connsiteY18" fmla="*/ 2812094 h 4164903"/>
              <a:gd name="connsiteX19" fmla="*/ 4171474 w 9424727"/>
              <a:gd name="connsiteY19" fmla="*/ 2943617 h 4164903"/>
              <a:gd name="connsiteX20" fmla="*/ 4465835 w 9424727"/>
              <a:gd name="connsiteY20" fmla="*/ 2999984 h 4164903"/>
              <a:gd name="connsiteX21" fmla="*/ 3933479 w 9424727"/>
              <a:gd name="connsiteY21" fmla="*/ 2711886 h 4164903"/>
              <a:gd name="connsiteX0" fmla="*/ 0 w 9424727"/>
              <a:gd name="connsiteY0" fmla="*/ 4199826 h 4199826"/>
              <a:gd name="connsiteX1" fmla="*/ 2655824 w 9424727"/>
              <a:gd name="connsiteY1" fmla="*/ 3773943 h 4199826"/>
              <a:gd name="connsiteX2" fmla="*/ 4321786 w 9424727"/>
              <a:gd name="connsiteY2" fmla="*/ 2809439 h 4199826"/>
              <a:gd name="connsiteX3" fmla="*/ 4553517 w 9424727"/>
              <a:gd name="connsiteY3" fmla="*/ 2289609 h 4199826"/>
              <a:gd name="connsiteX4" fmla="*/ 4685041 w 9424727"/>
              <a:gd name="connsiteY4" fmla="*/ 1838672 h 4199826"/>
              <a:gd name="connsiteX5" fmla="*/ 5098400 w 9424727"/>
              <a:gd name="connsiteY5" fmla="*/ 1143477 h 4199826"/>
              <a:gd name="connsiteX6" fmla="*/ 5380235 w 9424727"/>
              <a:gd name="connsiteY6" fmla="*/ 805274 h 4199826"/>
              <a:gd name="connsiteX7" fmla="*/ 5530548 w 9424727"/>
              <a:gd name="connsiteY7" fmla="*/ 667488 h 4199826"/>
              <a:gd name="connsiteX8" fmla="*/ 5994011 w 9424727"/>
              <a:gd name="connsiteY8" fmla="*/ 354337 h 4199826"/>
              <a:gd name="connsiteX9" fmla="*/ 6513841 w 9424727"/>
              <a:gd name="connsiteY9" fmla="*/ 147658 h 4199826"/>
              <a:gd name="connsiteX10" fmla="*/ 7221561 w 9424727"/>
              <a:gd name="connsiteY10" fmla="*/ 34924 h 4199826"/>
              <a:gd name="connsiteX11" fmla="*/ 9112991 w 9424727"/>
              <a:gd name="connsiteY11" fmla="*/ 786485 h 4199826"/>
              <a:gd name="connsiteX12" fmla="*/ 9401090 w 9424727"/>
              <a:gd name="connsiteY12" fmla="*/ 1826146 h 4199826"/>
              <a:gd name="connsiteX13" fmla="*/ 8879025 w 9424727"/>
              <a:gd name="connsiteY13" fmla="*/ 2942753 h 4199826"/>
              <a:gd name="connsiteX14" fmla="*/ 7183983 w 9424727"/>
              <a:gd name="connsiteY14" fmla="*/ 3141379 h 4199826"/>
              <a:gd name="connsiteX15" fmla="*/ 6319687 w 9424727"/>
              <a:gd name="connsiteY15" fmla="*/ 3078748 h 4199826"/>
              <a:gd name="connsiteX16" fmla="*/ 5793594 w 9424727"/>
              <a:gd name="connsiteY16" fmla="*/ 3009855 h 4199826"/>
              <a:gd name="connsiteX17" fmla="*/ 4321786 w 9424727"/>
              <a:gd name="connsiteY17" fmla="*/ 2847017 h 4199826"/>
              <a:gd name="connsiteX18" fmla="*/ 4171474 w 9424727"/>
              <a:gd name="connsiteY18" fmla="*/ 2978540 h 4199826"/>
              <a:gd name="connsiteX19" fmla="*/ 4465835 w 9424727"/>
              <a:gd name="connsiteY19" fmla="*/ 3034907 h 4199826"/>
              <a:gd name="connsiteX20" fmla="*/ 3933479 w 9424727"/>
              <a:gd name="connsiteY20" fmla="*/ 2746809 h 4199826"/>
              <a:gd name="connsiteX0" fmla="*/ 0 w 9455586"/>
              <a:gd name="connsiteY0" fmla="*/ 4067256 h 4067256"/>
              <a:gd name="connsiteX1" fmla="*/ 2655824 w 9455586"/>
              <a:gd name="connsiteY1" fmla="*/ 3641373 h 4067256"/>
              <a:gd name="connsiteX2" fmla="*/ 4321786 w 9455586"/>
              <a:gd name="connsiteY2" fmla="*/ 2676869 h 4067256"/>
              <a:gd name="connsiteX3" fmla="*/ 4553517 w 9455586"/>
              <a:gd name="connsiteY3" fmla="*/ 2157039 h 4067256"/>
              <a:gd name="connsiteX4" fmla="*/ 4685041 w 9455586"/>
              <a:gd name="connsiteY4" fmla="*/ 1706102 h 4067256"/>
              <a:gd name="connsiteX5" fmla="*/ 5098400 w 9455586"/>
              <a:gd name="connsiteY5" fmla="*/ 1010907 h 4067256"/>
              <a:gd name="connsiteX6" fmla="*/ 5380235 w 9455586"/>
              <a:gd name="connsiteY6" fmla="*/ 672704 h 4067256"/>
              <a:gd name="connsiteX7" fmla="*/ 5530548 w 9455586"/>
              <a:gd name="connsiteY7" fmla="*/ 534918 h 4067256"/>
              <a:gd name="connsiteX8" fmla="*/ 5994011 w 9455586"/>
              <a:gd name="connsiteY8" fmla="*/ 221767 h 4067256"/>
              <a:gd name="connsiteX9" fmla="*/ 6513841 w 9455586"/>
              <a:gd name="connsiteY9" fmla="*/ 15088 h 4067256"/>
              <a:gd name="connsiteX10" fmla="*/ 9112991 w 9455586"/>
              <a:gd name="connsiteY10" fmla="*/ 653915 h 4067256"/>
              <a:gd name="connsiteX11" fmla="*/ 9401090 w 9455586"/>
              <a:gd name="connsiteY11" fmla="*/ 1693576 h 4067256"/>
              <a:gd name="connsiteX12" fmla="*/ 8879025 w 9455586"/>
              <a:gd name="connsiteY12" fmla="*/ 2810183 h 4067256"/>
              <a:gd name="connsiteX13" fmla="*/ 7183983 w 9455586"/>
              <a:gd name="connsiteY13" fmla="*/ 3008809 h 4067256"/>
              <a:gd name="connsiteX14" fmla="*/ 6319687 w 9455586"/>
              <a:gd name="connsiteY14" fmla="*/ 2946178 h 4067256"/>
              <a:gd name="connsiteX15" fmla="*/ 5793594 w 9455586"/>
              <a:gd name="connsiteY15" fmla="*/ 2877285 h 4067256"/>
              <a:gd name="connsiteX16" fmla="*/ 4321786 w 9455586"/>
              <a:gd name="connsiteY16" fmla="*/ 2714447 h 4067256"/>
              <a:gd name="connsiteX17" fmla="*/ 4171474 w 9455586"/>
              <a:gd name="connsiteY17" fmla="*/ 2845970 h 4067256"/>
              <a:gd name="connsiteX18" fmla="*/ 4465835 w 9455586"/>
              <a:gd name="connsiteY18" fmla="*/ 2902337 h 4067256"/>
              <a:gd name="connsiteX19" fmla="*/ 3933479 w 9455586"/>
              <a:gd name="connsiteY19" fmla="*/ 2614239 h 4067256"/>
              <a:gd name="connsiteX0" fmla="*/ 0 w 9537828"/>
              <a:gd name="connsiteY0" fmla="*/ 4133826 h 4133826"/>
              <a:gd name="connsiteX1" fmla="*/ 2655824 w 9537828"/>
              <a:gd name="connsiteY1" fmla="*/ 3707943 h 4133826"/>
              <a:gd name="connsiteX2" fmla="*/ 4321786 w 9537828"/>
              <a:gd name="connsiteY2" fmla="*/ 2743439 h 4133826"/>
              <a:gd name="connsiteX3" fmla="*/ 4553517 w 9537828"/>
              <a:gd name="connsiteY3" fmla="*/ 2223609 h 4133826"/>
              <a:gd name="connsiteX4" fmla="*/ 4685041 w 9537828"/>
              <a:gd name="connsiteY4" fmla="*/ 1772672 h 4133826"/>
              <a:gd name="connsiteX5" fmla="*/ 5098400 w 9537828"/>
              <a:gd name="connsiteY5" fmla="*/ 1077477 h 4133826"/>
              <a:gd name="connsiteX6" fmla="*/ 5380235 w 9537828"/>
              <a:gd name="connsiteY6" fmla="*/ 739274 h 4133826"/>
              <a:gd name="connsiteX7" fmla="*/ 5530548 w 9537828"/>
              <a:gd name="connsiteY7" fmla="*/ 601488 h 4133826"/>
              <a:gd name="connsiteX8" fmla="*/ 5994011 w 9537828"/>
              <a:gd name="connsiteY8" fmla="*/ 288337 h 4133826"/>
              <a:gd name="connsiteX9" fmla="*/ 6513841 w 9537828"/>
              <a:gd name="connsiteY9" fmla="*/ 81658 h 4133826"/>
              <a:gd name="connsiteX10" fmla="*/ 9401090 w 9537828"/>
              <a:gd name="connsiteY10" fmla="*/ 1760146 h 4133826"/>
              <a:gd name="connsiteX11" fmla="*/ 8879025 w 9537828"/>
              <a:gd name="connsiteY11" fmla="*/ 2876753 h 4133826"/>
              <a:gd name="connsiteX12" fmla="*/ 7183983 w 9537828"/>
              <a:gd name="connsiteY12" fmla="*/ 3075379 h 4133826"/>
              <a:gd name="connsiteX13" fmla="*/ 6319687 w 9537828"/>
              <a:gd name="connsiteY13" fmla="*/ 3012748 h 4133826"/>
              <a:gd name="connsiteX14" fmla="*/ 5793594 w 9537828"/>
              <a:gd name="connsiteY14" fmla="*/ 2943855 h 4133826"/>
              <a:gd name="connsiteX15" fmla="*/ 4321786 w 9537828"/>
              <a:gd name="connsiteY15" fmla="*/ 2781017 h 4133826"/>
              <a:gd name="connsiteX16" fmla="*/ 4171474 w 9537828"/>
              <a:gd name="connsiteY16" fmla="*/ 2912540 h 4133826"/>
              <a:gd name="connsiteX17" fmla="*/ 4465835 w 9537828"/>
              <a:gd name="connsiteY17" fmla="*/ 2968907 h 4133826"/>
              <a:gd name="connsiteX18" fmla="*/ 3933479 w 9537828"/>
              <a:gd name="connsiteY18" fmla="*/ 2680809 h 4133826"/>
              <a:gd name="connsiteX0" fmla="*/ 0 w 9574428"/>
              <a:gd name="connsiteY0" fmla="*/ 3895190 h 3895190"/>
              <a:gd name="connsiteX1" fmla="*/ 2655824 w 9574428"/>
              <a:gd name="connsiteY1" fmla="*/ 3469307 h 3895190"/>
              <a:gd name="connsiteX2" fmla="*/ 4321786 w 9574428"/>
              <a:gd name="connsiteY2" fmla="*/ 2504803 h 3895190"/>
              <a:gd name="connsiteX3" fmla="*/ 4553517 w 9574428"/>
              <a:gd name="connsiteY3" fmla="*/ 1984973 h 3895190"/>
              <a:gd name="connsiteX4" fmla="*/ 4685041 w 9574428"/>
              <a:gd name="connsiteY4" fmla="*/ 1534036 h 3895190"/>
              <a:gd name="connsiteX5" fmla="*/ 5098400 w 9574428"/>
              <a:gd name="connsiteY5" fmla="*/ 838841 h 3895190"/>
              <a:gd name="connsiteX6" fmla="*/ 5380235 w 9574428"/>
              <a:gd name="connsiteY6" fmla="*/ 500638 h 3895190"/>
              <a:gd name="connsiteX7" fmla="*/ 5530548 w 9574428"/>
              <a:gd name="connsiteY7" fmla="*/ 362852 h 3895190"/>
              <a:gd name="connsiteX8" fmla="*/ 5994011 w 9574428"/>
              <a:gd name="connsiteY8" fmla="*/ 49701 h 3895190"/>
              <a:gd name="connsiteX9" fmla="*/ 9401090 w 9574428"/>
              <a:gd name="connsiteY9" fmla="*/ 1521510 h 3895190"/>
              <a:gd name="connsiteX10" fmla="*/ 8879025 w 9574428"/>
              <a:gd name="connsiteY10" fmla="*/ 2638117 h 3895190"/>
              <a:gd name="connsiteX11" fmla="*/ 7183983 w 9574428"/>
              <a:gd name="connsiteY11" fmla="*/ 2836743 h 3895190"/>
              <a:gd name="connsiteX12" fmla="*/ 6319687 w 9574428"/>
              <a:gd name="connsiteY12" fmla="*/ 2774112 h 3895190"/>
              <a:gd name="connsiteX13" fmla="*/ 5793594 w 9574428"/>
              <a:gd name="connsiteY13" fmla="*/ 2705219 h 3895190"/>
              <a:gd name="connsiteX14" fmla="*/ 4321786 w 9574428"/>
              <a:gd name="connsiteY14" fmla="*/ 2542381 h 3895190"/>
              <a:gd name="connsiteX15" fmla="*/ 4171474 w 9574428"/>
              <a:gd name="connsiteY15" fmla="*/ 2673904 h 3895190"/>
              <a:gd name="connsiteX16" fmla="*/ 4465835 w 9574428"/>
              <a:gd name="connsiteY16" fmla="*/ 2730271 h 3895190"/>
              <a:gd name="connsiteX17" fmla="*/ 3933479 w 9574428"/>
              <a:gd name="connsiteY17" fmla="*/ 2442173 h 3895190"/>
              <a:gd name="connsiteX0" fmla="*/ 0 w 9434022"/>
              <a:gd name="connsiteY0" fmla="*/ 4067155 h 4067155"/>
              <a:gd name="connsiteX1" fmla="*/ 2655824 w 9434022"/>
              <a:gd name="connsiteY1" fmla="*/ 3641272 h 4067155"/>
              <a:gd name="connsiteX2" fmla="*/ 4321786 w 9434022"/>
              <a:gd name="connsiteY2" fmla="*/ 2676768 h 4067155"/>
              <a:gd name="connsiteX3" fmla="*/ 4553517 w 9434022"/>
              <a:gd name="connsiteY3" fmla="*/ 2156938 h 4067155"/>
              <a:gd name="connsiteX4" fmla="*/ 4685041 w 9434022"/>
              <a:gd name="connsiteY4" fmla="*/ 1706001 h 4067155"/>
              <a:gd name="connsiteX5" fmla="*/ 5098400 w 9434022"/>
              <a:gd name="connsiteY5" fmla="*/ 1010806 h 4067155"/>
              <a:gd name="connsiteX6" fmla="*/ 5380235 w 9434022"/>
              <a:gd name="connsiteY6" fmla="*/ 672603 h 4067155"/>
              <a:gd name="connsiteX7" fmla="*/ 5530548 w 9434022"/>
              <a:gd name="connsiteY7" fmla="*/ 534817 h 4067155"/>
              <a:gd name="connsiteX8" fmla="*/ 8085348 w 9434022"/>
              <a:gd name="connsiteY8" fmla="*/ 38888 h 4067155"/>
              <a:gd name="connsiteX9" fmla="*/ 9401090 w 9434022"/>
              <a:gd name="connsiteY9" fmla="*/ 1693475 h 4067155"/>
              <a:gd name="connsiteX10" fmla="*/ 8879025 w 9434022"/>
              <a:gd name="connsiteY10" fmla="*/ 2810082 h 4067155"/>
              <a:gd name="connsiteX11" fmla="*/ 7183983 w 9434022"/>
              <a:gd name="connsiteY11" fmla="*/ 3008708 h 4067155"/>
              <a:gd name="connsiteX12" fmla="*/ 6319687 w 9434022"/>
              <a:gd name="connsiteY12" fmla="*/ 2946077 h 4067155"/>
              <a:gd name="connsiteX13" fmla="*/ 5793594 w 9434022"/>
              <a:gd name="connsiteY13" fmla="*/ 2877184 h 4067155"/>
              <a:gd name="connsiteX14" fmla="*/ 4321786 w 9434022"/>
              <a:gd name="connsiteY14" fmla="*/ 2714346 h 4067155"/>
              <a:gd name="connsiteX15" fmla="*/ 4171474 w 9434022"/>
              <a:gd name="connsiteY15" fmla="*/ 2845869 h 4067155"/>
              <a:gd name="connsiteX16" fmla="*/ 4465835 w 9434022"/>
              <a:gd name="connsiteY16" fmla="*/ 2902236 h 4067155"/>
              <a:gd name="connsiteX17" fmla="*/ 3933479 w 9434022"/>
              <a:gd name="connsiteY17" fmla="*/ 2614138 h 4067155"/>
              <a:gd name="connsiteX0" fmla="*/ 0 w 9434022"/>
              <a:gd name="connsiteY0" fmla="*/ 4070221 h 4070221"/>
              <a:gd name="connsiteX1" fmla="*/ 2655824 w 9434022"/>
              <a:gd name="connsiteY1" fmla="*/ 3644338 h 4070221"/>
              <a:gd name="connsiteX2" fmla="*/ 4321786 w 9434022"/>
              <a:gd name="connsiteY2" fmla="*/ 2679834 h 4070221"/>
              <a:gd name="connsiteX3" fmla="*/ 4553517 w 9434022"/>
              <a:gd name="connsiteY3" fmla="*/ 2160004 h 4070221"/>
              <a:gd name="connsiteX4" fmla="*/ 4685041 w 9434022"/>
              <a:gd name="connsiteY4" fmla="*/ 1709067 h 4070221"/>
              <a:gd name="connsiteX5" fmla="*/ 5098400 w 9434022"/>
              <a:gd name="connsiteY5" fmla="*/ 1013872 h 4070221"/>
              <a:gd name="connsiteX6" fmla="*/ 5530548 w 9434022"/>
              <a:gd name="connsiteY6" fmla="*/ 537883 h 4070221"/>
              <a:gd name="connsiteX7" fmla="*/ 8085348 w 9434022"/>
              <a:gd name="connsiteY7" fmla="*/ 41954 h 4070221"/>
              <a:gd name="connsiteX8" fmla="*/ 9401090 w 9434022"/>
              <a:gd name="connsiteY8" fmla="*/ 1696541 h 4070221"/>
              <a:gd name="connsiteX9" fmla="*/ 8879025 w 9434022"/>
              <a:gd name="connsiteY9" fmla="*/ 2813148 h 4070221"/>
              <a:gd name="connsiteX10" fmla="*/ 7183983 w 9434022"/>
              <a:gd name="connsiteY10" fmla="*/ 3011774 h 4070221"/>
              <a:gd name="connsiteX11" fmla="*/ 6319687 w 9434022"/>
              <a:gd name="connsiteY11" fmla="*/ 2949143 h 4070221"/>
              <a:gd name="connsiteX12" fmla="*/ 5793594 w 9434022"/>
              <a:gd name="connsiteY12" fmla="*/ 2880250 h 4070221"/>
              <a:gd name="connsiteX13" fmla="*/ 4321786 w 9434022"/>
              <a:gd name="connsiteY13" fmla="*/ 2717412 h 4070221"/>
              <a:gd name="connsiteX14" fmla="*/ 4171474 w 9434022"/>
              <a:gd name="connsiteY14" fmla="*/ 2848935 h 4070221"/>
              <a:gd name="connsiteX15" fmla="*/ 4465835 w 9434022"/>
              <a:gd name="connsiteY15" fmla="*/ 2905302 h 4070221"/>
              <a:gd name="connsiteX16" fmla="*/ 3933479 w 9434022"/>
              <a:gd name="connsiteY16" fmla="*/ 2617204 h 4070221"/>
              <a:gd name="connsiteX0" fmla="*/ 0 w 9434022"/>
              <a:gd name="connsiteY0" fmla="*/ 4078111 h 4078111"/>
              <a:gd name="connsiteX1" fmla="*/ 2655824 w 9434022"/>
              <a:gd name="connsiteY1" fmla="*/ 3652228 h 4078111"/>
              <a:gd name="connsiteX2" fmla="*/ 4321786 w 9434022"/>
              <a:gd name="connsiteY2" fmla="*/ 2687724 h 4078111"/>
              <a:gd name="connsiteX3" fmla="*/ 4553517 w 9434022"/>
              <a:gd name="connsiteY3" fmla="*/ 2167894 h 4078111"/>
              <a:gd name="connsiteX4" fmla="*/ 4685041 w 9434022"/>
              <a:gd name="connsiteY4" fmla="*/ 1716957 h 4078111"/>
              <a:gd name="connsiteX5" fmla="*/ 5530548 w 9434022"/>
              <a:gd name="connsiteY5" fmla="*/ 545773 h 4078111"/>
              <a:gd name="connsiteX6" fmla="*/ 8085348 w 9434022"/>
              <a:gd name="connsiteY6" fmla="*/ 49844 h 4078111"/>
              <a:gd name="connsiteX7" fmla="*/ 9401090 w 9434022"/>
              <a:gd name="connsiteY7" fmla="*/ 1704431 h 4078111"/>
              <a:gd name="connsiteX8" fmla="*/ 8879025 w 9434022"/>
              <a:gd name="connsiteY8" fmla="*/ 2821038 h 4078111"/>
              <a:gd name="connsiteX9" fmla="*/ 7183983 w 9434022"/>
              <a:gd name="connsiteY9" fmla="*/ 3019664 h 4078111"/>
              <a:gd name="connsiteX10" fmla="*/ 6319687 w 9434022"/>
              <a:gd name="connsiteY10" fmla="*/ 2957033 h 4078111"/>
              <a:gd name="connsiteX11" fmla="*/ 5793594 w 9434022"/>
              <a:gd name="connsiteY11" fmla="*/ 2888140 h 4078111"/>
              <a:gd name="connsiteX12" fmla="*/ 4321786 w 9434022"/>
              <a:gd name="connsiteY12" fmla="*/ 2725302 h 4078111"/>
              <a:gd name="connsiteX13" fmla="*/ 4171474 w 9434022"/>
              <a:gd name="connsiteY13" fmla="*/ 2856825 h 4078111"/>
              <a:gd name="connsiteX14" fmla="*/ 4465835 w 9434022"/>
              <a:gd name="connsiteY14" fmla="*/ 2913192 h 4078111"/>
              <a:gd name="connsiteX15" fmla="*/ 3933479 w 9434022"/>
              <a:gd name="connsiteY15" fmla="*/ 2625094 h 4078111"/>
              <a:gd name="connsiteX0" fmla="*/ 0 w 9434022"/>
              <a:gd name="connsiteY0" fmla="*/ 4084740 h 4084740"/>
              <a:gd name="connsiteX1" fmla="*/ 2655824 w 9434022"/>
              <a:gd name="connsiteY1" fmla="*/ 3658857 h 4084740"/>
              <a:gd name="connsiteX2" fmla="*/ 4321786 w 9434022"/>
              <a:gd name="connsiteY2" fmla="*/ 2694353 h 4084740"/>
              <a:gd name="connsiteX3" fmla="*/ 4553517 w 9434022"/>
              <a:gd name="connsiteY3" fmla="*/ 2174523 h 4084740"/>
              <a:gd name="connsiteX4" fmla="*/ 5530548 w 9434022"/>
              <a:gd name="connsiteY4" fmla="*/ 552402 h 4084740"/>
              <a:gd name="connsiteX5" fmla="*/ 8085348 w 9434022"/>
              <a:gd name="connsiteY5" fmla="*/ 56473 h 4084740"/>
              <a:gd name="connsiteX6" fmla="*/ 9401090 w 9434022"/>
              <a:gd name="connsiteY6" fmla="*/ 1711060 h 4084740"/>
              <a:gd name="connsiteX7" fmla="*/ 8879025 w 9434022"/>
              <a:gd name="connsiteY7" fmla="*/ 2827667 h 4084740"/>
              <a:gd name="connsiteX8" fmla="*/ 7183983 w 9434022"/>
              <a:gd name="connsiteY8" fmla="*/ 3026293 h 4084740"/>
              <a:gd name="connsiteX9" fmla="*/ 6319687 w 9434022"/>
              <a:gd name="connsiteY9" fmla="*/ 2963662 h 4084740"/>
              <a:gd name="connsiteX10" fmla="*/ 5793594 w 9434022"/>
              <a:gd name="connsiteY10" fmla="*/ 2894769 h 4084740"/>
              <a:gd name="connsiteX11" fmla="*/ 4321786 w 9434022"/>
              <a:gd name="connsiteY11" fmla="*/ 2731931 h 4084740"/>
              <a:gd name="connsiteX12" fmla="*/ 4171474 w 9434022"/>
              <a:gd name="connsiteY12" fmla="*/ 2863454 h 4084740"/>
              <a:gd name="connsiteX13" fmla="*/ 4465835 w 9434022"/>
              <a:gd name="connsiteY13" fmla="*/ 2919821 h 4084740"/>
              <a:gd name="connsiteX14" fmla="*/ 3933479 w 9434022"/>
              <a:gd name="connsiteY14" fmla="*/ 2631723 h 4084740"/>
              <a:gd name="connsiteX0" fmla="*/ 0 w 9434022"/>
              <a:gd name="connsiteY0" fmla="*/ 4094373 h 4094373"/>
              <a:gd name="connsiteX1" fmla="*/ 2655824 w 9434022"/>
              <a:gd name="connsiteY1" fmla="*/ 3668490 h 4094373"/>
              <a:gd name="connsiteX2" fmla="*/ 4321786 w 9434022"/>
              <a:gd name="connsiteY2" fmla="*/ 2703986 h 4094373"/>
              <a:gd name="connsiteX3" fmla="*/ 5530548 w 9434022"/>
              <a:gd name="connsiteY3" fmla="*/ 562035 h 4094373"/>
              <a:gd name="connsiteX4" fmla="*/ 8085348 w 9434022"/>
              <a:gd name="connsiteY4" fmla="*/ 66106 h 4094373"/>
              <a:gd name="connsiteX5" fmla="*/ 9401090 w 9434022"/>
              <a:gd name="connsiteY5" fmla="*/ 1720693 h 4094373"/>
              <a:gd name="connsiteX6" fmla="*/ 8879025 w 9434022"/>
              <a:gd name="connsiteY6" fmla="*/ 2837300 h 4094373"/>
              <a:gd name="connsiteX7" fmla="*/ 7183983 w 9434022"/>
              <a:gd name="connsiteY7" fmla="*/ 3035926 h 4094373"/>
              <a:gd name="connsiteX8" fmla="*/ 6319687 w 9434022"/>
              <a:gd name="connsiteY8" fmla="*/ 2973295 h 4094373"/>
              <a:gd name="connsiteX9" fmla="*/ 5793594 w 9434022"/>
              <a:gd name="connsiteY9" fmla="*/ 2904402 h 4094373"/>
              <a:gd name="connsiteX10" fmla="*/ 4321786 w 9434022"/>
              <a:gd name="connsiteY10" fmla="*/ 2741564 h 4094373"/>
              <a:gd name="connsiteX11" fmla="*/ 4171474 w 9434022"/>
              <a:gd name="connsiteY11" fmla="*/ 2873087 h 4094373"/>
              <a:gd name="connsiteX12" fmla="*/ 4465835 w 9434022"/>
              <a:gd name="connsiteY12" fmla="*/ 2929454 h 4094373"/>
              <a:gd name="connsiteX13" fmla="*/ 3933479 w 9434022"/>
              <a:gd name="connsiteY13" fmla="*/ 2641356 h 4094373"/>
              <a:gd name="connsiteX0" fmla="*/ 0 w 9434022"/>
              <a:gd name="connsiteY0" fmla="*/ 4111633 h 4111633"/>
              <a:gd name="connsiteX1" fmla="*/ 2655824 w 9434022"/>
              <a:gd name="connsiteY1" fmla="*/ 3685750 h 4111633"/>
              <a:gd name="connsiteX2" fmla="*/ 4321786 w 9434022"/>
              <a:gd name="connsiteY2" fmla="*/ 2721246 h 4111633"/>
              <a:gd name="connsiteX3" fmla="*/ 5530548 w 9434022"/>
              <a:gd name="connsiteY3" fmla="*/ 579295 h 4111633"/>
              <a:gd name="connsiteX4" fmla="*/ 8085348 w 9434022"/>
              <a:gd name="connsiteY4" fmla="*/ 83366 h 4111633"/>
              <a:gd name="connsiteX5" fmla="*/ 9401090 w 9434022"/>
              <a:gd name="connsiteY5" fmla="*/ 1737953 h 4111633"/>
              <a:gd name="connsiteX6" fmla="*/ 8879025 w 9434022"/>
              <a:gd name="connsiteY6" fmla="*/ 2854560 h 4111633"/>
              <a:gd name="connsiteX7" fmla="*/ 7183983 w 9434022"/>
              <a:gd name="connsiteY7" fmla="*/ 3053186 h 4111633"/>
              <a:gd name="connsiteX8" fmla="*/ 6319687 w 9434022"/>
              <a:gd name="connsiteY8" fmla="*/ 2990555 h 4111633"/>
              <a:gd name="connsiteX9" fmla="*/ 5793594 w 9434022"/>
              <a:gd name="connsiteY9" fmla="*/ 2921662 h 4111633"/>
              <a:gd name="connsiteX10" fmla="*/ 4321786 w 9434022"/>
              <a:gd name="connsiteY10" fmla="*/ 2758824 h 4111633"/>
              <a:gd name="connsiteX11" fmla="*/ 4171474 w 9434022"/>
              <a:gd name="connsiteY11" fmla="*/ 2890347 h 4111633"/>
              <a:gd name="connsiteX12" fmla="*/ 4465835 w 9434022"/>
              <a:gd name="connsiteY12" fmla="*/ 2946714 h 4111633"/>
              <a:gd name="connsiteX13" fmla="*/ 3933479 w 9434022"/>
              <a:gd name="connsiteY13" fmla="*/ 2658616 h 4111633"/>
              <a:gd name="connsiteX0" fmla="*/ 0 w 9434022"/>
              <a:gd name="connsiteY0" fmla="*/ 4114443 h 4114443"/>
              <a:gd name="connsiteX1" fmla="*/ 2655824 w 9434022"/>
              <a:gd name="connsiteY1" fmla="*/ 3688560 h 4114443"/>
              <a:gd name="connsiteX2" fmla="*/ 4321786 w 9434022"/>
              <a:gd name="connsiteY2" fmla="*/ 2724056 h 4114443"/>
              <a:gd name="connsiteX3" fmla="*/ 5530548 w 9434022"/>
              <a:gd name="connsiteY3" fmla="*/ 582105 h 4114443"/>
              <a:gd name="connsiteX4" fmla="*/ 8085348 w 9434022"/>
              <a:gd name="connsiteY4" fmla="*/ 86176 h 4114443"/>
              <a:gd name="connsiteX5" fmla="*/ 9401090 w 9434022"/>
              <a:gd name="connsiteY5" fmla="*/ 1740763 h 4114443"/>
              <a:gd name="connsiteX6" fmla="*/ 8879025 w 9434022"/>
              <a:gd name="connsiteY6" fmla="*/ 2857370 h 4114443"/>
              <a:gd name="connsiteX7" fmla="*/ 7183983 w 9434022"/>
              <a:gd name="connsiteY7" fmla="*/ 3055996 h 4114443"/>
              <a:gd name="connsiteX8" fmla="*/ 6319687 w 9434022"/>
              <a:gd name="connsiteY8" fmla="*/ 2993365 h 4114443"/>
              <a:gd name="connsiteX9" fmla="*/ 5793594 w 9434022"/>
              <a:gd name="connsiteY9" fmla="*/ 2924472 h 4114443"/>
              <a:gd name="connsiteX10" fmla="*/ 4321786 w 9434022"/>
              <a:gd name="connsiteY10" fmla="*/ 2761634 h 4114443"/>
              <a:gd name="connsiteX11" fmla="*/ 4171474 w 9434022"/>
              <a:gd name="connsiteY11" fmla="*/ 2893157 h 4114443"/>
              <a:gd name="connsiteX12" fmla="*/ 4465835 w 9434022"/>
              <a:gd name="connsiteY12" fmla="*/ 2949524 h 4114443"/>
              <a:gd name="connsiteX13" fmla="*/ 3933479 w 9434022"/>
              <a:gd name="connsiteY13" fmla="*/ 2661426 h 4114443"/>
              <a:gd name="connsiteX0" fmla="*/ 0 w 9436146"/>
              <a:gd name="connsiteY0" fmla="*/ 4114443 h 4114443"/>
              <a:gd name="connsiteX1" fmla="*/ 2655824 w 9436146"/>
              <a:gd name="connsiteY1" fmla="*/ 3688560 h 4114443"/>
              <a:gd name="connsiteX2" fmla="*/ 4321786 w 9436146"/>
              <a:gd name="connsiteY2" fmla="*/ 2724056 h 4114443"/>
              <a:gd name="connsiteX3" fmla="*/ 5530548 w 9436146"/>
              <a:gd name="connsiteY3" fmla="*/ 582105 h 4114443"/>
              <a:gd name="connsiteX4" fmla="*/ 8085348 w 9436146"/>
              <a:gd name="connsiteY4" fmla="*/ 86176 h 4114443"/>
              <a:gd name="connsiteX5" fmla="*/ 9401090 w 9436146"/>
              <a:gd name="connsiteY5" fmla="*/ 1740763 h 4114443"/>
              <a:gd name="connsiteX6" fmla="*/ 7183983 w 9436146"/>
              <a:gd name="connsiteY6" fmla="*/ 3055996 h 4114443"/>
              <a:gd name="connsiteX7" fmla="*/ 6319687 w 9436146"/>
              <a:gd name="connsiteY7" fmla="*/ 2993365 h 4114443"/>
              <a:gd name="connsiteX8" fmla="*/ 5793594 w 9436146"/>
              <a:gd name="connsiteY8" fmla="*/ 2924472 h 4114443"/>
              <a:gd name="connsiteX9" fmla="*/ 4321786 w 9436146"/>
              <a:gd name="connsiteY9" fmla="*/ 2761634 h 4114443"/>
              <a:gd name="connsiteX10" fmla="*/ 4171474 w 9436146"/>
              <a:gd name="connsiteY10" fmla="*/ 2893157 h 4114443"/>
              <a:gd name="connsiteX11" fmla="*/ 4465835 w 9436146"/>
              <a:gd name="connsiteY11" fmla="*/ 2949524 h 4114443"/>
              <a:gd name="connsiteX12" fmla="*/ 3933479 w 9436146"/>
              <a:gd name="connsiteY12" fmla="*/ 2661426 h 4114443"/>
              <a:gd name="connsiteX0" fmla="*/ 0 w 9487927"/>
              <a:gd name="connsiteY0" fmla="*/ 4114443 h 4114443"/>
              <a:gd name="connsiteX1" fmla="*/ 2655824 w 9487927"/>
              <a:gd name="connsiteY1" fmla="*/ 3688560 h 4114443"/>
              <a:gd name="connsiteX2" fmla="*/ 4321786 w 9487927"/>
              <a:gd name="connsiteY2" fmla="*/ 2724056 h 4114443"/>
              <a:gd name="connsiteX3" fmla="*/ 5530548 w 9487927"/>
              <a:gd name="connsiteY3" fmla="*/ 582105 h 4114443"/>
              <a:gd name="connsiteX4" fmla="*/ 8085348 w 9487927"/>
              <a:gd name="connsiteY4" fmla="*/ 86176 h 4114443"/>
              <a:gd name="connsiteX5" fmla="*/ 9401090 w 9487927"/>
              <a:gd name="connsiteY5" fmla="*/ 1740763 h 4114443"/>
              <a:gd name="connsiteX6" fmla="*/ 6319687 w 9487927"/>
              <a:gd name="connsiteY6" fmla="*/ 2993365 h 4114443"/>
              <a:gd name="connsiteX7" fmla="*/ 5793594 w 9487927"/>
              <a:gd name="connsiteY7" fmla="*/ 2924472 h 4114443"/>
              <a:gd name="connsiteX8" fmla="*/ 4321786 w 9487927"/>
              <a:gd name="connsiteY8" fmla="*/ 2761634 h 4114443"/>
              <a:gd name="connsiteX9" fmla="*/ 4171474 w 9487927"/>
              <a:gd name="connsiteY9" fmla="*/ 2893157 h 4114443"/>
              <a:gd name="connsiteX10" fmla="*/ 4465835 w 9487927"/>
              <a:gd name="connsiteY10" fmla="*/ 2949524 h 4114443"/>
              <a:gd name="connsiteX11" fmla="*/ 3933479 w 9487927"/>
              <a:gd name="connsiteY11" fmla="*/ 2661426 h 4114443"/>
              <a:gd name="connsiteX0" fmla="*/ 0 w 9522079"/>
              <a:gd name="connsiteY0" fmla="*/ 4114443 h 4114443"/>
              <a:gd name="connsiteX1" fmla="*/ 2655824 w 9522079"/>
              <a:gd name="connsiteY1" fmla="*/ 3688560 h 4114443"/>
              <a:gd name="connsiteX2" fmla="*/ 4321786 w 9522079"/>
              <a:gd name="connsiteY2" fmla="*/ 2724056 h 4114443"/>
              <a:gd name="connsiteX3" fmla="*/ 5530548 w 9522079"/>
              <a:gd name="connsiteY3" fmla="*/ 582105 h 4114443"/>
              <a:gd name="connsiteX4" fmla="*/ 8085348 w 9522079"/>
              <a:gd name="connsiteY4" fmla="*/ 86176 h 4114443"/>
              <a:gd name="connsiteX5" fmla="*/ 9401090 w 9522079"/>
              <a:gd name="connsiteY5" fmla="*/ 1740763 h 4114443"/>
              <a:gd name="connsiteX6" fmla="*/ 5793594 w 9522079"/>
              <a:gd name="connsiteY6" fmla="*/ 2924472 h 4114443"/>
              <a:gd name="connsiteX7" fmla="*/ 4321786 w 9522079"/>
              <a:gd name="connsiteY7" fmla="*/ 2761634 h 4114443"/>
              <a:gd name="connsiteX8" fmla="*/ 4171474 w 9522079"/>
              <a:gd name="connsiteY8" fmla="*/ 2893157 h 4114443"/>
              <a:gd name="connsiteX9" fmla="*/ 4465835 w 9522079"/>
              <a:gd name="connsiteY9" fmla="*/ 2949524 h 4114443"/>
              <a:gd name="connsiteX10" fmla="*/ 3933479 w 9522079"/>
              <a:gd name="connsiteY10" fmla="*/ 2661426 h 4114443"/>
              <a:gd name="connsiteX0" fmla="*/ 0 w 9479057"/>
              <a:gd name="connsiteY0" fmla="*/ 4043405 h 4043405"/>
              <a:gd name="connsiteX1" fmla="*/ 2655824 w 9479057"/>
              <a:gd name="connsiteY1" fmla="*/ 3617522 h 4043405"/>
              <a:gd name="connsiteX2" fmla="*/ 4321786 w 9479057"/>
              <a:gd name="connsiteY2" fmla="*/ 2653018 h 4043405"/>
              <a:gd name="connsiteX3" fmla="*/ 5905675 w 9479057"/>
              <a:gd name="connsiteY3" fmla="*/ 951395 h 4043405"/>
              <a:gd name="connsiteX4" fmla="*/ 8085348 w 9479057"/>
              <a:gd name="connsiteY4" fmla="*/ 15138 h 4043405"/>
              <a:gd name="connsiteX5" fmla="*/ 9401090 w 9479057"/>
              <a:gd name="connsiteY5" fmla="*/ 1669725 h 4043405"/>
              <a:gd name="connsiteX6" fmla="*/ 5793594 w 9479057"/>
              <a:gd name="connsiteY6" fmla="*/ 2853434 h 4043405"/>
              <a:gd name="connsiteX7" fmla="*/ 4321786 w 9479057"/>
              <a:gd name="connsiteY7" fmla="*/ 2690596 h 4043405"/>
              <a:gd name="connsiteX8" fmla="*/ 4171474 w 9479057"/>
              <a:gd name="connsiteY8" fmla="*/ 2822119 h 4043405"/>
              <a:gd name="connsiteX9" fmla="*/ 4465835 w 9479057"/>
              <a:gd name="connsiteY9" fmla="*/ 2878486 h 4043405"/>
              <a:gd name="connsiteX10" fmla="*/ 3933479 w 9479057"/>
              <a:gd name="connsiteY10" fmla="*/ 2590388 h 4043405"/>
              <a:gd name="connsiteX0" fmla="*/ 0 w 9603591"/>
              <a:gd name="connsiteY0" fmla="*/ 4028628 h 4028628"/>
              <a:gd name="connsiteX1" fmla="*/ 2655824 w 9603591"/>
              <a:gd name="connsiteY1" fmla="*/ 3602745 h 4028628"/>
              <a:gd name="connsiteX2" fmla="*/ 4321786 w 9603591"/>
              <a:gd name="connsiteY2" fmla="*/ 2638241 h 4028628"/>
              <a:gd name="connsiteX3" fmla="*/ 5905675 w 9603591"/>
              <a:gd name="connsiteY3" fmla="*/ 936618 h 4028628"/>
              <a:gd name="connsiteX4" fmla="*/ 8085348 w 9603591"/>
              <a:gd name="connsiteY4" fmla="*/ 361 h 4028628"/>
              <a:gd name="connsiteX5" fmla="*/ 9401090 w 9603591"/>
              <a:gd name="connsiteY5" fmla="*/ 1654948 h 4028628"/>
              <a:gd name="connsiteX6" fmla="*/ 5793594 w 9603591"/>
              <a:gd name="connsiteY6" fmla="*/ 2838657 h 4028628"/>
              <a:gd name="connsiteX7" fmla="*/ 4321786 w 9603591"/>
              <a:gd name="connsiteY7" fmla="*/ 2675819 h 4028628"/>
              <a:gd name="connsiteX8" fmla="*/ 4171474 w 9603591"/>
              <a:gd name="connsiteY8" fmla="*/ 2807342 h 4028628"/>
              <a:gd name="connsiteX9" fmla="*/ 4465835 w 9603591"/>
              <a:gd name="connsiteY9" fmla="*/ 2863709 h 4028628"/>
              <a:gd name="connsiteX10" fmla="*/ 3933479 w 9603591"/>
              <a:gd name="connsiteY10" fmla="*/ 2575611 h 4028628"/>
              <a:gd name="connsiteX0" fmla="*/ 0 w 9602407"/>
              <a:gd name="connsiteY0" fmla="*/ 4039392 h 4039392"/>
              <a:gd name="connsiteX1" fmla="*/ 2655824 w 9602407"/>
              <a:gd name="connsiteY1" fmla="*/ 3613509 h 4039392"/>
              <a:gd name="connsiteX2" fmla="*/ 4321786 w 9602407"/>
              <a:gd name="connsiteY2" fmla="*/ 2649005 h 4039392"/>
              <a:gd name="connsiteX3" fmla="*/ 5905675 w 9602407"/>
              <a:gd name="connsiteY3" fmla="*/ 947382 h 4039392"/>
              <a:gd name="connsiteX4" fmla="*/ 8085348 w 9602407"/>
              <a:gd name="connsiteY4" fmla="*/ 11125 h 4039392"/>
              <a:gd name="connsiteX5" fmla="*/ 9401090 w 9602407"/>
              <a:gd name="connsiteY5" fmla="*/ 1665712 h 4039392"/>
              <a:gd name="connsiteX6" fmla="*/ 5793594 w 9602407"/>
              <a:gd name="connsiteY6" fmla="*/ 2849421 h 4039392"/>
              <a:gd name="connsiteX7" fmla="*/ 4321786 w 9602407"/>
              <a:gd name="connsiteY7" fmla="*/ 2686583 h 4039392"/>
              <a:gd name="connsiteX8" fmla="*/ 4171474 w 9602407"/>
              <a:gd name="connsiteY8" fmla="*/ 2818106 h 4039392"/>
              <a:gd name="connsiteX9" fmla="*/ 4465835 w 9602407"/>
              <a:gd name="connsiteY9" fmla="*/ 2874473 h 4039392"/>
              <a:gd name="connsiteX10" fmla="*/ 3933479 w 9602407"/>
              <a:gd name="connsiteY10" fmla="*/ 2586375 h 4039392"/>
              <a:gd name="connsiteX0" fmla="*/ 0 w 9656300"/>
              <a:gd name="connsiteY0" fmla="*/ 4038473 h 4038473"/>
              <a:gd name="connsiteX1" fmla="*/ 2655824 w 9656300"/>
              <a:gd name="connsiteY1" fmla="*/ 3612590 h 4038473"/>
              <a:gd name="connsiteX2" fmla="*/ 4321786 w 9656300"/>
              <a:gd name="connsiteY2" fmla="*/ 2648086 h 4038473"/>
              <a:gd name="connsiteX3" fmla="*/ 5905675 w 9656300"/>
              <a:gd name="connsiteY3" fmla="*/ 946463 h 4038473"/>
              <a:gd name="connsiteX4" fmla="*/ 8085348 w 9656300"/>
              <a:gd name="connsiteY4" fmla="*/ 10206 h 4038473"/>
              <a:gd name="connsiteX5" fmla="*/ 9401090 w 9656300"/>
              <a:gd name="connsiteY5" fmla="*/ 1664793 h 4038473"/>
              <a:gd name="connsiteX6" fmla="*/ 5793594 w 9656300"/>
              <a:gd name="connsiteY6" fmla="*/ 2848502 h 4038473"/>
              <a:gd name="connsiteX7" fmla="*/ 4321786 w 9656300"/>
              <a:gd name="connsiteY7" fmla="*/ 2685664 h 4038473"/>
              <a:gd name="connsiteX8" fmla="*/ 4171474 w 9656300"/>
              <a:gd name="connsiteY8" fmla="*/ 2817187 h 4038473"/>
              <a:gd name="connsiteX9" fmla="*/ 4465835 w 9656300"/>
              <a:gd name="connsiteY9" fmla="*/ 2873554 h 4038473"/>
              <a:gd name="connsiteX10" fmla="*/ 3933479 w 9656300"/>
              <a:gd name="connsiteY10" fmla="*/ 2585456 h 4038473"/>
              <a:gd name="connsiteX0" fmla="*/ 0 w 9560122"/>
              <a:gd name="connsiteY0" fmla="*/ 4039269 h 4039269"/>
              <a:gd name="connsiteX1" fmla="*/ 2655824 w 9560122"/>
              <a:gd name="connsiteY1" fmla="*/ 3613386 h 4039269"/>
              <a:gd name="connsiteX2" fmla="*/ 4321786 w 9560122"/>
              <a:gd name="connsiteY2" fmla="*/ 2648882 h 4039269"/>
              <a:gd name="connsiteX3" fmla="*/ 5905675 w 9560122"/>
              <a:gd name="connsiteY3" fmla="*/ 947259 h 4039269"/>
              <a:gd name="connsiteX4" fmla="*/ 8085348 w 9560122"/>
              <a:gd name="connsiteY4" fmla="*/ 11002 h 4039269"/>
              <a:gd name="connsiteX5" fmla="*/ 9401090 w 9560122"/>
              <a:gd name="connsiteY5" fmla="*/ 1665589 h 4039269"/>
              <a:gd name="connsiteX6" fmla="*/ 6365664 w 9560122"/>
              <a:gd name="connsiteY6" fmla="*/ 2749602 h 4039269"/>
              <a:gd name="connsiteX7" fmla="*/ 4321786 w 9560122"/>
              <a:gd name="connsiteY7" fmla="*/ 2686460 h 4039269"/>
              <a:gd name="connsiteX8" fmla="*/ 4171474 w 9560122"/>
              <a:gd name="connsiteY8" fmla="*/ 2817983 h 4039269"/>
              <a:gd name="connsiteX9" fmla="*/ 4465835 w 9560122"/>
              <a:gd name="connsiteY9" fmla="*/ 2874350 h 4039269"/>
              <a:gd name="connsiteX10" fmla="*/ 3933479 w 9560122"/>
              <a:gd name="connsiteY10" fmla="*/ 2586252 h 4039269"/>
              <a:gd name="connsiteX0" fmla="*/ 0 w 9560122"/>
              <a:gd name="connsiteY0" fmla="*/ 4039269 h 4039269"/>
              <a:gd name="connsiteX1" fmla="*/ 2655824 w 9560122"/>
              <a:gd name="connsiteY1" fmla="*/ 3613386 h 4039269"/>
              <a:gd name="connsiteX2" fmla="*/ 4321786 w 9560122"/>
              <a:gd name="connsiteY2" fmla="*/ 2648882 h 4039269"/>
              <a:gd name="connsiteX3" fmla="*/ 5905675 w 9560122"/>
              <a:gd name="connsiteY3" fmla="*/ 947259 h 4039269"/>
              <a:gd name="connsiteX4" fmla="*/ 8085348 w 9560122"/>
              <a:gd name="connsiteY4" fmla="*/ 11002 h 4039269"/>
              <a:gd name="connsiteX5" fmla="*/ 9401090 w 9560122"/>
              <a:gd name="connsiteY5" fmla="*/ 1665589 h 4039269"/>
              <a:gd name="connsiteX6" fmla="*/ 6365664 w 9560122"/>
              <a:gd name="connsiteY6" fmla="*/ 2749602 h 4039269"/>
              <a:gd name="connsiteX7" fmla="*/ 4321786 w 9560122"/>
              <a:gd name="connsiteY7" fmla="*/ 2686460 h 4039269"/>
              <a:gd name="connsiteX8" fmla="*/ 4171474 w 9560122"/>
              <a:gd name="connsiteY8" fmla="*/ 2817983 h 4039269"/>
              <a:gd name="connsiteX9" fmla="*/ 4465835 w 9560122"/>
              <a:gd name="connsiteY9" fmla="*/ 2874350 h 4039269"/>
              <a:gd name="connsiteX10" fmla="*/ 3933479 w 9560122"/>
              <a:gd name="connsiteY10" fmla="*/ 2586252 h 4039269"/>
              <a:gd name="connsiteX0" fmla="*/ 0 w 9586218"/>
              <a:gd name="connsiteY0" fmla="*/ 4038961 h 4038961"/>
              <a:gd name="connsiteX1" fmla="*/ 2655824 w 9586218"/>
              <a:gd name="connsiteY1" fmla="*/ 3613078 h 4038961"/>
              <a:gd name="connsiteX2" fmla="*/ 4321786 w 9586218"/>
              <a:gd name="connsiteY2" fmla="*/ 2648574 h 4038961"/>
              <a:gd name="connsiteX3" fmla="*/ 5905675 w 9586218"/>
              <a:gd name="connsiteY3" fmla="*/ 946951 h 4038961"/>
              <a:gd name="connsiteX4" fmla="*/ 8085348 w 9586218"/>
              <a:gd name="connsiteY4" fmla="*/ 10694 h 4038961"/>
              <a:gd name="connsiteX5" fmla="*/ 9401090 w 9586218"/>
              <a:gd name="connsiteY5" fmla="*/ 1665281 h 4038961"/>
              <a:gd name="connsiteX6" fmla="*/ 6365664 w 9586218"/>
              <a:gd name="connsiteY6" fmla="*/ 2749294 h 4038961"/>
              <a:gd name="connsiteX7" fmla="*/ 4321786 w 9586218"/>
              <a:gd name="connsiteY7" fmla="*/ 2686152 h 4038961"/>
              <a:gd name="connsiteX8" fmla="*/ 4171474 w 9586218"/>
              <a:gd name="connsiteY8" fmla="*/ 2817675 h 4038961"/>
              <a:gd name="connsiteX9" fmla="*/ 4465835 w 9586218"/>
              <a:gd name="connsiteY9" fmla="*/ 2874042 h 4038961"/>
              <a:gd name="connsiteX10" fmla="*/ 3933479 w 9586218"/>
              <a:gd name="connsiteY10" fmla="*/ 2585944 h 4038961"/>
              <a:gd name="connsiteX0" fmla="*/ 0 w 9669443"/>
              <a:gd name="connsiteY0" fmla="*/ 4041204 h 4041204"/>
              <a:gd name="connsiteX1" fmla="*/ 2655824 w 9669443"/>
              <a:gd name="connsiteY1" fmla="*/ 3615321 h 4041204"/>
              <a:gd name="connsiteX2" fmla="*/ 4321786 w 9669443"/>
              <a:gd name="connsiteY2" fmla="*/ 2650817 h 4041204"/>
              <a:gd name="connsiteX3" fmla="*/ 5905675 w 9669443"/>
              <a:gd name="connsiteY3" fmla="*/ 949194 h 4041204"/>
              <a:gd name="connsiteX4" fmla="*/ 8085348 w 9669443"/>
              <a:gd name="connsiteY4" fmla="*/ 12937 h 4041204"/>
              <a:gd name="connsiteX5" fmla="*/ 9401090 w 9669443"/>
              <a:gd name="connsiteY5" fmla="*/ 1667524 h 4041204"/>
              <a:gd name="connsiteX6" fmla="*/ 6365664 w 9669443"/>
              <a:gd name="connsiteY6" fmla="*/ 2751537 h 4041204"/>
              <a:gd name="connsiteX7" fmla="*/ 4321786 w 9669443"/>
              <a:gd name="connsiteY7" fmla="*/ 2688395 h 4041204"/>
              <a:gd name="connsiteX8" fmla="*/ 4171474 w 9669443"/>
              <a:gd name="connsiteY8" fmla="*/ 2819918 h 4041204"/>
              <a:gd name="connsiteX9" fmla="*/ 4465835 w 9669443"/>
              <a:gd name="connsiteY9" fmla="*/ 2876285 h 4041204"/>
              <a:gd name="connsiteX10" fmla="*/ 3933479 w 9669443"/>
              <a:gd name="connsiteY10" fmla="*/ 2588187 h 4041204"/>
              <a:gd name="connsiteX0" fmla="*/ 0 w 7013619"/>
              <a:gd name="connsiteY0" fmla="*/ 3615321 h 3615322"/>
              <a:gd name="connsiteX1" fmla="*/ 1665962 w 7013619"/>
              <a:gd name="connsiteY1" fmla="*/ 2650817 h 3615322"/>
              <a:gd name="connsiteX2" fmla="*/ 3249851 w 7013619"/>
              <a:gd name="connsiteY2" fmla="*/ 949194 h 3615322"/>
              <a:gd name="connsiteX3" fmla="*/ 5429524 w 7013619"/>
              <a:gd name="connsiteY3" fmla="*/ 12937 h 3615322"/>
              <a:gd name="connsiteX4" fmla="*/ 6745266 w 7013619"/>
              <a:gd name="connsiteY4" fmla="*/ 1667524 h 3615322"/>
              <a:gd name="connsiteX5" fmla="*/ 3709840 w 7013619"/>
              <a:gd name="connsiteY5" fmla="*/ 2751537 h 3615322"/>
              <a:gd name="connsiteX6" fmla="*/ 1665962 w 7013619"/>
              <a:gd name="connsiteY6" fmla="*/ 2688395 h 3615322"/>
              <a:gd name="connsiteX7" fmla="*/ 1515650 w 7013619"/>
              <a:gd name="connsiteY7" fmla="*/ 2819918 h 3615322"/>
              <a:gd name="connsiteX8" fmla="*/ 1810011 w 7013619"/>
              <a:gd name="connsiteY8" fmla="*/ 2876285 h 3615322"/>
              <a:gd name="connsiteX9" fmla="*/ 1277655 w 7013619"/>
              <a:gd name="connsiteY9" fmla="*/ 2588187 h 3615322"/>
              <a:gd name="connsiteX0" fmla="*/ 388307 w 5735964"/>
              <a:gd name="connsiteY0" fmla="*/ 2650817 h 2894524"/>
              <a:gd name="connsiteX1" fmla="*/ 1972196 w 5735964"/>
              <a:gd name="connsiteY1" fmla="*/ 949194 h 2894524"/>
              <a:gd name="connsiteX2" fmla="*/ 4151869 w 5735964"/>
              <a:gd name="connsiteY2" fmla="*/ 12937 h 2894524"/>
              <a:gd name="connsiteX3" fmla="*/ 5467611 w 5735964"/>
              <a:gd name="connsiteY3" fmla="*/ 1667524 h 2894524"/>
              <a:gd name="connsiteX4" fmla="*/ 2432185 w 5735964"/>
              <a:gd name="connsiteY4" fmla="*/ 2751537 h 2894524"/>
              <a:gd name="connsiteX5" fmla="*/ 388307 w 5735964"/>
              <a:gd name="connsiteY5" fmla="*/ 2688395 h 2894524"/>
              <a:gd name="connsiteX6" fmla="*/ 237995 w 5735964"/>
              <a:gd name="connsiteY6" fmla="*/ 2819918 h 2894524"/>
              <a:gd name="connsiteX7" fmla="*/ 532356 w 5735964"/>
              <a:gd name="connsiteY7" fmla="*/ 2876285 h 2894524"/>
              <a:gd name="connsiteX8" fmla="*/ 0 w 5735964"/>
              <a:gd name="connsiteY8" fmla="*/ 2588187 h 2894524"/>
              <a:gd name="connsiteX0" fmla="*/ 221690 w 5569347"/>
              <a:gd name="connsiteY0" fmla="*/ 2650817 h 2894524"/>
              <a:gd name="connsiteX1" fmla="*/ 1805579 w 5569347"/>
              <a:gd name="connsiteY1" fmla="*/ 949194 h 2894524"/>
              <a:gd name="connsiteX2" fmla="*/ 3985252 w 5569347"/>
              <a:gd name="connsiteY2" fmla="*/ 12937 h 2894524"/>
              <a:gd name="connsiteX3" fmla="*/ 5300994 w 5569347"/>
              <a:gd name="connsiteY3" fmla="*/ 1667524 h 2894524"/>
              <a:gd name="connsiteX4" fmla="*/ 2265568 w 5569347"/>
              <a:gd name="connsiteY4" fmla="*/ 2751537 h 2894524"/>
              <a:gd name="connsiteX5" fmla="*/ 221690 w 5569347"/>
              <a:gd name="connsiteY5" fmla="*/ 2688395 h 2894524"/>
              <a:gd name="connsiteX6" fmla="*/ 71378 w 5569347"/>
              <a:gd name="connsiteY6" fmla="*/ 2819918 h 2894524"/>
              <a:gd name="connsiteX7" fmla="*/ 365739 w 5569347"/>
              <a:gd name="connsiteY7" fmla="*/ 2876285 h 2894524"/>
              <a:gd name="connsiteX0" fmla="*/ 1805579 w 5569347"/>
              <a:gd name="connsiteY0" fmla="*/ 949194 h 2894524"/>
              <a:gd name="connsiteX1" fmla="*/ 3985252 w 5569347"/>
              <a:gd name="connsiteY1" fmla="*/ 12937 h 2894524"/>
              <a:gd name="connsiteX2" fmla="*/ 5300994 w 5569347"/>
              <a:gd name="connsiteY2" fmla="*/ 1667524 h 2894524"/>
              <a:gd name="connsiteX3" fmla="*/ 2265568 w 5569347"/>
              <a:gd name="connsiteY3" fmla="*/ 2751537 h 2894524"/>
              <a:gd name="connsiteX4" fmla="*/ 221690 w 5569347"/>
              <a:gd name="connsiteY4" fmla="*/ 2688395 h 2894524"/>
              <a:gd name="connsiteX5" fmla="*/ 71378 w 5569347"/>
              <a:gd name="connsiteY5" fmla="*/ 2819918 h 2894524"/>
              <a:gd name="connsiteX6" fmla="*/ 365739 w 5569347"/>
              <a:gd name="connsiteY6" fmla="*/ 2876285 h 2894524"/>
              <a:gd name="connsiteX0" fmla="*/ 1826640 w 5590408"/>
              <a:gd name="connsiteY0" fmla="*/ 949194 h 2893201"/>
              <a:gd name="connsiteX1" fmla="*/ 4006313 w 5590408"/>
              <a:gd name="connsiteY1" fmla="*/ 12937 h 2893201"/>
              <a:gd name="connsiteX2" fmla="*/ 5322055 w 5590408"/>
              <a:gd name="connsiteY2" fmla="*/ 1667524 h 2893201"/>
              <a:gd name="connsiteX3" fmla="*/ 2286629 w 5590408"/>
              <a:gd name="connsiteY3" fmla="*/ 2751537 h 2893201"/>
              <a:gd name="connsiteX4" fmla="*/ 92439 w 5590408"/>
              <a:gd name="connsiteY4" fmla="*/ 2819918 h 2893201"/>
              <a:gd name="connsiteX5" fmla="*/ 386800 w 5590408"/>
              <a:gd name="connsiteY5" fmla="*/ 2876285 h 2893201"/>
              <a:gd name="connsiteX0" fmla="*/ 1886051 w 5649819"/>
              <a:gd name="connsiteY0" fmla="*/ 949194 h 2893201"/>
              <a:gd name="connsiteX1" fmla="*/ 4065724 w 5649819"/>
              <a:gd name="connsiteY1" fmla="*/ 12937 h 2893201"/>
              <a:gd name="connsiteX2" fmla="*/ 5381466 w 5649819"/>
              <a:gd name="connsiteY2" fmla="*/ 1667524 h 2893201"/>
              <a:gd name="connsiteX3" fmla="*/ 2346040 w 5649819"/>
              <a:gd name="connsiteY3" fmla="*/ 2751537 h 2893201"/>
              <a:gd name="connsiteX4" fmla="*/ 181802 w 5649819"/>
              <a:gd name="connsiteY4" fmla="*/ 2817369 h 2893201"/>
              <a:gd name="connsiteX5" fmla="*/ 151850 w 5649819"/>
              <a:gd name="connsiteY5" fmla="*/ 2819918 h 2893201"/>
              <a:gd name="connsiteX6" fmla="*/ 446211 w 5649819"/>
              <a:gd name="connsiteY6" fmla="*/ 2876285 h 2893201"/>
              <a:gd name="connsiteX0" fmla="*/ 1886052 w 5649820"/>
              <a:gd name="connsiteY0" fmla="*/ 949194 h 2854351"/>
              <a:gd name="connsiteX1" fmla="*/ 4065725 w 5649820"/>
              <a:gd name="connsiteY1" fmla="*/ 12937 h 2854351"/>
              <a:gd name="connsiteX2" fmla="*/ 5381467 w 5649820"/>
              <a:gd name="connsiteY2" fmla="*/ 1667524 h 2854351"/>
              <a:gd name="connsiteX3" fmla="*/ 2346041 w 5649820"/>
              <a:gd name="connsiteY3" fmla="*/ 2751537 h 2854351"/>
              <a:gd name="connsiteX4" fmla="*/ 181803 w 5649820"/>
              <a:gd name="connsiteY4" fmla="*/ 2817369 h 2854351"/>
              <a:gd name="connsiteX5" fmla="*/ 151851 w 5649820"/>
              <a:gd name="connsiteY5" fmla="*/ 2819918 h 2854351"/>
              <a:gd name="connsiteX0" fmla="*/ 1704249 w 5468017"/>
              <a:gd name="connsiteY0" fmla="*/ 949194 h 2854352"/>
              <a:gd name="connsiteX1" fmla="*/ 3883922 w 5468017"/>
              <a:gd name="connsiteY1" fmla="*/ 12937 h 2854352"/>
              <a:gd name="connsiteX2" fmla="*/ 5199664 w 5468017"/>
              <a:gd name="connsiteY2" fmla="*/ 1667524 h 2854352"/>
              <a:gd name="connsiteX3" fmla="*/ 2164238 w 5468017"/>
              <a:gd name="connsiteY3" fmla="*/ 2751537 h 2854352"/>
              <a:gd name="connsiteX4" fmla="*/ 0 w 5468017"/>
              <a:gd name="connsiteY4" fmla="*/ 2817369 h 2854352"/>
              <a:gd name="connsiteX0" fmla="*/ 0 w 3763768"/>
              <a:gd name="connsiteY0" fmla="*/ 949194 h 2751537"/>
              <a:gd name="connsiteX1" fmla="*/ 2179673 w 3763768"/>
              <a:gd name="connsiteY1" fmla="*/ 12937 h 2751537"/>
              <a:gd name="connsiteX2" fmla="*/ 3495415 w 3763768"/>
              <a:gd name="connsiteY2" fmla="*/ 1667524 h 2751537"/>
              <a:gd name="connsiteX3" fmla="*/ 459989 w 3763768"/>
              <a:gd name="connsiteY3" fmla="*/ 2751537 h 2751537"/>
              <a:gd name="connsiteX0" fmla="*/ 0 w 3763768"/>
              <a:gd name="connsiteY0" fmla="*/ 949194 h 1667524"/>
              <a:gd name="connsiteX1" fmla="*/ 2179673 w 3763768"/>
              <a:gd name="connsiteY1" fmla="*/ 12937 h 1667524"/>
              <a:gd name="connsiteX2" fmla="*/ 3495415 w 3763768"/>
              <a:gd name="connsiteY2" fmla="*/ 1667524 h 1667524"/>
              <a:gd name="connsiteX0" fmla="*/ 0 w 3495415"/>
              <a:gd name="connsiteY0" fmla="*/ 1046589 h 1764919"/>
              <a:gd name="connsiteX1" fmla="*/ 2179673 w 3495415"/>
              <a:gd name="connsiteY1" fmla="*/ 110332 h 1764919"/>
              <a:gd name="connsiteX2" fmla="*/ 3156703 w 3495415"/>
              <a:gd name="connsiteY2" fmla="*/ 203081 h 1764919"/>
              <a:gd name="connsiteX3" fmla="*/ 3495415 w 3495415"/>
              <a:gd name="connsiteY3" fmla="*/ 1764919 h 1764919"/>
              <a:gd name="connsiteX0" fmla="*/ 0 w 3495415"/>
              <a:gd name="connsiteY0" fmla="*/ 855835 h 1574165"/>
              <a:gd name="connsiteX1" fmla="*/ 3156703 w 3495415"/>
              <a:gd name="connsiteY1" fmla="*/ 12327 h 1574165"/>
              <a:gd name="connsiteX2" fmla="*/ 3495415 w 3495415"/>
              <a:gd name="connsiteY2" fmla="*/ 1574165 h 1574165"/>
              <a:gd name="connsiteX0" fmla="*/ -1 w 338711"/>
              <a:gd name="connsiteY0" fmla="*/ 0 h 1561838"/>
              <a:gd name="connsiteX1" fmla="*/ 338711 w 338711"/>
              <a:gd name="connsiteY1" fmla="*/ 1561838 h 1561838"/>
              <a:gd name="connsiteX0" fmla="*/ -1 w 546970"/>
              <a:gd name="connsiteY0" fmla="*/ 0 h 1561838"/>
              <a:gd name="connsiteX1" fmla="*/ 338711 w 546970"/>
              <a:gd name="connsiteY1" fmla="*/ 1561838 h 1561838"/>
              <a:gd name="connsiteX0" fmla="*/ -1 w 620599"/>
              <a:gd name="connsiteY0" fmla="*/ 0 h 1561838"/>
              <a:gd name="connsiteX1" fmla="*/ 338711 w 620599"/>
              <a:gd name="connsiteY1" fmla="*/ 1561838 h 1561838"/>
              <a:gd name="connsiteX0" fmla="*/ -1 w 586256"/>
              <a:gd name="connsiteY0" fmla="*/ 0 h 1528016"/>
              <a:gd name="connsiteX1" fmla="*/ 257948 w 586256"/>
              <a:gd name="connsiteY1" fmla="*/ 1528016 h 1528016"/>
              <a:gd name="connsiteX0" fmla="*/ -1 w 526885"/>
              <a:gd name="connsiteY0" fmla="*/ 0 h 1528016"/>
              <a:gd name="connsiteX1" fmla="*/ 257948 w 526885"/>
              <a:gd name="connsiteY1" fmla="*/ 1528016 h 1528016"/>
              <a:gd name="connsiteX0" fmla="*/ 860112 w 1127111"/>
              <a:gd name="connsiteY0" fmla="*/ 0 h 2187743"/>
              <a:gd name="connsiteX1" fmla="*/ 0 w 1127111"/>
              <a:gd name="connsiteY1" fmla="*/ 2187743 h 2187743"/>
              <a:gd name="connsiteX0" fmla="*/ 860112 w 1318238"/>
              <a:gd name="connsiteY0" fmla="*/ 0 h 2187743"/>
              <a:gd name="connsiteX1" fmla="*/ 0 w 1318238"/>
              <a:gd name="connsiteY1" fmla="*/ 2187743 h 2187743"/>
              <a:gd name="connsiteX0" fmla="*/ 860112 w 1331757"/>
              <a:gd name="connsiteY0" fmla="*/ 0 h 2187743"/>
              <a:gd name="connsiteX1" fmla="*/ 0 w 1331757"/>
              <a:gd name="connsiteY1" fmla="*/ 2187743 h 2187743"/>
            </a:gdLst>
            <a:ahLst/>
            <a:cxnLst>
              <a:cxn ang="0">
                <a:pos x="connsiteX0" y="connsiteY0"/>
              </a:cxn>
              <a:cxn ang="0">
                <a:pos x="connsiteX1" y="connsiteY1"/>
              </a:cxn>
            </a:cxnLst>
            <a:rect l="l" t="t" r="r" b="b"/>
            <a:pathLst>
              <a:path w="1331757" h="2187743">
                <a:moveTo>
                  <a:pt x="860112" y="0"/>
                </a:moveTo>
                <a:cubicBezTo>
                  <a:pt x="1742309" y="412894"/>
                  <a:pt x="1348407" y="1680846"/>
                  <a:pt x="0" y="2187743"/>
                </a:cubicBezTo>
              </a:path>
            </a:pathLst>
          </a:custGeom>
          <a:noFill/>
          <a:ln w="762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Freihandform 25"/>
          <p:cNvSpPr/>
          <p:nvPr/>
        </p:nvSpPr>
        <p:spPr>
          <a:xfrm rot="20983708">
            <a:off x="5639214" y="2653833"/>
            <a:ext cx="576860" cy="1239170"/>
          </a:xfrm>
          <a:custGeom>
            <a:avLst/>
            <a:gdLst>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3162822 w 7780257"/>
              <a:gd name="connsiteY34" fmla="*/ 2787041 h 3757808"/>
              <a:gd name="connsiteX35" fmla="*/ 2699359 w 7780257"/>
              <a:gd name="connsiteY35" fmla="*/ 2812093 h 3757808"/>
              <a:gd name="connsiteX36" fmla="*/ 2661781 w 7780257"/>
              <a:gd name="connsiteY36" fmla="*/ 2830882 h 3757808"/>
              <a:gd name="connsiteX37" fmla="*/ 2642992 w 7780257"/>
              <a:gd name="connsiteY37" fmla="*/ 2855934 h 3757808"/>
              <a:gd name="connsiteX38" fmla="*/ 2649255 w 7780257"/>
              <a:gd name="connsiteY38" fmla="*/ 2968668 h 3757808"/>
              <a:gd name="connsiteX39" fmla="*/ 2743200 w 7780257"/>
              <a:gd name="connsiteY39" fmla="*/ 2931090 h 3757808"/>
              <a:gd name="connsiteX40" fmla="*/ 2686833 w 7780257"/>
              <a:gd name="connsiteY40" fmla="*/ 2824619 h 3757808"/>
              <a:gd name="connsiteX41" fmla="*/ 2636729 w 7780257"/>
              <a:gd name="connsiteY41" fmla="*/ 2812093 h 3757808"/>
              <a:gd name="connsiteX42" fmla="*/ 2542784 w 7780257"/>
              <a:gd name="connsiteY42" fmla="*/ 2855934 h 3757808"/>
              <a:gd name="connsiteX43" fmla="*/ 2730674 w 7780257"/>
              <a:gd name="connsiteY43" fmla="*/ 2874723 h 3757808"/>
              <a:gd name="connsiteX44" fmla="*/ 2780778 w 7780257"/>
              <a:gd name="connsiteY44" fmla="*/ 2887249 h 3757808"/>
              <a:gd name="connsiteX45" fmla="*/ 2874723 w 7780257"/>
              <a:gd name="connsiteY45" fmla="*/ 2937353 h 3757808"/>
              <a:gd name="connsiteX46" fmla="*/ 2931090 w 7780257"/>
              <a:gd name="connsiteY46" fmla="*/ 3018772 h 3757808"/>
              <a:gd name="connsiteX47" fmla="*/ 2931090 w 7780257"/>
              <a:gd name="connsiteY47" fmla="*/ 3018772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3162822 w 7780257"/>
              <a:gd name="connsiteY34" fmla="*/ 2787041 h 3757808"/>
              <a:gd name="connsiteX35" fmla="*/ 2699359 w 7780257"/>
              <a:gd name="connsiteY35" fmla="*/ 2812093 h 3757808"/>
              <a:gd name="connsiteX36" fmla="*/ 2661781 w 7780257"/>
              <a:gd name="connsiteY36" fmla="*/ 2830882 h 3757808"/>
              <a:gd name="connsiteX37" fmla="*/ 2649255 w 7780257"/>
              <a:gd name="connsiteY37" fmla="*/ 2968668 h 3757808"/>
              <a:gd name="connsiteX38" fmla="*/ 2743200 w 7780257"/>
              <a:gd name="connsiteY38" fmla="*/ 2931090 h 3757808"/>
              <a:gd name="connsiteX39" fmla="*/ 2686833 w 7780257"/>
              <a:gd name="connsiteY39" fmla="*/ 2824619 h 3757808"/>
              <a:gd name="connsiteX40" fmla="*/ 2636729 w 7780257"/>
              <a:gd name="connsiteY40" fmla="*/ 2812093 h 3757808"/>
              <a:gd name="connsiteX41" fmla="*/ 2542784 w 7780257"/>
              <a:gd name="connsiteY41" fmla="*/ 2855934 h 3757808"/>
              <a:gd name="connsiteX42" fmla="*/ 2730674 w 7780257"/>
              <a:gd name="connsiteY42" fmla="*/ 2874723 h 3757808"/>
              <a:gd name="connsiteX43" fmla="*/ 2780778 w 7780257"/>
              <a:gd name="connsiteY43" fmla="*/ 2887249 h 3757808"/>
              <a:gd name="connsiteX44" fmla="*/ 2874723 w 7780257"/>
              <a:gd name="connsiteY44" fmla="*/ 2937353 h 3757808"/>
              <a:gd name="connsiteX45" fmla="*/ 2931090 w 7780257"/>
              <a:gd name="connsiteY45" fmla="*/ 3018772 h 3757808"/>
              <a:gd name="connsiteX46" fmla="*/ 2931090 w 7780257"/>
              <a:gd name="connsiteY46" fmla="*/ 3018772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3162822 w 7780257"/>
              <a:gd name="connsiteY34" fmla="*/ 2787041 h 3757808"/>
              <a:gd name="connsiteX35" fmla="*/ 2699359 w 7780257"/>
              <a:gd name="connsiteY35" fmla="*/ 2812093 h 3757808"/>
              <a:gd name="connsiteX36" fmla="*/ 2661781 w 7780257"/>
              <a:gd name="connsiteY36" fmla="*/ 2830882 h 3757808"/>
              <a:gd name="connsiteX37" fmla="*/ 2649255 w 7780257"/>
              <a:gd name="connsiteY37" fmla="*/ 2968668 h 3757808"/>
              <a:gd name="connsiteX38" fmla="*/ 2743200 w 7780257"/>
              <a:gd name="connsiteY38" fmla="*/ 2931090 h 3757808"/>
              <a:gd name="connsiteX39" fmla="*/ 2636729 w 7780257"/>
              <a:gd name="connsiteY39" fmla="*/ 2812093 h 3757808"/>
              <a:gd name="connsiteX40" fmla="*/ 2542784 w 7780257"/>
              <a:gd name="connsiteY40" fmla="*/ 2855934 h 3757808"/>
              <a:gd name="connsiteX41" fmla="*/ 2730674 w 7780257"/>
              <a:gd name="connsiteY41" fmla="*/ 2874723 h 3757808"/>
              <a:gd name="connsiteX42" fmla="*/ 2780778 w 7780257"/>
              <a:gd name="connsiteY42" fmla="*/ 2887249 h 3757808"/>
              <a:gd name="connsiteX43" fmla="*/ 2874723 w 7780257"/>
              <a:gd name="connsiteY43" fmla="*/ 2937353 h 3757808"/>
              <a:gd name="connsiteX44" fmla="*/ 2931090 w 7780257"/>
              <a:gd name="connsiteY44" fmla="*/ 3018772 h 3757808"/>
              <a:gd name="connsiteX45" fmla="*/ 2931090 w 7780257"/>
              <a:gd name="connsiteY45" fmla="*/ 3018772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3162822 w 7780257"/>
              <a:gd name="connsiteY34" fmla="*/ 2787041 h 3757808"/>
              <a:gd name="connsiteX35" fmla="*/ 2699359 w 7780257"/>
              <a:gd name="connsiteY35" fmla="*/ 2812093 h 3757808"/>
              <a:gd name="connsiteX36" fmla="*/ 2661781 w 7780257"/>
              <a:gd name="connsiteY36" fmla="*/ 2830882 h 3757808"/>
              <a:gd name="connsiteX37" fmla="*/ 2743200 w 7780257"/>
              <a:gd name="connsiteY37" fmla="*/ 2931090 h 3757808"/>
              <a:gd name="connsiteX38" fmla="*/ 2636729 w 7780257"/>
              <a:gd name="connsiteY38" fmla="*/ 2812093 h 3757808"/>
              <a:gd name="connsiteX39" fmla="*/ 2542784 w 7780257"/>
              <a:gd name="connsiteY39" fmla="*/ 2855934 h 3757808"/>
              <a:gd name="connsiteX40" fmla="*/ 2730674 w 7780257"/>
              <a:gd name="connsiteY40" fmla="*/ 2874723 h 3757808"/>
              <a:gd name="connsiteX41" fmla="*/ 2780778 w 7780257"/>
              <a:gd name="connsiteY41" fmla="*/ 2887249 h 3757808"/>
              <a:gd name="connsiteX42" fmla="*/ 2874723 w 7780257"/>
              <a:gd name="connsiteY42" fmla="*/ 2937353 h 3757808"/>
              <a:gd name="connsiteX43" fmla="*/ 2931090 w 7780257"/>
              <a:gd name="connsiteY43" fmla="*/ 3018772 h 3757808"/>
              <a:gd name="connsiteX44" fmla="*/ 2931090 w 7780257"/>
              <a:gd name="connsiteY44" fmla="*/ 3018772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3162822 w 7780257"/>
              <a:gd name="connsiteY34" fmla="*/ 2787041 h 3757808"/>
              <a:gd name="connsiteX35" fmla="*/ 2699359 w 7780257"/>
              <a:gd name="connsiteY35" fmla="*/ 2812093 h 3757808"/>
              <a:gd name="connsiteX36" fmla="*/ 2661781 w 7780257"/>
              <a:gd name="connsiteY36" fmla="*/ 2830882 h 3757808"/>
              <a:gd name="connsiteX37" fmla="*/ 2636729 w 7780257"/>
              <a:gd name="connsiteY37" fmla="*/ 2812093 h 3757808"/>
              <a:gd name="connsiteX38" fmla="*/ 2542784 w 7780257"/>
              <a:gd name="connsiteY38" fmla="*/ 2855934 h 3757808"/>
              <a:gd name="connsiteX39" fmla="*/ 2730674 w 7780257"/>
              <a:gd name="connsiteY39" fmla="*/ 2874723 h 3757808"/>
              <a:gd name="connsiteX40" fmla="*/ 2780778 w 7780257"/>
              <a:gd name="connsiteY40" fmla="*/ 2887249 h 3757808"/>
              <a:gd name="connsiteX41" fmla="*/ 2874723 w 7780257"/>
              <a:gd name="connsiteY41" fmla="*/ 2937353 h 3757808"/>
              <a:gd name="connsiteX42" fmla="*/ 2931090 w 7780257"/>
              <a:gd name="connsiteY42" fmla="*/ 3018772 h 3757808"/>
              <a:gd name="connsiteX43" fmla="*/ 2931090 w 7780257"/>
              <a:gd name="connsiteY43" fmla="*/ 3018772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661781 w 7780257"/>
              <a:gd name="connsiteY35" fmla="*/ 2830882 h 3757808"/>
              <a:gd name="connsiteX36" fmla="*/ 2636729 w 7780257"/>
              <a:gd name="connsiteY36" fmla="*/ 2812093 h 3757808"/>
              <a:gd name="connsiteX37" fmla="*/ 2542784 w 7780257"/>
              <a:gd name="connsiteY37" fmla="*/ 2855934 h 3757808"/>
              <a:gd name="connsiteX38" fmla="*/ 2730674 w 7780257"/>
              <a:gd name="connsiteY38" fmla="*/ 2874723 h 3757808"/>
              <a:gd name="connsiteX39" fmla="*/ 2780778 w 7780257"/>
              <a:gd name="connsiteY39" fmla="*/ 2887249 h 3757808"/>
              <a:gd name="connsiteX40" fmla="*/ 2874723 w 7780257"/>
              <a:gd name="connsiteY40" fmla="*/ 2937353 h 3757808"/>
              <a:gd name="connsiteX41" fmla="*/ 2931090 w 7780257"/>
              <a:gd name="connsiteY41" fmla="*/ 3018772 h 3757808"/>
              <a:gd name="connsiteX42" fmla="*/ 2931090 w 7780257"/>
              <a:gd name="connsiteY42" fmla="*/ 3018772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661781 w 7780257"/>
              <a:gd name="connsiteY35" fmla="*/ 2830882 h 3757808"/>
              <a:gd name="connsiteX36" fmla="*/ 2636729 w 7780257"/>
              <a:gd name="connsiteY36" fmla="*/ 2812093 h 3757808"/>
              <a:gd name="connsiteX37" fmla="*/ 2730674 w 7780257"/>
              <a:gd name="connsiteY37" fmla="*/ 2874723 h 3757808"/>
              <a:gd name="connsiteX38" fmla="*/ 2780778 w 7780257"/>
              <a:gd name="connsiteY38" fmla="*/ 2887249 h 3757808"/>
              <a:gd name="connsiteX39" fmla="*/ 2874723 w 7780257"/>
              <a:gd name="connsiteY39" fmla="*/ 2937353 h 3757808"/>
              <a:gd name="connsiteX40" fmla="*/ 2931090 w 7780257"/>
              <a:gd name="connsiteY40" fmla="*/ 3018772 h 3757808"/>
              <a:gd name="connsiteX41" fmla="*/ 2931090 w 7780257"/>
              <a:gd name="connsiteY41" fmla="*/ 3018772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661781 w 7780257"/>
              <a:gd name="connsiteY35" fmla="*/ 2830882 h 3757808"/>
              <a:gd name="connsiteX36" fmla="*/ 2492679 w 7780257"/>
              <a:gd name="connsiteY36" fmla="*/ 2874723 h 3757808"/>
              <a:gd name="connsiteX37" fmla="*/ 2730674 w 7780257"/>
              <a:gd name="connsiteY37" fmla="*/ 2874723 h 3757808"/>
              <a:gd name="connsiteX38" fmla="*/ 2780778 w 7780257"/>
              <a:gd name="connsiteY38" fmla="*/ 2887249 h 3757808"/>
              <a:gd name="connsiteX39" fmla="*/ 2874723 w 7780257"/>
              <a:gd name="connsiteY39" fmla="*/ 2937353 h 3757808"/>
              <a:gd name="connsiteX40" fmla="*/ 2931090 w 7780257"/>
              <a:gd name="connsiteY40" fmla="*/ 3018772 h 3757808"/>
              <a:gd name="connsiteX41" fmla="*/ 2931090 w 7780257"/>
              <a:gd name="connsiteY41" fmla="*/ 3018772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492679 w 7780257"/>
              <a:gd name="connsiteY35" fmla="*/ 2874723 h 3757808"/>
              <a:gd name="connsiteX36" fmla="*/ 2730674 w 7780257"/>
              <a:gd name="connsiteY36" fmla="*/ 2874723 h 3757808"/>
              <a:gd name="connsiteX37" fmla="*/ 2780778 w 7780257"/>
              <a:gd name="connsiteY37" fmla="*/ 2887249 h 3757808"/>
              <a:gd name="connsiteX38" fmla="*/ 2874723 w 7780257"/>
              <a:gd name="connsiteY38" fmla="*/ 2937353 h 3757808"/>
              <a:gd name="connsiteX39" fmla="*/ 2931090 w 7780257"/>
              <a:gd name="connsiteY39" fmla="*/ 3018772 h 3757808"/>
              <a:gd name="connsiteX40" fmla="*/ 2931090 w 7780257"/>
              <a:gd name="connsiteY40" fmla="*/ 3018772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492679 w 7780257"/>
              <a:gd name="connsiteY35" fmla="*/ 2874723 h 3757808"/>
              <a:gd name="connsiteX36" fmla="*/ 2693096 w 7780257"/>
              <a:gd name="connsiteY36" fmla="*/ 2937353 h 3757808"/>
              <a:gd name="connsiteX37" fmla="*/ 2780778 w 7780257"/>
              <a:gd name="connsiteY37" fmla="*/ 2887249 h 3757808"/>
              <a:gd name="connsiteX38" fmla="*/ 2874723 w 7780257"/>
              <a:gd name="connsiteY38" fmla="*/ 2937353 h 3757808"/>
              <a:gd name="connsiteX39" fmla="*/ 2931090 w 7780257"/>
              <a:gd name="connsiteY39" fmla="*/ 3018772 h 3757808"/>
              <a:gd name="connsiteX40" fmla="*/ 2931090 w 7780257"/>
              <a:gd name="connsiteY40" fmla="*/ 3018772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492679 w 7780257"/>
              <a:gd name="connsiteY35" fmla="*/ 2874723 h 3757808"/>
              <a:gd name="connsiteX36" fmla="*/ 2693096 w 7780257"/>
              <a:gd name="connsiteY36" fmla="*/ 2937353 h 3757808"/>
              <a:gd name="connsiteX37" fmla="*/ 2780778 w 7780257"/>
              <a:gd name="connsiteY37" fmla="*/ 2937353 h 3757808"/>
              <a:gd name="connsiteX38" fmla="*/ 2874723 w 7780257"/>
              <a:gd name="connsiteY38" fmla="*/ 2937353 h 3757808"/>
              <a:gd name="connsiteX39" fmla="*/ 2931090 w 7780257"/>
              <a:gd name="connsiteY39" fmla="*/ 3018772 h 3757808"/>
              <a:gd name="connsiteX40" fmla="*/ 2931090 w 7780257"/>
              <a:gd name="connsiteY40" fmla="*/ 3018772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492679 w 7780257"/>
              <a:gd name="connsiteY35" fmla="*/ 2874723 h 3757808"/>
              <a:gd name="connsiteX36" fmla="*/ 2693096 w 7780257"/>
              <a:gd name="connsiteY36" fmla="*/ 2937353 h 3757808"/>
              <a:gd name="connsiteX37" fmla="*/ 2874723 w 7780257"/>
              <a:gd name="connsiteY37" fmla="*/ 2937353 h 3757808"/>
              <a:gd name="connsiteX38" fmla="*/ 2931090 w 7780257"/>
              <a:gd name="connsiteY38" fmla="*/ 3018772 h 3757808"/>
              <a:gd name="connsiteX39" fmla="*/ 2931090 w 7780257"/>
              <a:gd name="connsiteY39" fmla="*/ 3018772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486416 w 7780257"/>
              <a:gd name="connsiteY35" fmla="*/ 2824619 h 3757808"/>
              <a:gd name="connsiteX36" fmla="*/ 2693096 w 7780257"/>
              <a:gd name="connsiteY36" fmla="*/ 2937353 h 3757808"/>
              <a:gd name="connsiteX37" fmla="*/ 2874723 w 7780257"/>
              <a:gd name="connsiteY37" fmla="*/ 2937353 h 3757808"/>
              <a:gd name="connsiteX38" fmla="*/ 2931090 w 7780257"/>
              <a:gd name="connsiteY38" fmla="*/ 3018772 h 3757808"/>
              <a:gd name="connsiteX39" fmla="*/ 2931090 w 7780257"/>
              <a:gd name="connsiteY39" fmla="*/ 3018772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486416 w 7780257"/>
              <a:gd name="connsiteY35" fmla="*/ 2824619 h 3757808"/>
              <a:gd name="connsiteX36" fmla="*/ 2549047 w 7780257"/>
              <a:gd name="connsiteY36" fmla="*/ 2943616 h 3757808"/>
              <a:gd name="connsiteX37" fmla="*/ 2874723 w 7780257"/>
              <a:gd name="connsiteY37" fmla="*/ 2937353 h 3757808"/>
              <a:gd name="connsiteX38" fmla="*/ 2931090 w 7780257"/>
              <a:gd name="connsiteY38" fmla="*/ 3018772 h 3757808"/>
              <a:gd name="connsiteX39" fmla="*/ 2931090 w 7780257"/>
              <a:gd name="connsiteY39" fmla="*/ 3018772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505205 w 7780257"/>
              <a:gd name="connsiteY35" fmla="*/ 2799567 h 3757808"/>
              <a:gd name="connsiteX36" fmla="*/ 2549047 w 7780257"/>
              <a:gd name="connsiteY36" fmla="*/ 2943616 h 3757808"/>
              <a:gd name="connsiteX37" fmla="*/ 2874723 w 7780257"/>
              <a:gd name="connsiteY37" fmla="*/ 2937353 h 3757808"/>
              <a:gd name="connsiteX38" fmla="*/ 2931090 w 7780257"/>
              <a:gd name="connsiteY38" fmla="*/ 3018772 h 3757808"/>
              <a:gd name="connsiteX39" fmla="*/ 2931090 w 7780257"/>
              <a:gd name="connsiteY39" fmla="*/ 3018772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549047 w 7780257"/>
              <a:gd name="connsiteY35" fmla="*/ 2943616 h 3757808"/>
              <a:gd name="connsiteX36" fmla="*/ 2874723 w 7780257"/>
              <a:gd name="connsiteY36" fmla="*/ 2937353 h 3757808"/>
              <a:gd name="connsiteX37" fmla="*/ 2931090 w 7780257"/>
              <a:gd name="connsiteY37" fmla="*/ 3018772 h 3757808"/>
              <a:gd name="connsiteX38" fmla="*/ 2931090 w 7780257"/>
              <a:gd name="connsiteY38" fmla="*/ 3018772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549047 w 7780257"/>
              <a:gd name="connsiteY35" fmla="*/ 2943616 h 3757808"/>
              <a:gd name="connsiteX36" fmla="*/ 2874723 w 7780257"/>
              <a:gd name="connsiteY36" fmla="*/ 2937353 h 3757808"/>
              <a:gd name="connsiteX37" fmla="*/ 2931090 w 7780257"/>
              <a:gd name="connsiteY37" fmla="*/ 3018772 h 3757808"/>
              <a:gd name="connsiteX38" fmla="*/ 2517732 w 7780257"/>
              <a:gd name="connsiteY38" fmla="*/ 2661781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549047 w 7780257"/>
              <a:gd name="connsiteY35" fmla="*/ 2943616 h 3757808"/>
              <a:gd name="connsiteX36" fmla="*/ 2931090 w 7780257"/>
              <a:gd name="connsiteY36" fmla="*/ 3018772 h 3757808"/>
              <a:gd name="connsiteX37" fmla="*/ 2517732 w 7780257"/>
              <a:gd name="connsiteY37" fmla="*/ 2661781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549047 w 7780257"/>
              <a:gd name="connsiteY35" fmla="*/ 2943616 h 3757808"/>
              <a:gd name="connsiteX36" fmla="*/ 2931090 w 7780257"/>
              <a:gd name="connsiteY36" fmla="*/ 3018772 h 3757808"/>
              <a:gd name="connsiteX37" fmla="*/ 2373682 w 7780257"/>
              <a:gd name="connsiteY37" fmla="*/ 2567835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549047 w 7780257"/>
              <a:gd name="connsiteY35" fmla="*/ 2943616 h 3757808"/>
              <a:gd name="connsiteX36" fmla="*/ 2843408 w 7780257"/>
              <a:gd name="connsiteY36" fmla="*/ 2999983 h 3757808"/>
              <a:gd name="connsiteX37" fmla="*/ 2373682 w 7780257"/>
              <a:gd name="connsiteY37" fmla="*/ 2567835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549047 w 7780257"/>
              <a:gd name="connsiteY35" fmla="*/ 2943616 h 3757808"/>
              <a:gd name="connsiteX36" fmla="*/ 2843408 w 7780257"/>
              <a:gd name="connsiteY36" fmla="*/ 2999983 h 3757808"/>
              <a:gd name="connsiteX37" fmla="*/ 2373682 w 7780257"/>
              <a:gd name="connsiteY37" fmla="*/ 2567835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549047 w 7780257"/>
              <a:gd name="connsiteY35" fmla="*/ 2943616 h 3757808"/>
              <a:gd name="connsiteX36" fmla="*/ 2843408 w 7780257"/>
              <a:gd name="connsiteY36" fmla="*/ 2999983 h 3757808"/>
              <a:gd name="connsiteX37" fmla="*/ 2311052 w 7780257"/>
              <a:gd name="connsiteY37" fmla="*/ 2711885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549047 w 7780257"/>
              <a:gd name="connsiteY35" fmla="*/ 2943616 h 3757808"/>
              <a:gd name="connsiteX36" fmla="*/ 2843408 w 7780257"/>
              <a:gd name="connsiteY36" fmla="*/ 2999983 h 3757808"/>
              <a:gd name="connsiteX37" fmla="*/ 2311052 w 7780257"/>
              <a:gd name="connsiteY37" fmla="*/ 2711885 h 3757808"/>
              <a:gd name="connsiteX0" fmla="*/ 0 w 7780257"/>
              <a:gd name="connsiteY0" fmla="*/ 3757808 h 3757808"/>
              <a:gd name="connsiteX1" fmla="*/ 0 w 7780257"/>
              <a:gd name="connsiteY1" fmla="*/ 3757808 h 3757808"/>
              <a:gd name="connsiteX2" fmla="*/ 1033397 w 7780257"/>
              <a:gd name="connsiteY2" fmla="*/ 3739019 h 3757808"/>
              <a:gd name="connsiteX3" fmla="*/ 1227551 w 7780257"/>
              <a:gd name="connsiteY3" fmla="*/ 3720230 h 3757808"/>
              <a:gd name="connsiteX4" fmla="*/ 1409178 w 7780257"/>
              <a:gd name="connsiteY4" fmla="*/ 3682652 h 3757808"/>
              <a:gd name="connsiteX5" fmla="*/ 1941534 w 7780257"/>
              <a:gd name="connsiteY5" fmla="*/ 3482235 h 3757808"/>
              <a:gd name="connsiteX6" fmla="*/ 2386208 w 7780257"/>
              <a:gd name="connsiteY6" fmla="*/ 3156559 h 3757808"/>
              <a:gd name="connsiteX7" fmla="*/ 2699359 w 7780257"/>
              <a:gd name="connsiteY7" fmla="*/ 2774515 h 3757808"/>
              <a:gd name="connsiteX8" fmla="*/ 2780778 w 7780257"/>
              <a:gd name="connsiteY8" fmla="*/ 2617939 h 3757808"/>
              <a:gd name="connsiteX9" fmla="*/ 2931090 w 7780257"/>
              <a:gd name="connsiteY9" fmla="*/ 2254685 h 3757808"/>
              <a:gd name="connsiteX10" fmla="*/ 3062614 w 7780257"/>
              <a:gd name="connsiteY10" fmla="*/ 1803748 h 3757808"/>
              <a:gd name="connsiteX11" fmla="*/ 3475973 w 7780257"/>
              <a:gd name="connsiteY11" fmla="*/ 1108553 h 3757808"/>
              <a:gd name="connsiteX12" fmla="*/ 3757808 w 7780257"/>
              <a:gd name="connsiteY12" fmla="*/ 770350 h 3757808"/>
              <a:gd name="connsiteX13" fmla="*/ 3908121 w 7780257"/>
              <a:gd name="connsiteY13" fmla="*/ 632564 h 3757808"/>
              <a:gd name="connsiteX14" fmla="*/ 4371584 w 7780257"/>
              <a:gd name="connsiteY14" fmla="*/ 319413 h 3757808"/>
              <a:gd name="connsiteX15" fmla="*/ 4891414 w 7780257"/>
              <a:gd name="connsiteY15" fmla="*/ 112734 h 3757808"/>
              <a:gd name="connsiteX16" fmla="*/ 5135671 w 7780257"/>
              <a:gd name="connsiteY16" fmla="*/ 43841 h 3757808"/>
              <a:gd name="connsiteX17" fmla="*/ 5599134 w 7780257"/>
              <a:gd name="connsiteY17" fmla="*/ 0 h 3757808"/>
              <a:gd name="connsiteX18" fmla="*/ 6206647 w 7780257"/>
              <a:gd name="connsiteY18" fmla="*/ 31315 h 3757808"/>
              <a:gd name="connsiteX19" fmla="*/ 6450904 w 7780257"/>
              <a:gd name="connsiteY19" fmla="*/ 93945 h 3757808"/>
              <a:gd name="connsiteX20" fmla="*/ 6657584 w 7780257"/>
              <a:gd name="connsiteY20" fmla="*/ 169101 h 3757808"/>
              <a:gd name="connsiteX21" fmla="*/ 7045890 w 7780257"/>
              <a:gd name="connsiteY21" fmla="*/ 375781 h 3757808"/>
              <a:gd name="connsiteX22" fmla="*/ 7490564 w 7780257"/>
              <a:gd name="connsiteY22" fmla="*/ 751561 h 3757808"/>
              <a:gd name="connsiteX23" fmla="*/ 7734822 w 7780257"/>
              <a:gd name="connsiteY23" fmla="*/ 1240076 h 3757808"/>
              <a:gd name="connsiteX24" fmla="*/ 7778663 w 7780257"/>
              <a:gd name="connsiteY24" fmla="*/ 1791222 h 3757808"/>
              <a:gd name="connsiteX25" fmla="*/ 7772400 w 7780257"/>
              <a:gd name="connsiteY25" fmla="*/ 2035479 h 3757808"/>
              <a:gd name="connsiteX26" fmla="*/ 7697244 w 7780257"/>
              <a:gd name="connsiteY26" fmla="*/ 2311052 h 3757808"/>
              <a:gd name="connsiteX27" fmla="*/ 7496827 w 7780257"/>
              <a:gd name="connsiteY27" fmla="*/ 2680570 h 3757808"/>
              <a:gd name="connsiteX28" fmla="*/ 7333989 w 7780257"/>
              <a:gd name="connsiteY28" fmla="*/ 2843408 h 3757808"/>
              <a:gd name="connsiteX29" fmla="*/ 7077205 w 7780257"/>
              <a:gd name="connsiteY29" fmla="*/ 2987457 h 3757808"/>
              <a:gd name="connsiteX30" fmla="*/ 6494745 w 7780257"/>
              <a:gd name="connsiteY30" fmla="*/ 3118981 h 3757808"/>
              <a:gd name="connsiteX31" fmla="*/ 5561556 w 7780257"/>
              <a:gd name="connsiteY31" fmla="*/ 3106455 h 3757808"/>
              <a:gd name="connsiteX32" fmla="*/ 4697260 w 7780257"/>
              <a:gd name="connsiteY32" fmla="*/ 3043824 h 3757808"/>
              <a:gd name="connsiteX33" fmla="*/ 4171167 w 7780257"/>
              <a:gd name="connsiteY33" fmla="*/ 2974931 h 3757808"/>
              <a:gd name="connsiteX34" fmla="*/ 2699359 w 7780257"/>
              <a:gd name="connsiteY34" fmla="*/ 2812093 h 3757808"/>
              <a:gd name="connsiteX35" fmla="*/ 2549047 w 7780257"/>
              <a:gd name="connsiteY35" fmla="*/ 2943616 h 3757808"/>
              <a:gd name="connsiteX36" fmla="*/ 2843408 w 7780257"/>
              <a:gd name="connsiteY36" fmla="*/ 2999983 h 3757808"/>
              <a:gd name="connsiteX37" fmla="*/ 2311052 w 7780257"/>
              <a:gd name="connsiteY37" fmla="*/ 2711885 h 3757808"/>
              <a:gd name="connsiteX0" fmla="*/ 2935373 w 10715630"/>
              <a:gd name="connsiteY0" fmla="*/ 3757808 h 3799348"/>
              <a:gd name="connsiteX1" fmla="*/ 0 w 10715630"/>
              <a:gd name="connsiteY1" fmla="*/ 3799348 h 3799348"/>
              <a:gd name="connsiteX2" fmla="*/ 3968770 w 10715630"/>
              <a:gd name="connsiteY2" fmla="*/ 3739019 h 3799348"/>
              <a:gd name="connsiteX3" fmla="*/ 4162924 w 10715630"/>
              <a:gd name="connsiteY3" fmla="*/ 3720230 h 3799348"/>
              <a:gd name="connsiteX4" fmla="*/ 4344551 w 10715630"/>
              <a:gd name="connsiteY4" fmla="*/ 3682652 h 3799348"/>
              <a:gd name="connsiteX5" fmla="*/ 4876907 w 10715630"/>
              <a:gd name="connsiteY5" fmla="*/ 3482235 h 3799348"/>
              <a:gd name="connsiteX6" fmla="*/ 5321581 w 10715630"/>
              <a:gd name="connsiteY6" fmla="*/ 3156559 h 3799348"/>
              <a:gd name="connsiteX7" fmla="*/ 5634732 w 10715630"/>
              <a:gd name="connsiteY7" fmla="*/ 2774515 h 3799348"/>
              <a:gd name="connsiteX8" fmla="*/ 5716151 w 10715630"/>
              <a:gd name="connsiteY8" fmla="*/ 2617939 h 3799348"/>
              <a:gd name="connsiteX9" fmla="*/ 5866463 w 10715630"/>
              <a:gd name="connsiteY9" fmla="*/ 2254685 h 3799348"/>
              <a:gd name="connsiteX10" fmla="*/ 5997987 w 10715630"/>
              <a:gd name="connsiteY10" fmla="*/ 1803748 h 3799348"/>
              <a:gd name="connsiteX11" fmla="*/ 6411346 w 10715630"/>
              <a:gd name="connsiteY11" fmla="*/ 1108553 h 3799348"/>
              <a:gd name="connsiteX12" fmla="*/ 6693181 w 10715630"/>
              <a:gd name="connsiteY12" fmla="*/ 770350 h 3799348"/>
              <a:gd name="connsiteX13" fmla="*/ 6843494 w 10715630"/>
              <a:gd name="connsiteY13" fmla="*/ 632564 h 3799348"/>
              <a:gd name="connsiteX14" fmla="*/ 7306957 w 10715630"/>
              <a:gd name="connsiteY14" fmla="*/ 319413 h 3799348"/>
              <a:gd name="connsiteX15" fmla="*/ 7826787 w 10715630"/>
              <a:gd name="connsiteY15" fmla="*/ 112734 h 3799348"/>
              <a:gd name="connsiteX16" fmla="*/ 8071044 w 10715630"/>
              <a:gd name="connsiteY16" fmla="*/ 43841 h 3799348"/>
              <a:gd name="connsiteX17" fmla="*/ 8534507 w 10715630"/>
              <a:gd name="connsiteY17" fmla="*/ 0 h 3799348"/>
              <a:gd name="connsiteX18" fmla="*/ 9142020 w 10715630"/>
              <a:gd name="connsiteY18" fmla="*/ 31315 h 3799348"/>
              <a:gd name="connsiteX19" fmla="*/ 9386277 w 10715630"/>
              <a:gd name="connsiteY19" fmla="*/ 93945 h 3799348"/>
              <a:gd name="connsiteX20" fmla="*/ 9592957 w 10715630"/>
              <a:gd name="connsiteY20" fmla="*/ 169101 h 3799348"/>
              <a:gd name="connsiteX21" fmla="*/ 9981263 w 10715630"/>
              <a:gd name="connsiteY21" fmla="*/ 375781 h 3799348"/>
              <a:gd name="connsiteX22" fmla="*/ 10425937 w 10715630"/>
              <a:gd name="connsiteY22" fmla="*/ 751561 h 3799348"/>
              <a:gd name="connsiteX23" fmla="*/ 10670195 w 10715630"/>
              <a:gd name="connsiteY23" fmla="*/ 1240076 h 3799348"/>
              <a:gd name="connsiteX24" fmla="*/ 10714036 w 10715630"/>
              <a:gd name="connsiteY24" fmla="*/ 1791222 h 3799348"/>
              <a:gd name="connsiteX25" fmla="*/ 10707773 w 10715630"/>
              <a:gd name="connsiteY25" fmla="*/ 2035479 h 3799348"/>
              <a:gd name="connsiteX26" fmla="*/ 10632617 w 10715630"/>
              <a:gd name="connsiteY26" fmla="*/ 2311052 h 3799348"/>
              <a:gd name="connsiteX27" fmla="*/ 10432200 w 10715630"/>
              <a:gd name="connsiteY27" fmla="*/ 2680570 h 3799348"/>
              <a:gd name="connsiteX28" fmla="*/ 10269362 w 10715630"/>
              <a:gd name="connsiteY28" fmla="*/ 2843408 h 3799348"/>
              <a:gd name="connsiteX29" fmla="*/ 10012578 w 10715630"/>
              <a:gd name="connsiteY29" fmla="*/ 2987457 h 3799348"/>
              <a:gd name="connsiteX30" fmla="*/ 9430118 w 10715630"/>
              <a:gd name="connsiteY30" fmla="*/ 3118981 h 3799348"/>
              <a:gd name="connsiteX31" fmla="*/ 8496929 w 10715630"/>
              <a:gd name="connsiteY31" fmla="*/ 3106455 h 3799348"/>
              <a:gd name="connsiteX32" fmla="*/ 7632633 w 10715630"/>
              <a:gd name="connsiteY32" fmla="*/ 3043824 h 3799348"/>
              <a:gd name="connsiteX33" fmla="*/ 7106540 w 10715630"/>
              <a:gd name="connsiteY33" fmla="*/ 2974931 h 3799348"/>
              <a:gd name="connsiteX34" fmla="*/ 5634732 w 10715630"/>
              <a:gd name="connsiteY34" fmla="*/ 2812093 h 3799348"/>
              <a:gd name="connsiteX35" fmla="*/ 5484420 w 10715630"/>
              <a:gd name="connsiteY35" fmla="*/ 2943616 h 3799348"/>
              <a:gd name="connsiteX36" fmla="*/ 5778781 w 10715630"/>
              <a:gd name="connsiteY36" fmla="*/ 2999983 h 3799348"/>
              <a:gd name="connsiteX37" fmla="*/ 5246425 w 10715630"/>
              <a:gd name="connsiteY37" fmla="*/ 2711885 h 3799348"/>
              <a:gd name="connsiteX0" fmla="*/ 2935373 w 10715630"/>
              <a:gd name="connsiteY0" fmla="*/ 3757808 h 3799348"/>
              <a:gd name="connsiteX1" fmla="*/ 0 w 10715630"/>
              <a:gd name="connsiteY1" fmla="*/ 3799348 h 3799348"/>
              <a:gd name="connsiteX2" fmla="*/ 3968770 w 10715630"/>
              <a:gd name="connsiteY2" fmla="*/ 3739019 h 3799348"/>
              <a:gd name="connsiteX3" fmla="*/ 4344551 w 10715630"/>
              <a:gd name="connsiteY3" fmla="*/ 3682652 h 3799348"/>
              <a:gd name="connsiteX4" fmla="*/ 4876907 w 10715630"/>
              <a:gd name="connsiteY4" fmla="*/ 3482235 h 3799348"/>
              <a:gd name="connsiteX5" fmla="*/ 5321581 w 10715630"/>
              <a:gd name="connsiteY5" fmla="*/ 3156559 h 3799348"/>
              <a:gd name="connsiteX6" fmla="*/ 5634732 w 10715630"/>
              <a:gd name="connsiteY6" fmla="*/ 2774515 h 3799348"/>
              <a:gd name="connsiteX7" fmla="*/ 5716151 w 10715630"/>
              <a:gd name="connsiteY7" fmla="*/ 2617939 h 3799348"/>
              <a:gd name="connsiteX8" fmla="*/ 5866463 w 10715630"/>
              <a:gd name="connsiteY8" fmla="*/ 2254685 h 3799348"/>
              <a:gd name="connsiteX9" fmla="*/ 5997987 w 10715630"/>
              <a:gd name="connsiteY9" fmla="*/ 1803748 h 3799348"/>
              <a:gd name="connsiteX10" fmla="*/ 6411346 w 10715630"/>
              <a:gd name="connsiteY10" fmla="*/ 1108553 h 3799348"/>
              <a:gd name="connsiteX11" fmla="*/ 6693181 w 10715630"/>
              <a:gd name="connsiteY11" fmla="*/ 770350 h 3799348"/>
              <a:gd name="connsiteX12" fmla="*/ 6843494 w 10715630"/>
              <a:gd name="connsiteY12" fmla="*/ 632564 h 3799348"/>
              <a:gd name="connsiteX13" fmla="*/ 7306957 w 10715630"/>
              <a:gd name="connsiteY13" fmla="*/ 319413 h 3799348"/>
              <a:gd name="connsiteX14" fmla="*/ 7826787 w 10715630"/>
              <a:gd name="connsiteY14" fmla="*/ 112734 h 3799348"/>
              <a:gd name="connsiteX15" fmla="*/ 8071044 w 10715630"/>
              <a:gd name="connsiteY15" fmla="*/ 43841 h 3799348"/>
              <a:gd name="connsiteX16" fmla="*/ 8534507 w 10715630"/>
              <a:gd name="connsiteY16" fmla="*/ 0 h 3799348"/>
              <a:gd name="connsiteX17" fmla="*/ 9142020 w 10715630"/>
              <a:gd name="connsiteY17" fmla="*/ 31315 h 3799348"/>
              <a:gd name="connsiteX18" fmla="*/ 9386277 w 10715630"/>
              <a:gd name="connsiteY18" fmla="*/ 93945 h 3799348"/>
              <a:gd name="connsiteX19" fmla="*/ 9592957 w 10715630"/>
              <a:gd name="connsiteY19" fmla="*/ 169101 h 3799348"/>
              <a:gd name="connsiteX20" fmla="*/ 9981263 w 10715630"/>
              <a:gd name="connsiteY20" fmla="*/ 375781 h 3799348"/>
              <a:gd name="connsiteX21" fmla="*/ 10425937 w 10715630"/>
              <a:gd name="connsiteY21" fmla="*/ 751561 h 3799348"/>
              <a:gd name="connsiteX22" fmla="*/ 10670195 w 10715630"/>
              <a:gd name="connsiteY22" fmla="*/ 1240076 h 3799348"/>
              <a:gd name="connsiteX23" fmla="*/ 10714036 w 10715630"/>
              <a:gd name="connsiteY23" fmla="*/ 1791222 h 3799348"/>
              <a:gd name="connsiteX24" fmla="*/ 10707773 w 10715630"/>
              <a:gd name="connsiteY24" fmla="*/ 2035479 h 3799348"/>
              <a:gd name="connsiteX25" fmla="*/ 10632617 w 10715630"/>
              <a:gd name="connsiteY25" fmla="*/ 2311052 h 3799348"/>
              <a:gd name="connsiteX26" fmla="*/ 10432200 w 10715630"/>
              <a:gd name="connsiteY26" fmla="*/ 2680570 h 3799348"/>
              <a:gd name="connsiteX27" fmla="*/ 10269362 w 10715630"/>
              <a:gd name="connsiteY27" fmla="*/ 2843408 h 3799348"/>
              <a:gd name="connsiteX28" fmla="*/ 10012578 w 10715630"/>
              <a:gd name="connsiteY28" fmla="*/ 2987457 h 3799348"/>
              <a:gd name="connsiteX29" fmla="*/ 9430118 w 10715630"/>
              <a:gd name="connsiteY29" fmla="*/ 3118981 h 3799348"/>
              <a:gd name="connsiteX30" fmla="*/ 8496929 w 10715630"/>
              <a:gd name="connsiteY30" fmla="*/ 3106455 h 3799348"/>
              <a:gd name="connsiteX31" fmla="*/ 7632633 w 10715630"/>
              <a:gd name="connsiteY31" fmla="*/ 3043824 h 3799348"/>
              <a:gd name="connsiteX32" fmla="*/ 7106540 w 10715630"/>
              <a:gd name="connsiteY32" fmla="*/ 2974931 h 3799348"/>
              <a:gd name="connsiteX33" fmla="*/ 5634732 w 10715630"/>
              <a:gd name="connsiteY33" fmla="*/ 2812093 h 3799348"/>
              <a:gd name="connsiteX34" fmla="*/ 5484420 w 10715630"/>
              <a:gd name="connsiteY34" fmla="*/ 2943616 h 3799348"/>
              <a:gd name="connsiteX35" fmla="*/ 5778781 w 10715630"/>
              <a:gd name="connsiteY35" fmla="*/ 2999983 h 3799348"/>
              <a:gd name="connsiteX36" fmla="*/ 5246425 w 10715630"/>
              <a:gd name="connsiteY36" fmla="*/ 2711885 h 3799348"/>
              <a:gd name="connsiteX0" fmla="*/ 2935373 w 10715630"/>
              <a:gd name="connsiteY0" fmla="*/ 3757808 h 3799348"/>
              <a:gd name="connsiteX1" fmla="*/ 0 w 10715630"/>
              <a:gd name="connsiteY1" fmla="*/ 3799348 h 3799348"/>
              <a:gd name="connsiteX2" fmla="*/ 3968770 w 10715630"/>
              <a:gd name="connsiteY2" fmla="*/ 3739019 h 3799348"/>
              <a:gd name="connsiteX3" fmla="*/ 4876907 w 10715630"/>
              <a:gd name="connsiteY3" fmla="*/ 3482235 h 3799348"/>
              <a:gd name="connsiteX4" fmla="*/ 5321581 w 10715630"/>
              <a:gd name="connsiteY4" fmla="*/ 3156559 h 3799348"/>
              <a:gd name="connsiteX5" fmla="*/ 5634732 w 10715630"/>
              <a:gd name="connsiteY5" fmla="*/ 2774515 h 3799348"/>
              <a:gd name="connsiteX6" fmla="*/ 5716151 w 10715630"/>
              <a:gd name="connsiteY6" fmla="*/ 2617939 h 3799348"/>
              <a:gd name="connsiteX7" fmla="*/ 5866463 w 10715630"/>
              <a:gd name="connsiteY7" fmla="*/ 2254685 h 3799348"/>
              <a:gd name="connsiteX8" fmla="*/ 5997987 w 10715630"/>
              <a:gd name="connsiteY8" fmla="*/ 1803748 h 3799348"/>
              <a:gd name="connsiteX9" fmla="*/ 6411346 w 10715630"/>
              <a:gd name="connsiteY9" fmla="*/ 1108553 h 3799348"/>
              <a:gd name="connsiteX10" fmla="*/ 6693181 w 10715630"/>
              <a:gd name="connsiteY10" fmla="*/ 770350 h 3799348"/>
              <a:gd name="connsiteX11" fmla="*/ 6843494 w 10715630"/>
              <a:gd name="connsiteY11" fmla="*/ 632564 h 3799348"/>
              <a:gd name="connsiteX12" fmla="*/ 7306957 w 10715630"/>
              <a:gd name="connsiteY12" fmla="*/ 319413 h 3799348"/>
              <a:gd name="connsiteX13" fmla="*/ 7826787 w 10715630"/>
              <a:gd name="connsiteY13" fmla="*/ 112734 h 3799348"/>
              <a:gd name="connsiteX14" fmla="*/ 8071044 w 10715630"/>
              <a:gd name="connsiteY14" fmla="*/ 43841 h 3799348"/>
              <a:gd name="connsiteX15" fmla="*/ 8534507 w 10715630"/>
              <a:gd name="connsiteY15" fmla="*/ 0 h 3799348"/>
              <a:gd name="connsiteX16" fmla="*/ 9142020 w 10715630"/>
              <a:gd name="connsiteY16" fmla="*/ 31315 h 3799348"/>
              <a:gd name="connsiteX17" fmla="*/ 9386277 w 10715630"/>
              <a:gd name="connsiteY17" fmla="*/ 93945 h 3799348"/>
              <a:gd name="connsiteX18" fmla="*/ 9592957 w 10715630"/>
              <a:gd name="connsiteY18" fmla="*/ 169101 h 3799348"/>
              <a:gd name="connsiteX19" fmla="*/ 9981263 w 10715630"/>
              <a:gd name="connsiteY19" fmla="*/ 375781 h 3799348"/>
              <a:gd name="connsiteX20" fmla="*/ 10425937 w 10715630"/>
              <a:gd name="connsiteY20" fmla="*/ 751561 h 3799348"/>
              <a:gd name="connsiteX21" fmla="*/ 10670195 w 10715630"/>
              <a:gd name="connsiteY21" fmla="*/ 1240076 h 3799348"/>
              <a:gd name="connsiteX22" fmla="*/ 10714036 w 10715630"/>
              <a:gd name="connsiteY22" fmla="*/ 1791222 h 3799348"/>
              <a:gd name="connsiteX23" fmla="*/ 10707773 w 10715630"/>
              <a:gd name="connsiteY23" fmla="*/ 2035479 h 3799348"/>
              <a:gd name="connsiteX24" fmla="*/ 10632617 w 10715630"/>
              <a:gd name="connsiteY24" fmla="*/ 2311052 h 3799348"/>
              <a:gd name="connsiteX25" fmla="*/ 10432200 w 10715630"/>
              <a:gd name="connsiteY25" fmla="*/ 2680570 h 3799348"/>
              <a:gd name="connsiteX26" fmla="*/ 10269362 w 10715630"/>
              <a:gd name="connsiteY26" fmla="*/ 2843408 h 3799348"/>
              <a:gd name="connsiteX27" fmla="*/ 10012578 w 10715630"/>
              <a:gd name="connsiteY27" fmla="*/ 2987457 h 3799348"/>
              <a:gd name="connsiteX28" fmla="*/ 9430118 w 10715630"/>
              <a:gd name="connsiteY28" fmla="*/ 3118981 h 3799348"/>
              <a:gd name="connsiteX29" fmla="*/ 8496929 w 10715630"/>
              <a:gd name="connsiteY29" fmla="*/ 3106455 h 3799348"/>
              <a:gd name="connsiteX30" fmla="*/ 7632633 w 10715630"/>
              <a:gd name="connsiteY30" fmla="*/ 3043824 h 3799348"/>
              <a:gd name="connsiteX31" fmla="*/ 7106540 w 10715630"/>
              <a:gd name="connsiteY31" fmla="*/ 2974931 h 3799348"/>
              <a:gd name="connsiteX32" fmla="*/ 5634732 w 10715630"/>
              <a:gd name="connsiteY32" fmla="*/ 2812093 h 3799348"/>
              <a:gd name="connsiteX33" fmla="*/ 5484420 w 10715630"/>
              <a:gd name="connsiteY33" fmla="*/ 2943616 h 3799348"/>
              <a:gd name="connsiteX34" fmla="*/ 5778781 w 10715630"/>
              <a:gd name="connsiteY34" fmla="*/ 2999983 h 3799348"/>
              <a:gd name="connsiteX35" fmla="*/ 5246425 w 10715630"/>
              <a:gd name="connsiteY35" fmla="*/ 2711885 h 3799348"/>
              <a:gd name="connsiteX0" fmla="*/ 2935373 w 10715630"/>
              <a:gd name="connsiteY0" fmla="*/ 3757808 h 3799348"/>
              <a:gd name="connsiteX1" fmla="*/ 0 w 10715630"/>
              <a:gd name="connsiteY1" fmla="*/ 3799348 h 3799348"/>
              <a:gd name="connsiteX2" fmla="*/ 3968770 w 10715630"/>
              <a:gd name="connsiteY2" fmla="*/ 3739019 h 3799348"/>
              <a:gd name="connsiteX3" fmla="*/ 5321581 w 10715630"/>
              <a:gd name="connsiteY3" fmla="*/ 3156559 h 3799348"/>
              <a:gd name="connsiteX4" fmla="*/ 5634732 w 10715630"/>
              <a:gd name="connsiteY4" fmla="*/ 2774515 h 3799348"/>
              <a:gd name="connsiteX5" fmla="*/ 5716151 w 10715630"/>
              <a:gd name="connsiteY5" fmla="*/ 2617939 h 3799348"/>
              <a:gd name="connsiteX6" fmla="*/ 5866463 w 10715630"/>
              <a:gd name="connsiteY6" fmla="*/ 2254685 h 3799348"/>
              <a:gd name="connsiteX7" fmla="*/ 5997987 w 10715630"/>
              <a:gd name="connsiteY7" fmla="*/ 1803748 h 3799348"/>
              <a:gd name="connsiteX8" fmla="*/ 6411346 w 10715630"/>
              <a:gd name="connsiteY8" fmla="*/ 1108553 h 3799348"/>
              <a:gd name="connsiteX9" fmla="*/ 6693181 w 10715630"/>
              <a:gd name="connsiteY9" fmla="*/ 770350 h 3799348"/>
              <a:gd name="connsiteX10" fmla="*/ 6843494 w 10715630"/>
              <a:gd name="connsiteY10" fmla="*/ 632564 h 3799348"/>
              <a:gd name="connsiteX11" fmla="*/ 7306957 w 10715630"/>
              <a:gd name="connsiteY11" fmla="*/ 319413 h 3799348"/>
              <a:gd name="connsiteX12" fmla="*/ 7826787 w 10715630"/>
              <a:gd name="connsiteY12" fmla="*/ 112734 h 3799348"/>
              <a:gd name="connsiteX13" fmla="*/ 8071044 w 10715630"/>
              <a:gd name="connsiteY13" fmla="*/ 43841 h 3799348"/>
              <a:gd name="connsiteX14" fmla="*/ 8534507 w 10715630"/>
              <a:gd name="connsiteY14" fmla="*/ 0 h 3799348"/>
              <a:gd name="connsiteX15" fmla="*/ 9142020 w 10715630"/>
              <a:gd name="connsiteY15" fmla="*/ 31315 h 3799348"/>
              <a:gd name="connsiteX16" fmla="*/ 9386277 w 10715630"/>
              <a:gd name="connsiteY16" fmla="*/ 93945 h 3799348"/>
              <a:gd name="connsiteX17" fmla="*/ 9592957 w 10715630"/>
              <a:gd name="connsiteY17" fmla="*/ 169101 h 3799348"/>
              <a:gd name="connsiteX18" fmla="*/ 9981263 w 10715630"/>
              <a:gd name="connsiteY18" fmla="*/ 375781 h 3799348"/>
              <a:gd name="connsiteX19" fmla="*/ 10425937 w 10715630"/>
              <a:gd name="connsiteY19" fmla="*/ 751561 h 3799348"/>
              <a:gd name="connsiteX20" fmla="*/ 10670195 w 10715630"/>
              <a:gd name="connsiteY20" fmla="*/ 1240076 h 3799348"/>
              <a:gd name="connsiteX21" fmla="*/ 10714036 w 10715630"/>
              <a:gd name="connsiteY21" fmla="*/ 1791222 h 3799348"/>
              <a:gd name="connsiteX22" fmla="*/ 10707773 w 10715630"/>
              <a:gd name="connsiteY22" fmla="*/ 2035479 h 3799348"/>
              <a:gd name="connsiteX23" fmla="*/ 10632617 w 10715630"/>
              <a:gd name="connsiteY23" fmla="*/ 2311052 h 3799348"/>
              <a:gd name="connsiteX24" fmla="*/ 10432200 w 10715630"/>
              <a:gd name="connsiteY24" fmla="*/ 2680570 h 3799348"/>
              <a:gd name="connsiteX25" fmla="*/ 10269362 w 10715630"/>
              <a:gd name="connsiteY25" fmla="*/ 2843408 h 3799348"/>
              <a:gd name="connsiteX26" fmla="*/ 10012578 w 10715630"/>
              <a:gd name="connsiteY26" fmla="*/ 2987457 h 3799348"/>
              <a:gd name="connsiteX27" fmla="*/ 9430118 w 10715630"/>
              <a:gd name="connsiteY27" fmla="*/ 3118981 h 3799348"/>
              <a:gd name="connsiteX28" fmla="*/ 8496929 w 10715630"/>
              <a:gd name="connsiteY28" fmla="*/ 3106455 h 3799348"/>
              <a:gd name="connsiteX29" fmla="*/ 7632633 w 10715630"/>
              <a:gd name="connsiteY29" fmla="*/ 3043824 h 3799348"/>
              <a:gd name="connsiteX30" fmla="*/ 7106540 w 10715630"/>
              <a:gd name="connsiteY30" fmla="*/ 2974931 h 3799348"/>
              <a:gd name="connsiteX31" fmla="*/ 5634732 w 10715630"/>
              <a:gd name="connsiteY31" fmla="*/ 2812093 h 3799348"/>
              <a:gd name="connsiteX32" fmla="*/ 5484420 w 10715630"/>
              <a:gd name="connsiteY32" fmla="*/ 2943616 h 3799348"/>
              <a:gd name="connsiteX33" fmla="*/ 5778781 w 10715630"/>
              <a:gd name="connsiteY33" fmla="*/ 2999983 h 3799348"/>
              <a:gd name="connsiteX34" fmla="*/ 5246425 w 10715630"/>
              <a:gd name="connsiteY34" fmla="*/ 2711885 h 3799348"/>
              <a:gd name="connsiteX0" fmla="*/ 2935373 w 10715630"/>
              <a:gd name="connsiteY0" fmla="*/ 3757808 h 3828276"/>
              <a:gd name="connsiteX1" fmla="*/ 0 w 10715630"/>
              <a:gd name="connsiteY1" fmla="*/ 3799348 h 3828276"/>
              <a:gd name="connsiteX2" fmla="*/ 3968770 w 10715630"/>
              <a:gd name="connsiteY2" fmla="*/ 3739019 h 3828276"/>
              <a:gd name="connsiteX3" fmla="*/ 5634732 w 10715630"/>
              <a:gd name="connsiteY3" fmla="*/ 2774515 h 3828276"/>
              <a:gd name="connsiteX4" fmla="*/ 5716151 w 10715630"/>
              <a:gd name="connsiteY4" fmla="*/ 2617939 h 3828276"/>
              <a:gd name="connsiteX5" fmla="*/ 5866463 w 10715630"/>
              <a:gd name="connsiteY5" fmla="*/ 2254685 h 3828276"/>
              <a:gd name="connsiteX6" fmla="*/ 5997987 w 10715630"/>
              <a:gd name="connsiteY6" fmla="*/ 1803748 h 3828276"/>
              <a:gd name="connsiteX7" fmla="*/ 6411346 w 10715630"/>
              <a:gd name="connsiteY7" fmla="*/ 1108553 h 3828276"/>
              <a:gd name="connsiteX8" fmla="*/ 6693181 w 10715630"/>
              <a:gd name="connsiteY8" fmla="*/ 770350 h 3828276"/>
              <a:gd name="connsiteX9" fmla="*/ 6843494 w 10715630"/>
              <a:gd name="connsiteY9" fmla="*/ 632564 h 3828276"/>
              <a:gd name="connsiteX10" fmla="*/ 7306957 w 10715630"/>
              <a:gd name="connsiteY10" fmla="*/ 319413 h 3828276"/>
              <a:gd name="connsiteX11" fmla="*/ 7826787 w 10715630"/>
              <a:gd name="connsiteY11" fmla="*/ 112734 h 3828276"/>
              <a:gd name="connsiteX12" fmla="*/ 8071044 w 10715630"/>
              <a:gd name="connsiteY12" fmla="*/ 43841 h 3828276"/>
              <a:gd name="connsiteX13" fmla="*/ 8534507 w 10715630"/>
              <a:gd name="connsiteY13" fmla="*/ 0 h 3828276"/>
              <a:gd name="connsiteX14" fmla="*/ 9142020 w 10715630"/>
              <a:gd name="connsiteY14" fmla="*/ 31315 h 3828276"/>
              <a:gd name="connsiteX15" fmla="*/ 9386277 w 10715630"/>
              <a:gd name="connsiteY15" fmla="*/ 93945 h 3828276"/>
              <a:gd name="connsiteX16" fmla="*/ 9592957 w 10715630"/>
              <a:gd name="connsiteY16" fmla="*/ 169101 h 3828276"/>
              <a:gd name="connsiteX17" fmla="*/ 9981263 w 10715630"/>
              <a:gd name="connsiteY17" fmla="*/ 375781 h 3828276"/>
              <a:gd name="connsiteX18" fmla="*/ 10425937 w 10715630"/>
              <a:gd name="connsiteY18" fmla="*/ 751561 h 3828276"/>
              <a:gd name="connsiteX19" fmla="*/ 10670195 w 10715630"/>
              <a:gd name="connsiteY19" fmla="*/ 1240076 h 3828276"/>
              <a:gd name="connsiteX20" fmla="*/ 10714036 w 10715630"/>
              <a:gd name="connsiteY20" fmla="*/ 1791222 h 3828276"/>
              <a:gd name="connsiteX21" fmla="*/ 10707773 w 10715630"/>
              <a:gd name="connsiteY21" fmla="*/ 2035479 h 3828276"/>
              <a:gd name="connsiteX22" fmla="*/ 10632617 w 10715630"/>
              <a:gd name="connsiteY22" fmla="*/ 2311052 h 3828276"/>
              <a:gd name="connsiteX23" fmla="*/ 10432200 w 10715630"/>
              <a:gd name="connsiteY23" fmla="*/ 2680570 h 3828276"/>
              <a:gd name="connsiteX24" fmla="*/ 10269362 w 10715630"/>
              <a:gd name="connsiteY24" fmla="*/ 2843408 h 3828276"/>
              <a:gd name="connsiteX25" fmla="*/ 10012578 w 10715630"/>
              <a:gd name="connsiteY25" fmla="*/ 2987457 h 3828276"/>
              <a:gd name="connsiteX26" fmla="*/ 9430118 w 10715630"/>
              <a:gd name="connsiteY26" fmla="*/ 3118981 h 3828276"/>
              <a:gd name="connsiteX27" fmla="*/ 8496929 w 10715630"/>
              <a:gd name="connsiteY27" fmla="*/ 3106455 h 3828276"/>
              <a:gd name="connsiteX28" fmla="*/ 7632633 w 10715630"/>
              <a:gd name="connsiteY28" fmla="*/ 3043824 h 3828276"/>
              <a:gd name="connsiteX29" fmla="*/ 7106540 w 10715630"/>
              <a:gd name="connsiteY29" fmla="*/ 2974931 h 3828276"/>
              <a:gd name="connsiteX30" fmla="*/ 5634732 w 10715630"/>
              <a:gd name="connsiteY30" fmla="*/ 2812093 h 3828276"/>
              <a:gd name="connsiteX31" fmla="*/ 5484420 w 10715630"/>
              <a:gd name="connsiteY31" fmla="*/ 2943616 h 3828276"/>
              <a:gd name="connsiteX32" fmla="*/ 5778781 w 10715630"/>
              <a:gd name="connsiteY32" fmla="*/ 2999983 h 3828276"/>
              <a:gd name="connsiteX33" fmla="*/ 5246425 w 10715630"/>
              <a:gd name="connsiteY33" fmla="*/ 2711885 h 3828276"/>
              <a:gd name="connsiteX0" fmla="*/ 2935373 w 10715630"/>
              <a:gd name="connsiteY0" fmla="*/ 3757808 h 3828276"/>
              <a:gd name="connsiteX1" fmla="*/ 0 w 10715630"/>
              <a:gd name="connsiteY1" fmla="*/ 3799348 h 3828276"/>
              <a:gd name="connsiteX2" fmla="*/ 3968770 w 10715630"/>
              <a:gd name="connsiteY2" fmla="*/ 3739019 h 3828276"/>
              <a:gd name="connsiteX3" fmla="*/ 5634732 w 10715630"/>
              <a:gd name="connsiteY3" fmla="*/ 2774515 h 3828276"/>
              <a:gd name="connsiteX4" fmla="*/ 5866463 w 10715630"/>
              <a:gd name="connsiteY4" fmla="*/ 2254685 h 3828276"/>
              <a:gd name="connsiteX5" fmla="*/ 5997987 w 10715630"/>
              <a:gd name="connsiteY5" fmla="*/ 1803748 h 3828276"/>
              <a:gd name="connsiteX6" fmla="*/ 6411346 w 10715630"/>
              <a:gd name="connsiteY6" fmla="*/ 1108553 h 3828276"/>
              <a:gd name="connsiteX7" fmla="*/ 6693181 w 10715630"/>
              <a:gd name="connsiteY7" fmla="*/ 770350 h 3828276"/>
              <a:gd name="connsiteX8" fmla="*/ 6843494 w 10715630"/>
              <a:gd name="connsiteY8" fmla="*/ 632564 h 3828276"/>
              <a:gd name="connsiteX9" fmla="*/ 7306957 w 10715630"/>
              <a:gd name="connsiteY9" fmla="*/ 319413 h 3828276"/>
              <a:gd name="connsiteX10" fmla="*/ 7826787 w 10715630"/>
              <a:gd name="connsiteY10" fmla="*/ 112734 h 3828276"/>
              <a:gd name="connsiteX11" fmla="*/ 8071044 w 10715630"/>
              <a:gd name="connsiteY11" fmla="*/ 43841 h 3828276"/>
              <a:gd name="connsiteX12" fmla="*/ 8534507 w 10715630"/>
              <a:gd name="connsiteY12" fmla="*/ 0 h 3828276"/>
              <a:gd name="connsiteX13" fmla="*/ 9142020 w 10715630"/>
              <a:gd name="connsiteY13" fmla="*/ 31315 h 3828276"/>
              <a:gd name="connsiteX14" fmla="*/ 9386277 w 10715630"/>
              <a:gd name="connsiteY14" fmla="*/ 93945 h 3828276"/>
              <a:gd name="connsiteX15" fmla="*/ 9592957 w 10715630"/>
              <a:gd name="connsiteY15" fmla="*/ 169101 h 3828276"/>
              <a:gd name="connsiteX16" fmla="*/ 9981263 w 10715630"/>
              <a:gd name="connsiteY16" fmla="*/ 375781 h 3828276"/>
              <a:gd name="connsiteX17" fmla="*/ 10425937 w 10715630"/>
              <a:gd name="connsiteY17" fmla="*/ 751561 h 3828276"/>
              <a:gd name="connsiteX18" fmla="*/ 10670195 w 10715630"/>
              <a:gd name="connsiteY18" fmla="*/ 1240076 h 3828276"/>
              <a:gd name="connsiteX19" fmla="*/ 10714036 w 10715630"/>
              <a:gd name="connsiteY19" fmla="*/ 1791222 h 3828276"/>
              <a:gd name="connsiteX20" fmla="*/ 10707773 w 10715630"/>
              <a:gd name="connsiteY20" fmla="*/ 2035479 h 3828276"/>
              <a:gd name="connsiteX21" fmla="*/ 10632617 w 10715630"/>
              <a:gd name="connsiteY21" fmla="*/ 2311052 h 3828276"/>
              <a:gd name="connsiteX22" fmla="*/ 10432200 w 10715630"/>
              <a:gd name="connsiteY22" fmla="*/ 2680570 h 3828276"/>
              <a:gd name="connsiteX23" fmla="*/ 10269362 w 10715630"/>
              <a:gd name="connsiteY23" fmla="*/ 2843408 h 3828276"/>
              <a:gd name="connsiteX24" fmla="*/ 10012578 w 10715630"/>
              <a:gd name="connsiteY24" fmla="*/ 2987457 h 3828276"/>
              <a:gd name="connsiteX25" fmla="*/ 9430118 w 10715630"/>
              <a:gd name="connsiteY25" fmla="*/ 3118981 h 3828276"/>
              <a:gd name="connsiteX26" fmla="*/ 8496929 w 10715630"/>
              <a:gd name="connsiteY26" fmla="*/ 3106455 h 3828276"/>
              <a:gd name="connsiteX27" fmla="*/ 7632633 w 10715630"/>
              <a:gd name="connsiteY27" fmla="*/ 3043824 h 3828276"/>
              <a:gd name="connsiteX28" fmla="*/ 7106540 w 10715630"/>
              <a:gd name="connsiteY28" fmla="*/ 2974931 h 3828276"/>
              <a:gd name="connsiteX29" fmla="*/ 5634732 w 10715630"/>
              <a:gd name="connsiteY29" fmla="*/ 2812093 h 3828276"/>
              <a:gd name="connsiteX30" fmla="*/ 5484420 w 10715630"/>
              <a:gd name="connsiteY30" fmla="*/ 2943616 h 3828276"/>
              <a:gd name="connsiteX31" fmla="*/ 5778781 w 10715630"/>
              <a:gd name="connsiteY31" fmla="*/ 2999983 h 3828276"/>
              <a:gd name="connsiteX32" fmla="*/ 5246425 w 10715630"/>
              <a:gd name="connsiteY32" fmla="*/ 2711885 h 3828276"/>
              <a:gd name="connsiteX0" fmla="*/ 0 w 10715630"/>
              <a:gd name="connsiteY0" fmla="*/ 3799348 h 3828276"/>
              <a:gd name="connsiteX1" fmla="*/ 3968770 w 10715630"/>
              <a:gd name="connsiteY1" fmla="*/ 3739019 h 3828276"/>
              <a:gd name="connsiteX2" fmla="*/ 5634732 w 10715630"/>
              <a:gd name="connsiteY2" fmla="*/ 2774515 h 3828276"/>
              <a:gd name="connsiteX3" fmla="*/ 5866463 w 10715630"/>
              <a:gd name="connsiteY3" fmla="*/ 2254685 h 3828276"/>
              <a:gd name="connsiteX4" fmla="*/ 5997987 w 10715630"/>
              <a:gd name="connsiteY4" fmla="*/ 1803748 h 3828276"/>
              <a:gd name="connsiteX5" fmla="*/ 6411346 w 10715630"/>
              <a:gd name="connsiteY5" fmla="*/ 1108553 h 3828276"/>
              <a:gd name="connsiteX6" fmla="*/ 6693181 w 10715630"/>
              <a:gd name="connsiteY6" fmla="*/ 770350 h 3828276"/>
              <a:gd name="connsiteX7" fmla="*/ 6843494 w 10715630"/>
              <a:gd name="connsiteY7" fmla="*/ 632564 h 3828276"/>
              <a:gd name="connsiteX8" fmla="*/ 7306957 w 10715630"/>
              <a:gd name="connsiteY8" fmla="*/ 319413 h 3828276"/>
              <a:gd name="connsiteX9" fmla="*/ 7826787 w 10715630"/>
              <a:gd name="connsiteY9" fmla="*/ 112734 h 3828276"/>
              <a:gd name="connsiteX10" fmla="*/ 8071044 w 10715630"/>
              <a:gd name="connsiteY10" fmla="*/ 43841 h 3828276"/>
              <a:gd name="connsiteX11" fmla="*/ 8534507 w 10715630"/>
              <a:gd name="connsiteY11" fmla="*/ 0 h 3828276"/>
              <a:gd name="connsiteX12" fmla="*/ 9142020 w 10715630"/>
              <a:gd name="connsiteY12" fmla="*/ 31315 h 3828276"/>
              <a:gd name="connsiteX13" fmla="*/ 9386277 w 10715630"/>
              <a:gd name="connsiteY13" fmla="*/ 93945 h 3828276"/>
              <a:gd name="connsiteX14" fmla="*/ 9592957 w 10715630"/>
              <a:gd name="connsiteY14" fmla="*/ 169101 h 3828276"/>
              <a:gd name="connsiteX15" fmla="*/ 9981263 w 10715630"/>
              <a:gd name="connsiteY15" fmla="*/ 375781 h 3828276"/>
              <a:gd name="connsiteX16" fmla="*/ 10425937 w 10715630"/>
              <a:gd name="connsiteY16" fmla="*/ 751561 h 3828276"/>
              <a:gd name="connsiteX17" fmla="*/ 10670195 w 10715630"/>
              <a:gd name="connsiteY17" fmla="*/ 1240076 h 3828276"/>
              <a:gd name="connsiteX18" fmla="*/ 10714036 w 10715630"/>
              <a:gd name="connsiteY18" fmla="*/ 1791222 h 3828276"/>
              <a:gd name="connsiteX19" fmla="*/ 10707773 w 10715630"/>
              <a:gd name="connsiteY19" fmla="*/ 2035479 h 3828276"/>
              <a:gd name="connsiteX20" fmla="*/ 10632617 w 10715630"/>
              <a:gd name="connsiteY20" fmla="*/ 2311052 h 3828276"/>
              <a:gd name="connsiteX21" fmla="*/ 10432200 w 10715630"/>
              <a:gd name="connsiteY21" fmla="*/ 2680570 h 3828276"/>
              <a:gd name="connsiteX22" fmla="*/ 10269362 w 10715630"/>
              <a:gd name="connsiteY22" fmla="*/ 2843408 h 3828276"/>
              <a:gd name="connsiteX23" fmla="*/ 10012578 w 10715630"/>
              <a:gd name="connsiteY23" fmla="*/ 2987457 h 3828276"/>
              <a:gd name="connsiteX24" fmla="*/ 9430118 w 10715630"/>
              <a:gd name="connsiteY24" fmla="*/ 3118981 h 3828276"/>
              <a:gd name="connsiteX25" fmla="*/ 8496929 w 10715630"/>
              <a:gd name="connsiteY25" fmla="*/ 3106455 h 3828276"/>
              <a:gd name="connsiteX26" fmla="*/ 7632633 w 10715630"/>
              <a:gd name="connsiteY26" fmla="*/ 3043824 h 3828276"/>
              <a:gd name="connsiteX27" fmla="*/ 7106540 w 10715630"/>
              <a:gd name="connsiteY27" fmla="*/ 2974931 h 3828276"/>
              <a:gd name="connsiteX28" fmla="*/ 5634732 w 10715630"/>
              <a:gd name="connsiteY28" fmla="*/ 2812093 h 3828276"/>
              <a:gd name="connsiteX29" fmla="*/ 5484420 w 10715630"/>
              <a:gd name="connsiteY29" fmla="*/ 2943616 h 3828276"/>
              <a:gd name="connsiteX30" fmla="*/ 5778781 w 10715630"/>
              <a:gd name="connsiteY30" fmla="*/ 2999983 h 3828276"/>
              <a:gd name="connsiteX31" fmla="*/ 5246425 w 10715630"/>
              <a:gd name="connsiteY31" fmla="*/ 2711885 h 3828276"/>
              <a:gd name="connsiteX0" fmla="*/ 0 w 10302990"/>
              <a:gd name="connsiteY0" fmla="*/ 3799348 h 3828276"/>
              <a:gd name="connsiteX1" fmla="*/ 3556130 w 10302990"/>
              <a:gd name="connsiteY1" fmla="*/ 3739019 h 3828276"/>
              <a:gd name="connsiteX2" fmla="*/ 5222092 w 10302990"/>
              <a:gd name="connsiteY2" fmla="*/ 2774515 h 3828276"/>
              <a:gd name="connsiteX3" fmla="*/ 5453823 w 10302990"/>
              <a:gd name="connsiteY3" fmla="*/ 2254685 h 3828276"/>
              <a:gd name="connsiteX4" fmla="*/ 5585347 w 10302990"/>
              <a:gd name="connsiteY4" fmla="*/ 1803748 h 3828276"/>
              <a:gd name="connsiteX5" fmla="*/ 5998706 w 10302990"/>
              <a:gd name="connsiteY5" fmla="*/ 1108553 h 3828276"/>
              <a:gd name="connsiteX6" fmla="*/ 6280541 w 10302990"/>
              <a:gd name="connsiteY6" fmla="*/ 770350 h 3828276"/>
              <a:gd name="connsiteX7" fmla="*/ 6430854 w 10302990"/>
              <a:gd name="connsiteY7" fmla="*/ 632564 h 3828276"/>
              <a:gd name="connsiteX8" fmla="*/ 6894317 w 10302990"/>
              <a:gd name="connsiteY8" fmla="*/ 319413 h 3828276"/>
              <a:gd name="connsiteX9" fmla="*/ 7414147 w 10302990"/>
              <a:gd name="connsiteY9" fmla="*/ 112734 h 3828276"/>
              <a:gd name="connsiteX10" fmla="*/ 7658404 w 10302990"/>
              <a:gd name="connsiteY10" fmla="*/ 43841 h 3828276"/>
              <a:gd name="connsiteX11" fmla="*/ 8121867 w 10302990"/>
              <a:gd name="connsiteY11" fmla="*/ 0 h 3828276"/>
              <a:gd name="connsiteX12" fmla="*/ 8729380 w 10302990"/>
              <a:gd name="connsiteY12" fmla="*/ 31315 h 3828276"/>
              <a:gd name="connsiteX13" fmla="*/ 8973637 w 10302990"/>
              <a:gd name="connsiteY13" fmla="*/ 93945 h 3828276"/>
              <a:gd name="connsiteX14" fmla="*/ 9180317 w 10302990"/>
              <a:gd name="connsiteY14" fmla="*/ 169101 h 3828276"/>
              <a:gd name="connsiteX15" fmla="*/ 9568623 w 10302990"/>
              <a:gd name="connsiteY15" fmla="*/ 375781 h 3828276"/>
              <a:gd name="connsiteX16" fmla="*/ 10013297 w 10302990"/>
              <a:gd name="connsiteY16" fmla="*/ 751561 h 3828276"/>
              <a:gd name="connsiteX17" fmla="*/ 10257555 w 10302990"/>
              <a:gd name="connsiteY17" fmla="*/ 1240076 h 3828276"/>
              <a:gd name="connsiteX18" fmla="*/ 10301396 w 10302990"/>
              <a:gd name="connsiteY18" fmla="*/ 1791222 h 3828276"/>
              <a:gd name="connsiteX19" fmla="*/ 10295133 w 10302990"/>
              <a:gd name="connsiteY19" fmla="*/ 2035479 h 3828276"/>
              <a:gd name="connsiteX20" fmla="*/ 10219977 w 10302990"/>
              <a:gd name="connsiteY20" fmla="*/ 2311052 h 3828276"/>
              <a:gd name="connsiteX21" fmla="*/ 10019560 w 10302990"/>
              <a:gd name="connsiteY21" fmla="*/ 2680570 h 3828276"/>
              <a:gd name="connsiteX22" fmla="*/ 9856722 w 10302990"/>
              <a:gd name="connsiteY22" fmla="*/ 2843408 h 3828276"/>
              <a:gd name="connsiteX23" fmla="*/ 9599938 w 10302990"/>
              <a:gd name="connsiteY23" fmla="*/ 2987457 h 3828276"/>
              <a:gd name="connsiteX24" fmla="*/ 9017478 w 10302990"/>
              <a:gd name="connsiteY24" fmla="*/ 3118981 h 3828276"/>
              <a:gd name="connsiteX25" fmla="*/ 8084289 w 10302990"/>
              <a:gd name="connsiteY25" fmla="*/ 3106455 h 3828276"/>
              <a:gd name="connsiteX26" fmla="*/ 7219993 w 10302990"/>
              <a:gd name="connsiteY26" fmla="*/ 3043824 h 3828276"/>
              <a:gd name="connsiteX27" fmla="*/ 6693900 w 10302990"/>
              <a:gd name="connsiteY27" fmla="*/ 2974931 h 3828276"/>
              <a:gd name="connsiteX28" fmla="*/ 5222092 w 10302990"/>
              <a:gd name="connsiteY28" fmla="*/ 2812093 h 3828276"/>
              <a:gd name="connsiteX29" fmla="*/ 5071780 w 10302990"/>
              <a:gd name="connsiteY29" fmla="*/ 2943616 h 3828276"/>
              <a:gd name="connsiteX30" fmla="*/ 5366141 w 10302990"/>
              <a:gd name="connsiteY30" fmla="*/ 2999983 h 3828276"/>
              <a:gd name="connsiteX31" fmla="*/ 4833785 w 10302990"/>
              <a:gd name="connsiteY31" fmla="*/ 2711885 h 3828276"/>
              <a:gd name="connsiteX0" fmla="*/ 0 w 9402684"/>
              <a:gd name="connsiteY0" fmla="*/ 4164902 h 4164902"/>
              <a:gd name="connsiteX1" fmla="*/ 2655824 w 9402684"/>
              <a:gd name="connsiteY1" fmla="*/ 3739019 h 4164902"/>
              <a:gd name="connsiteX2" fmla="*/ 4321786 w 9402684"/>
              <a:gd name="connsiteY2" fmla="*/ 2774515 h 4164902"/>
              <a:gd name="connsiteX3" fmla="*/ 4553517 w 9402684"/>
              <a:gd name="connsiteY3" fmla="*/ 2254685 h 4164902"/>
              <a:gd name="connsiteX4" fmla="*/ 4685041 w 9402684"/>
              <a:gd name="connsiteY4" fmla="*/ 1803748 h 4164902"/>
              <a:gd name="connsiteX5" fmla="*/ 5098400 w 9402684"/>
              <a:gd name="connsiteY5" fmla="*/ 1108553 h 4164902"/>
              <a:gd name="connsiteX6" fmla="*/ 5380235 w 9402684"/>
              <a:gd name="connsiteY6" fmla="*/ 770350 h 4164902"/>
              <a:gd name="connsiteX7" fmla="*/ 5530548 w 9402684"/>
              <a:gd name="connsiteY7" fmla="*/ 632564 h 4164902"/>
              <a:gd name="connsiteX8" fmla="*/ 5994011 w 9402684"/>
              <a:gd name="connsiteY8" fmla="*/ 319413 h 4164902"/>
              <a:gd name="connsiteX9" fmla="*/ 6513841 w 9402684"/>
              <a:gd name="connsiteY9" fmla="*/ 112734 h 4164902"/>
              <a:gd name="connsiteX10" fmla="*/ 6758098 w 9402684"/>
              <a:gd name="connsiteY10" fmla="*/ 43841 h 4164902"/>
              <a:gd name="connsiteX11" fmla="*/ 7221561 w 9402684"/>
              <a:gd name="connsiteY11" fmla="*/ 0 h 4164902"/>
              <a:gd name="connsiteX12" fmla="*/ 7829074 w 9402684"/>
              <a:gd name="connsiteY12" fmla="*/ 31315 h 4164902"/>
              <a:gd name="connsiteX13" fmla="*/ 8073331 w 9402684"/>
              <a:gd name="connsiteY13" fmla="*/ 93945 h 4164902"/>
              <a:gd name="connsiteX14" fmla="*/ 8280011 w 9402684"/>
              <a:gd name="connsiteY14" fmla="*/ 169101 h 4164902"/>
              <a:gd name="connsiteX15" fmla="*/ 8668317 w 9402684"/>
              <a:gd name="connsiteY15" fmla="*/ 375781 h 4164902"/>
              <a:gd name="connsiteX16" fmla="*/ 9112991 w 9402684"/>
              <a:gd name="connsiteY16" fmla="*/ 751561 h 4164902"/>
              <a:gd name="connsiteX17" fmla="*/ 9357249 w 9402684"/>
              <a:gd name="connsiteY17" fmla="*/ 1240076 h 4164902"/>
              <a:gd name="connsiteX18" fmla="*/ 9401090 w 9402684"/>
              <a:gd name="connsiteY18" fmla="*/ 1791222 h 4164902"/>
              <a:gd name="connsiteX19" fmla="*/ 9394827 w 9402684"/>
              <a:gd name="connsiteY19" fmla="*/ 2035479 h 4164902"/>
              <a:gd name="connsiteX20" fmla="*/ 9319671 w 9402684"/>
              <a:gd name="connsiteY20" fmla="*/ 2311052 h 4164902"/>
              <a:gd name="connsiteX21" fmla="*/ 9119254 w 9402684"/>
              <a:gd name="connsiteY21" fmla="*/ 2680570 h 4164902"/>
              <a:gd name="connsiteX22" fmla="*/ 8956416 w 9402684"/>
              <a:gd name="connsiteY22" fmla="*/ 2843408 h 4164902"/>
              <a:gd name="connsiteX23" fmla="*/ 8699632 w 9402684"/>
              <a:gd name="connsiteY23" fmla="*/ 2987457 h 4164902"/>
              <a:gd name="connsiteX24" fmla="*/ 8117172 w 9402684"/>
              <a:gd name="connsiteY24" fmla="*/ 3118981 h 4164902"/>
              <a:gd name="connsiteX25" fmla="*/ 7183983 w 9402684"/>
              <a:gd name="connsiteY25" fmla="*/ 3106455 h 4164902"/>
              <a:gd name="connsiteX26" fmla="*/ 6319687 w 9402684"/>
              <a:gd name="connsiteY26" fmla="*/ 3043824 h 4164902"/>
              <a:gd name="connsiteX27" fmla="*/ 5793594 w 9402684"/>
              <a:gd name="connsiteY27" fmla="*/ 2974931 h 4164902"/>
              <a:gd name="connsiteX28" fmla="*/ 4321786 w 9402684"/>
              <a:gd name="connsiteY28" fmla="*/ 2812093 h 4164902"/>
              <a:gd name="connsiteX29" fmla="*/ 4171474 w 9402684"/>
              <a:gd name="connsiteY29" fmla="*/ 2943616 h 4164902"/>
              <a:gd name="connsiteX30" fmla="*/ 4465835 w 9402684"/>
              <a:gd name="connsiteY30" fmla="*/ 2999983 h 4164902"/>
              <a:gd name="connsiteX31" fmla="*/ 3933479 w 9402684"/>
              <a:gd name="connsiteY31" fmla="*/ 2711885 h 4164902"/>
              <a:gd name="connsiteX0" fmla="*/ 0 w 9402684"/>
              <a:gd name="connsiteY0" fmla="*/ 4164902 h 4164902"/>
              <a:gd name="connsiteX1" fmla="*/ 2655824 w 9402684"/>
              <a:gd name="connsiteY1" fmla="*/ 3739019 h 4164902"/>
              <a:gd name="connsiteX2" fmla="*/ 4321786 w 9402684"/>
              <a:gd name="connsiteY2" fmla="*/ 2774515 h 4164902"/>
              <a:gd name="connsiteX3" fmla="*/ 4553517 w 9402684"/>
              <a:gd name="connsiteY3" fmla="*/ 2254685 h 4164902"/>
              <a:gd name="connsiteX4" fmla="*/ 4685041 w 9402684"/>
              <a:gd name="connsiteY4" fmla="*/ 1803748 h 4164902"/>
              <a:gd name="connsiteX5" fmla="*/ 5098400 w 9402684"/>
              <a:gd name="connsiteY5" fmla="*/ 1108553 h 4164902"/>
              <a:gd name="connsiteX6" fmla="*/ 5380235 w 9402684"/>
              <a:gd name="connsiteY6" fmla="*/ 770350 h 4164902"/>
              <a:gd name="connsiteX7" fmla="*/ 5530548 w 9402684"/>
              <a:gd name="connsiteY7" fmla="*/ 632564 h 4164902"/>
              <a:gd name="connsiteX8" fmla="*/ 5994011 w 9402684"/>
              <a:gd name="connsiteY8" fmla="*/ 319413 h 4164902"/>
              <a:gd name="connsiteX9" fmla="*/ 6513841 w 9402684"/>
              <a:gd name="connsiteY9" fmla="*/ 112734 h 4164902"/>
              <a:gd name="connsiteX10" fmla="*/ 6758098 w 9402684"/>
              <a:gd name="connsiteY10" fmla="*/ 43841 h 4164902"/>
              <a:gd name="connsiteX11" fmla="*/ 7221561 w 9402684"/>
              <a:gd name="connsiteY11" fmla="*/ 0 h 4164902"/>
              <a:gd name="connsiteX12" fmla="*/ 7829074 w 9402684"/>
              <a:gd name="connsiteY12" fmla="*/ 31315 h 4164902"/>
              <a:gd name="connsiteX13" fmla="*/ 8073331 w 9402684"/>
              <a:gd name="connsiteY13" fmla="*/ 93945 h 4164902"/>
              <a:gd name="connsiteX14" fmla="*/ 8280011 w 9402684"/>
              <a:gd name="connsiteY14" fmla="*/ 169101 h 4164902"/>
              <a:gd name="connsiteX15" fmla="*/ 8668317 w 9402684"/>
              <a:gd name="connsiteY15" fmla="*/ 375781 h 4164902"/>
              <a:gd name="connsiteX16" fmla="*/ 9112991 w 9402684"/>
              <a:gd name="connsiteY16" fmla="*/ 751561 h 4164902"/>
              <a:gd name="connsiteX17" fmla="*/ 9357249 w 9402684"/>
              <a:gd name="connsiteY17" fmla="*/ 1240076 h 4164902"/>
              <a:gd name="connsiteX18" fmla="*/ 9401090 w 9402684"/>
              <a:gd name="connsiteY18" fmla="*/ 1791222 h 4164902"/>
              <a:gd name="connsiteX19" fmla="*/ 9394827 w 9402684"/>
              <a:gd name="connsiteY19" fmla="*/ 2035479 h 4164902"/>
              <a:gd name="connsiteX20" fmla="*/ 9319671 w 9402684"/>
              <a:gd name="connsiteY20" fmla="*/ 2311052 h 4164902"/>
              <a:gd name="connsiteX21" fmla="*/ 9119254 w 9402684"/>
              <a:gd name="connsiteY21" fmla="*/ 2680570 h 4164902"/>
              <a:gd name="connsiteX22" fmla="*/ 8956416 w 9402684"/>
              <a:gd name="connsiteY22" fmla="*/ 2843408 h 4164902"/>
              <a:gd name="connsiteX23" fmla="*/ 8731095 w 9402684"/>
              <a:gd name="connsiteY23" fmla="*/ 2974295 h 4164902"/>
              <a:gd name="connsiteX24" fmla="*/ 8699632 w 9402684"/>
              <a:gd name="connsiteY24" fmla="*/ 2987457 h 4164902"/>
              <a:gd name="connsiteX25" fmla="*/ 8117172 w 9402684"/>
              <a:gd name="connsiteY25" fmla="*/ 3118981 h 4164902"/>
              <a:gd name="connsiteX26" fmla="*/ 7183983 w 9402684"/>
              <a:gd name="connsiteY26" fmla="*/ 3106455 h 4164902"/>
              <a:gd name="connsiteX27" fmla="*/ 6319687 w 9402684"/>
              <a:gd name="connsiteY27" fmla="*/ 3043824 h 4164902"/>
              <a:gd name="connsiteX28" fmla="*/ 5793594 w 9402684"/>
              <a:gd name="connsiteY28" fmla="*/ 2974931 h 4164902"/>
              <a:gd name="connsiteX29" fmla="*/ 4321786 w 9402684"/>
              <a:gd name="connsiteY29" fmla="*/ 2812093 h 4164902"/>
              <a:gd name="connsiteX30" fmla="*/ 4171474 w 9402684"/>
              <a:gd name="connsiteY30" fmla="*/ 2943616 h 4164902"/>
              <a:gd name="connsiteX31" fmla="*/ 4465835 w 9402684"/>
              <a:gd name="connsiteY31" fmla="*/ 2999983 h 4164902"/>
              <a:gd name="connsiteX32" fmla="*/ 3933479 w 9402684"/>
              <a:gd name="connsiteY32" fmla="*/ 2711885 h 4164902"/>
              <a:gd name="connsiteX0" fmla="*/ 0 w 9402684"/>
              <a:gd name="connsiteY0" fmla="*/ 4164902 h 4164902"/>
              <a:gd name="connsiteX1" fmla="*/ 2655824 w 9402684"/>
              <a:gd name="connsiteY1" fmla="*/ 3739019 h 4164902"/>
              <a:gd name="connsiteX2" fmla="*/ 4321786 w 9402684"/>
              <a:gd name="connsiteY2" fmla="*/ 2774515 h 4164902"/>
              <a:gd name="connsiteX3" fmla="*/ 4553517 w 9402684"/>
              <a:gd name="connsiteY3" fmla="*/ 2254685 h 4164902"/>
              <a:gd name="connsiteX4" fmla="*/ 4685041 w 9402684"/>
              <a:gd name="connsiteY4" fmla="*/ 1803748 h 4164902"/>
              <a:gd name="connsiteX5" fmla="*/ 5098400 w 9402684"/>
              <a:gd name="connsiteY5" fmla="*/ 1108553 h 4164902"/>
              <a:gd name="connsiteX6" fmla="*/ 5380235 w 9402684"/>
              <a:gd name="connsiteY6" fmla="*/ 770350 h 4164902"/>
              <a:gd name="connsiteX7" fmla="*/ 5530548 w 9402684"/>
              <a:gd name="connsiteY7" fmla="*/ 632564 h 4164902"/>
              <a:gd name="connsiteX8" fmla="*/ 5994011 w 9402684"/>
              <a:gd name="connsiteY8" fmla="*/ 319413 h 4164902"/>
              <a:gd name="connsiteX9" fmla="*/ 6513841 w 9402684"/>
              <a:gd name="connsiteY9" fmla="*/ 112734 h 4164902"/>
              <a:gd name="connsiteX10" fmla="*/ 6758098 w 9402684"/>
              <a:gd name="connsiteY10" fmla="*/ 43841 h 4164902"/>
              <a:gd name="connsiteX11" fmla="*/ 7221561 w 9402684"/>
              <a:gd name="connsiteY11" fmla="*/ 0 h 4164902"/>
              <a:gd name="connsiteX12" fmla="*/ 7829074 w 9402684"/>
              <a:gd name="connsiteY12" fmla="*/ 31315 h 4164902"/>
              <a:gd name="connsiteX13" fmla="*/ 8073331 w 9402684"/>
              <a:gd name="connsiteY13" fmla="*/ 93945 h 4164902"/>
              <a:gd name="connsiteX14" fmla="*/ 8280011 w 9402684"/>
              <a:gd name="connsiteY14" fmla="*/ 169101 h 4164902"/>
              <a:gd name="connsiteX15" fmla="*/ 8668317 w 9402684"/>
              <a:gd name="connsiteY15" fmla="*/ 375781 h 4164902"/>
              <a:gd name="connsiteX16" fmla="*/ 9112991 w 9402684"/>
              <a:gd name="connsiteY16" fmla="*/ 751561 h 4164902"/>
              <a:gd name="connsiteX17" fmla="*/ 9357249 w 9402684"/>
              <a:gd name="connsiteY17" fmla="*/ 1240076 h 4164902"/>
              <a:gd name="connsiteX18" fmla="*/ 9401090 w 9402684"/>
              <a:gd name="connsiteY18" fmla="*/ 1791222 h 4164902"/>
              <a:gd name="connsiteX19" fmla="*/ 9394827 w 9402684"/>
              <a:gd name="connsiteY19" fmla="*/ 2035479 h 4164902"/>
              <a:gd name="connsiteX20" fmla="*/ 9319671 w 9402684"/>
              <a:gd name="connsiteY20" fmla="*/ 2311052 h 4164902"/>
              <a:gd name="connsiteX21" fmla="*/ 9119254 w 9402684"/>
              <a:gd name="connsiteY21" fmla="*/ 2680570 h 4164902"/>
              <a:gd name="connsiteX22" fmla="*/ 8731095 w 9402684"/>
              <a:gd name="connsiteY22" fmla="*/ 2974295 h 4164902"/>
              <a:gd name="connsiteX23" fmla="*/ 8699632 w 9402684"/>
              <a:gd name="connsiteY23" fmla="*/ 2987457 h 4164902"/>
              <a:gd name="connsiteX24" fmla="*/ 8117172 w 9402684"/>
              <a:gd name="connsiteY24" fmla="*/ 3118981 h 4164902"/>
              <a:gd name="connsiteX25" fmla="*/ 7183983 w 9402684"/>
              <a:gd name="connsiteY25" fmla="*/ 3106455 h 4164902"/>
              <a:gd name="connsiteX26" fmla="*/ 6319687 w 9402684"/>
              <a:gd name="connsiteY26" fmla="*/ 3043824 h 4164902"/>
              <a:gd name="connsiteX27" fmla="*/ 5793594 w 9402684"/>
              <a:gd name="connsiteY27" fmla="*/ 2974931 h 4164902"/>
              <a:gd name="connsiteX28" fmla="*/ 4321786 w 9402684"/>
              <a:gd name="connsiteY28" fmla="*/ 2812093 h 4164902"/>
              <a:gd name="connsiteX29" fmla="*/ 4171474 w 9402684"/>
              <a:gd name="connsiteY29" fmla="*/ 2943616 h 4164902"/>
              <a:gd name="connsiteX30" fmla="*/ 4465835 w 9402684"/>
              <a:gd name="connsiteY30" fmla="*/ 2999983 h 4164902"/>
              <a:gd name="connsiteX31" fmla="*/ 3933479 w 9402684"/>
              <a:gd name="connsiteY31" fmla="*/ 2711885 h 4164902"/>
              <a:gd name="connsiteX0" fmla="*/ 0 w 9402684"/>
              <a:gd name="connsiteY0" fmla="*/ 4164902 h 4164902"/>
              <a:gd name="connsiteX1" fmla="*/ 2655824 w 9402684"/>
              <a:gd name="connsiteY1" fmla="*/ 3739019 h 4164902"/>
              <a:gd name="connsiteX2" fmla="*/ 4321786 w 9402684"/>
              <a:gd name="connsiteY2" fmla="*/ 2774515 h 4164902"/>
              <a:gd name="connsiteX3" fmla="*/ 4553517 w 9402684"/>
              <a:gd name="connsiteY3" fmla="*/ 2254685 h 4164902"/>
              <a:gd name="connsiteX4" fmla="*/ 4685041 w 9402684"/>
              <a:gd name="connsiteY4" fmla="*/ 1803748 h 4164902"/>
              <a:gd name="connsiteX5" fmla="*/ 5098400 w 9402684"/>
              <a:gd name="connsiteY5" fmla="*/ 1108553 h 4164902"/>
              <a:gd name="connsiteX6" fmla="*/ 5380235 w 9402684"/>
              <a:gd name="connsiteY6" fmla="*/ 770350 h 4164902"/>
              <a:gd name="connsiteX7" fmla="*/ 5530548 w 9402684"/>
              <a:gd name="connsiteY7" fmla="*/ 632564 h 4164902"/>
              <a:gd name="connsiteX8" fmla="*/ 5994011 w 9402684"/>
              <a:gd name="connsiteY8" fmla="*/ 319413 h 4164902"/>
              <a:gd name="connsiteX9" fmla="*/ 6513841 w 9402684"/>
              <a:gd name="connsiteY9" fmla="*/ 112734 h 4164902"/>
              <a:gd name="connsiteX10" fmla="*/ 6758098 w 9402684"/>
              <a:gd name="connsiteY10" fmla="*/ 43841 h 4164902"/>
              <a:gd name="connsiteX11" fmla="*/ 7221561 w 9402684"/>
              <a:gd name="connsiteY11" fmla="*/ 0 h 4164902"/>
              <a:gd name="connsiteX12" fmla="*/ 7829074 w 9402684"/>
              <a:gd name="connsiteY12" fmla="*/ 31315 h 4164902"/>
              <a:gd name="connsiteX13" fmla="*/ 8073331 w 9402684"/>
              <a:gd name="connsiteY13" fmla="*/ 93945 h 4164902"/>
              <a:gd name="connsiteX14" fmla="*/ 8280011 w 9402684"/>
              <a:gd name="connsiteY14" fmla="*/ 169101 h 4164902"/>
              <a:gd name="connsiteX15" fmla="*/ 8668317 w 9402684"/>
              <a:gd name="connsiteY15" fmla="*/ 375781 h 4164902"/>
              <a:gd name="connsiteX16" fmla="*/ 9112991 w 9402684"/>
              <a:gd name="connsiteY16" fmla="*/ 751561 h 4164902"/>
              <a:gd name="connsiteX17" fmla="*/ 9357249 w 9402684"/>
              <a:gd name="connsiteY17" fmla="*/ 1240076 h 4164902"/>
              <a:gd name="connsiteX18" fmla="*/ 9401090 w 9402684"/>
              <a:gd name="connsiteY18" fmla="*/ 1791222 h 4164902"/>
              <a:gd name="connsiteX19" fmla="*/ 9394827 w 9402684"/>
              <a:gd name="connsiteY19" fmla="*/ 2035479 h 4164902"/>
              <a:gd name="connsiteX20" fmla="*/ 9319671 w 9402684"/>
              <a:gd name="connsiteY20" fmla="*/ 2311052 h 4164902"/>
              <a:gd name="connsiteX21" fmla="*/ 9119254 w 9402684"/>
              <a:gd name="connsiteY21" fmla="*/ 2680570 h 4164902"/>
              <a:gd name="connsiteX22" fmla="*/ 8731095 w 9402684"/>
              <a:gd name="connsiteY22" fmla="*/ 2974295 h 4164902"/>
              <a:gd name="connsiteX23" fmla="*/ 8117172 w 9402684"/>
              <a:gd name="connsiteY23" fmla="*/ 3118981 h 4164902"/>
              <a:gd name="connsiteX24" fmla="*/ 7183983 w 9402684"/>
              <a:gd name="connsiteY24" fmla="*/ 3106455 h 4164902"/>
              <a:gd name="connsiteX25" fmla="*/ 6319687 w 9402684"/>
              <a:gd name="connsiteY25" fmla="*/ 3043824 h 4164902"/>
              <a:gd name="connsiteX26" fmla="*/ 5793594 w 9402684"/>
              <a:gd name="connsiteY26" fmla="*/ 2974931 h 4164902"/>
              <a:gd name="connsiteX27" fmla="*/ 4321786 w 9402684"/>
              <a:gd name="connsiteY27" fmla="*/ 2812093 h 4164902"/>
              <a:gd name="connsiteX28" fmla="*/ 4171474 w 9402684"/>
              <a:gd name="connsiteY28" fmla="*/ 2943616 h 4164902"/>
              <a:gd name="connsiteX29" fmla="*/ 4465835 w 9402684"/>
              <a:gd name="connsiteY29" fmla="*/ 2999983 h 4164902"/>
              <a:gd name="connsiteX30" fmla="*/ 3933479 w 9402684"/>
              <a:gd name="connsiteY30" fmla="*/ 2711885 h 4164902"/>
              <a:gd name="connsiteX0" fmla="*/ 0 w 9402684"/>
              <a:gd name="connsiteY0" fmla="*/ 4164902 h 4164902"/>
              <a:gd name="connsiteX1" fmla="*/ 2655824 w 9402684"/>
              <a:gd name="connsiteY1" fmla="*/ 3739019 h 4164902"/>
              <a:gd name="connsiteX2" fmla="*/ 4321786 w 9402684"/>
              <a:gd name="connsiteY2" fmla="*/ 2774515 h 4164902"/>
              <a:gd name="connsiteX3" fmla="*/ 4553517 w 9402684"/>
              <a:gd name="connsiteY3" fmla="*/ 2254685 h 4164902"/>
              <a:gd name="connsiteX4" fmla="*/ 4685041 w 9402684"/>
              <a:gd name="connsiteY4" fmla="*/ 1803748 h 4164902"/>
              <a:gd name="connsiteX5" fmla="*/ 5098400 w 9402684"/>
              <a:gd name="connsiteY5" fmla="*/ 1108553 h 4164902"/>
              <a:gd name="connsiteX6" fmla="*/ 5380235 w 9402684"/>
              <a:gd name="connsiteY6" fmla="*/ 770350 h 4164902"/>
              <a:gd name="connsiteX7" fmla="*/ 5530548 w 9402684"/>
              <a:gd name="connsiteY7" fmla="*/ 632564 h 4164902"/>
              <a:gd name="connsiteX8" fmla="*/ 5994011 w 9402684"/>
              <a:gd name="connsiteY8" fmla="*/ 319413 h 4164902"/>
              <a:gd name="connsiteX9" fmla="*/ 6513841 w 9402684"/>
              <a:gd name="connsiteY9" fmla="*/ 112734 h 4164902"/>
              <a:gd name="connsiteX10" fmla="*/ 6758098 w 9402684"/>
              <a:gd name="connsiteY10" fmla="*/ 43841 h 4164902"/>
              <a:gd name="connsiteX11" fmla="*/ 7221561 w 9402684"/>
              <a:gd name="connsiteY11" fmla="*/ 0 h 4164902"/>
              <a:gd name="connsiteX12" fmla="*/ 7829074 w 9402684"/>
              <a:gd name="connsiteY12" fmla="*/ 31315 h 4164902"/>
              <a:gd name="connsiteX13" fmla="*/ 8073331 w 9402684"/>
              <a:gd name="connsiteY13" fmla="*/ 93945 h 4164902"/>
              <a:gd name="connsiteX14" fmla="*/ 8280011 w 9402684"/>
              <a:gd name="connsiteY14" fmla="*/ 169101 h 4164902"/>
              <a:gd name="connsiteX15" fmla="*/ 8668317 w 9402684"/>
              <a:gd name="connsiteY15" fmla="*/ 375781 h 4164902"/>
              <a:gd name="connsiteX16" fmla="*/ 9112991 w 9402684"/>
              <a:gd name="connsiteY16" fmla="*/ 751561 h 4164902"/>
              <a:gd name="connsiteX17" fmla="*/ 9357249 w 9402684"/>
              <a:gd name="connsiteY17" fmla="*/ 1240076 h 4164902"/>
              <a:gd name="connsiteX18" fmla="*/ 9401090 w 9402684"/>
              <a:gd name="connsiteY18" fmla="*/ 1791222 h 4164902"/>
              <a:gd name="connsiteX19" fmla="*/ 9394827 w 9402684"/>
              <a:gd name="connsiteY19" fmla="*/ 2035479 h 4164902"/>
              <a:gd name="connsiteX20" fmla="*/ 9319671 w 9402684"/>
              <a:gd name="connsiteY20" fmla="*/ 2311052 h 4164902"/>
              <a:gd name="connsiteX21" fmla="*/ 9119254 w 9402684"/>
              <a:gd name="connsiteY21" fmla="*/ 2680570 h 4164902"/>
              <a:gd name="connsiteX22" fmla="*/ 8117172 w 9402684"/>
              <a:gd name="connsiteY22" fmla="*/ 3118981 h 4164902"/>
              <a:gd name="connsiteX23" fmla="*/ 7183983 w 9402684"/>
              <a:gd name="connsiteY23" fmla="*/ 3106455 h 4164902"/>
              <a:gd name="connsiteX24" fmla="*/ 6319687 w 9402684"/>
              <a:gd name="connsiteY24" fmla="*/ 3043824 h 4164902"/>
              <a:gd name="connsiteX25" fmla="*/ 5793594 w 9402684"/>
              <a:gd name="connsiteY25" fmla="*/ 2974931 h 4164902"/>
              <a:gd name="connsiteX26" fmla="*/ 4321786 w 9402684"/>
              <a:gd name="connsiteY26" fmla="*/ 2812093 h 4164902"/>
              <a:gd name="connsiteX27" fmla="*/ 4171474 w 9402684"/>
              <a:gd name="connsiteY27" fmla="*/ 2943616 h 4164902"/>
              <a:gd name="connsiteX28" fmla="*/ 4465835 w 9402684"/>
              <a:gd name="connsiteY28" fmla="*/ 2999983 h 4164902"/>
              <a:gd name="connsiteX29" fmla="*/ 3933479 w 9402684"/>
              <a:gd name="connsiteY29" fmla="*/ 2711885 h 4164902"/>
              <a:gd name="connsiteX0" fmla="*/ 0 w 9402684"/>
              <a:gd name="connsiteY0" fmla="*/ 4164902 h 4164902"/>
              <a:gd name="connsiteX1" fmla="*/ 2655824 w 9402684"/>
              <a:gd name="connsiteY1" fmla="*/ 3739019 h 4164902"/>
              <a:gd name="connsiteX2" fmla="*/ 4321786 w 9402684"/>
              <a:gd name="connsiteY2" fmla="*/ 2774515 h 4164902"/>
              <a:gd name="connsiteX3" fmla="*/ 4553517 w 9402684"/>
              <a:gd name="connsiteY3" fmla="*/ 2254685 h 4164902"/>
              <a:gd name="connsiteX4" fmla="*/ 4685041 w 9402684"/>
              <a:gd name="connsiteY4" fmla="*/ 1803748 h 4164902"/>
              <a:gd name="connsiteX5" fmla="*/ 5098400 w 9402684"/>
              <a:gd name="connsiteY5" fmla="*/ 1108553 h 4164902"/>
              <a:gd name="connsiteX6" fmla="*/ 5380235 w 9402684"/>
              <a:gd name="connsiteY6" fmla="*/ 770350 h 4164902"/>
              <a:gd name="connsiteX7" fmla="*/ 5530548 w 9402684"/>
              <a:gd name="connsiteY7" fmla="*/ 632564 h 4164902"/>
              <a:gd name="connsiteX8" fmla="*/ 5994011 w 9402684"/>
              <a:gd name="connsiteY8" fmla="*/ 319413 h 4164902"/>
              <a:gd name="connsiteX9" fmla="*/ 6513841 w 9402684"/>
              <a:gd name="connsiteY9" fmla="*/ 112734 h 4164902"/>
              <a:gd name="connsiteX10" fmla="*/ 6758098 w 9402684"/>
              <a:gd name="connsiteY10" fmla="*/ 43841 h 4164902"/>
              <a:gd name="connsiteX11" fmla="*/ 7221561 w 9402684"/>
              <a:gd name="connsiteY11" fmla="*/ 0 h 4164902"/>
              <a:gd name="connsiteX12" fmla="*/ 7829074 w 9402684"/>
              <a:gd name="connsiteY12" fmla="*/ 31315 h 4164902"/>
              <a:gd name="connsiteX13" fmla="*/ 8073331 w 9402684"/>
              <a:gd name="connsiteY13" fmla="*/ 93945 h 4164902"/>
              <a:gd name="connsiteX14" fmla="*/ 8280011 w 9402684"/>
              <a:gd name="connsiteY14" fmla="*/ 169101 h 4164902"/>
              <a:gd name="connsiteX15" fmla="*/ 8668317 w 9402684"/>
              <a:gd name="connsiteY15" fmla="*/ 375781 h 4164902"/>
              <a:gd name="connsiteX16" fmla="*/ 9112991 w 9402684"/>
              <a:gd name="connsiteY16" fmla="*/ 751561 h 4164902"/>
              <a:gd name="connsiteX17" fmla="*/ 9357249 w 9402684"/>
              <a:gd name="connsiteY17" fmla="*/ 1240076 h 4164902"/>
              <a:gd name="connsiteX18" fmla="*/ 9401090 w 9402684"/>
              <a:gd name="connsiteY18" fmla="*/ 1791222 h 4164902"/>
              <a:gd name="connsiteX19" fmla="*/ 9394827 w 9402684"/>
              <a:gd name="connsiteY19" fmla="*/ 2035479 h 4164902"/>
              <a:gd name="connsiteX20" fmla="*/ 9319671 w 9402684"/>
              <a:gd name="connsiteY20" fmla="*/ 2311052 h 4164902"/>
              <a:gd name="connsiteX21" fmla="*/ 9119254 w 9402684"/>
              <a:gd name="connsiteY21" fmla="*/ 2680570 h 4164902"/>
              <a:gd name="connsiteX22" fmla="*/ 7183983 w 9402684"/>
              <a:gd name="connsiteY22" fmla="*/ 3106455 h 4164902"/>
              <a:gd name="connsiteX23" fmla="*/ 6319687 w 9402684"/>
              <a:gd name="connsiteY23" fmla="*/ 3043824 h 4164902"/>
              <a:gd name="connsiteX24" fmla="*/ 5793594 w 9402684"/>
              <a:gd name="connsiteY24" fmla="*/ 2974931 h 4164902"/>
              <a:gd name="connsiteX25" fmla="*/ 4321786 w 9402684"/>
              <a:gd name="connsiteY25" fmla="*/ 2812093 h 4164902"/>
              <a:gd name="connsiteX26" fmla="*/ 4171474 w 9402684"/>
              <a:gd name="connsiteY26" fmla="*/ 2943616 h 4164902"/>
              <a:gd name="connsiteX27" fmla="*/ 4465835 w 9402684"/>
              <a:gd name="connsiteY27" fmla="*/ 2999983 h 4164902"/>
              <a:gd name="connsiteX28" fmla="*/ 3933479 w 9402684"/>
              <a:gd name="connsiteY28" fmla="*/ 2711885 h 4164902"/>
              <a:gd name="connsiteX0" fmla="*/ 0 w 9501499"/>
              <a:gd name="connsiteY0" fmla="*/ 4164902 h 4164902"/>
              <a:gd name="connsiteX1" fmla="*/ 2655824 w 9501499"/>
              <a:gd name="connsiteY1" fmla="*/ 3739019 h 4164902"/>
              <a:gd name="connsiteX2" fmla="*/ 4321786 w 9501499"/>
              <a:gd name="connsiteY2" fmla="*/ 2774515 h 4164902"/>
              <a:gd name="connsiteX3" fmla="*/ 4553517 w 9501499"/>
              <a:gd name="connsiteY3" fmla="*/ 2254685 h 4164902"/>
              <a:gd name="connsiteX4" fmla="*/ 4685041 w 9501499"/>
              <a:gd name="connsiteY4" fmla="*/ 1803748 h 4164902"/>
              <a:gd name="connsiteX5" fmla="*/ 5098400 w 9501499"/>
              <a:gd name="connsiteY5" fmla="*/ 1108553 h 4164902"/>
              <a:gd name="connsiteX6" fmla="*/ 5380235 w 9501499"/>
              <a:gd name="connsiteY6" fmla="*/ 770350 h 4164902"/>
              <a:gd name="connsiteX7" fmla="*/ 5530548 w 9501499"/>
              <a:gd name="connsiteY7" fmla="*/ 632564 h 4164902"/>
              <a:gd name="connsiteX8" fmla="*/ 5994011 w 9501499"/>
              <a:gd name="connsiteY8" fmla="*/ 319413 h 4164902"/>
              <a:gd name="connsiteX9" fmla="*/ 6513841 w 9501499"/>
              <a:gd name="connsiteY9" fmla="*/ 112734 h 4164902"/>
              <a:gd name="connsiteX10" fmla="*/ 6758098 w 9501499"/>
              <a:gd name="connsiteY10" fmla="*/ 43841 h 4164902"/>
              <a:gd name="connsiteX11" fmla="*/ 7221561 w 9501499"/>
              <a:gd name="connsiteY11" fmla="*/ 0 h 4164902"/>
              <a:gd name="connsiteX12" fmla="*/ 7829074 w 9501499"/>
              <a:gd name="connsiteY12" fmla="*/ 31315 h 4164902"/>
              <a:gd name="connsiteX13" fmla="*/ 8073331 w 9501499"/>
              <a:gd name="connsiteY13" fmla="*/ 93945 h 4164902"/>
              <a:gd name="connsiteX14" fmla="*/ 8280011 w 9501499"/>
              <a:gd name="connsiteY14" fmla="*/ 169101 h 4164902"/>
              <a:gd name="connsiteX15" fmla="*/ 8668317 w 9501499"/>
              <a:gd name="connsiteY15" fmla="*/ 375781 h 4164902"/>
              <a:gd name="connsiteX16" fmla="*/ 9112991 w 9501499"/>
              <a:gd name="connsiteY16" fmla="*/ 751561 h 4164902"/>
              <a:gd name="connsiteX17" fmla="*/ 9357249 w 9501499"/>
              <a:gd name="connsiteY17" fmla="*/ 1240076 h 4164902"/>
              <a:gd name="connsiteX18" fmla="*/ 9401090 w 9501499"/>
              <a:gd name="connsiteY18" fmla="*/ 1791222 h 4164902"/>
              <a:gd name="connsiteX19" fmla="*/ 9394827 w 9501499"/>
              <a:gd name="connsiteY19" fmla="*/ 2035479 h 4164902"/>
              <a:gd name="connsiteX20" fmla="*/ 9319671 w 9501499"/>
              <a:gd name="connsiteY20" fmla="*/ 2311052 h 4164902"/>
              <a:gd name="connsiteX21" fmla="*/ 7183983 w 9501499"/>
              <a:gd name="connsiteY21" fmla="*/ 3106455 h 4164902"/>
              <a:gd name="connsiteX22" fmla="*/ 6319687 w 9501499"/>
              <a:gd name="connsiteY22" fmla="*/ 3043824 h 4164902"/>
              <a:gd name="connsiteX23" fmla="*/ 5793594 w 9501499"/>
              <a:gd name="connsiteY23" fmla="*/ 2974931 h 4164902"/>
              <a:gd name="connsiteX24" fmla="*/ 4321786 w 9501499"/>
              <a:gd name="connsiteY24" fmla="*/ 2812093 h 4164902"/>
              <a:gd name="connsiteX25" fmla="*/ 4171474 w 9501499"/>
              <a:gd name="connsiteY25" fmla="*/ 2943616 h 4164902"/>
              <a:gd name="connsiteX26" fmla="*/ 4465835 w 9501499"/>
              <a:gd name="connsiteY26" fmla="*/ 2999983 h 4164902"/>
              <a:gd name="connsiteX27" fmla="*/ 3933479 w 9501499"/>
              <a:gd name="connsiteY27" fmla="*/ 2711885 h 4164902"/>
              <a:gd name="connsiteX0" fmla="*/ 0 w 9560696"/>
              <a:gd name="connsiteY0" fmla="*/ 4164902 h 4164902"/>
              <a:gd name="connsiteX1" fmla="*/ 2655824 w 9560696"/>
              <a:gd name="connsiteY1" fmla="*/ 3739019 h 4164902"/>
              <a:gd name="connsiteX2" fmla="*/ 4321786 w 9560696"/>
              <a:gd name="connsiteY2" fmla="*/ 2774515 h 4164902"/>
              <a:gd name="connsiteX3" fmla="*/ 4553517 w 9560696"/>
              <a:gd name="connsiteY3" fmla="*/ 2254685 h 4164902"/>
              <a:gd name="connsiteX4" fmla="*/ 4685041 w 9560696"/>
              <a:gd name="connsiteY4" fmla="*/ 1803748 h 4164902"/>
              <a:gd name="connsiteX5" fmla="*/ 5098400 w 9560696"/>
              <a:gd name="connsiteY5" fmla="*/ 1108553 h 4164902"/>
              <a:gd name="connsiteX6" fmla="*/ 5380235 w 9560696"/>
              <a:gd name="connsiteY6" fmla="*/ 770350 h 4164902"/>
              <a:gd name="connsiteX7" fmla="*/ 5530548 w 9560696"/>
              <a:gd name="connsiteY7" fmla="*/ 632564 h 4164902"/>
              <a:gd name="connsiteX8" fmla="*/ 5994011 w 9560696"/>
              <a:gd name="connsiteY8" fmla="*/ 319413 h 4164902"/>
              <a:gd name="connsiteX9" fmla="*/ 6513841 w 9560696"/>
              <a:gd name="connsiteY9" fmla="*/ 112734 h 4164902"/>
              <a:gd name="connsiteX10" fmla="*/ 6758098 w 9560696"/>
              <a:gd name="connsiteY10" fmla="*/ 43841 h 4164902"/>
              <a:gd name="connsiteX11" fmla="*/ 7221561 w 9560696"/>
              <a:gd name="connsiteY11" fmla="*/ 0 h 4164902"/>
              <a:gd name="connsiteX12" fmla="*/ 7829074 w 9560696"/>
              <a:gd name="connsiteY12" fmla="*/ 31315 h 4164902"/>
              <a:gd name="connsiteX13" fmla="*/ 8073331 w 9560696"/>
              <a:gd name="connsiteY13" fmla="*/ 93945 h 4164902"/>
              <a:gd name="connsiteX14" fmla="*/ 8280011 w 9560696"/>
              <a:gd name="connsiteY14" fmla="*/ 169101 h 4164902"/>
              <a:gd name="connsiteX15" fmla="*/ 8668317 w 9560696"/>
              <a:gd name="connsiteY15" fmla="*/ 375781 h 4164902"/>
              <a:gd name="connsiteX16" fmla="*/ 9112991 w 9560696"/>
              <a:gd name="connsiteY16" fmla="*/ 751561 h 4164902"/>
              <a:gd name="connsiteX17" fmla="*/ 9357249 w 9560696"/>
              <a:gd name="connsiteY17" fmla="*/ 1240076 h 4164902"/>
              <a:gd name="connsiteX18" fmla="*/ 9401090 w 9560696"/>
              <a:gd name="connsiteY18" fmla="*/ 1791222 h 4164902"/>
              <a:gd name="connsiteX19" fmla="*/ 9394827 w 9560696"/>
              <a:gd name="connsiteY19" fmla="*/ 2035479 h 4164902"/>
              <a:gd name="connsiteX20" fmla="*/ 7183983 w 9560696"/>
              <a:gd name="connsiteY20" fmla="*/ 3106455 h 4164902"/>
              <a:gd name="connsiteX21" fmla="*/ 6319687 w 9560696"/>
              <a:gd name="connsiteY21" fmla="*/ 3043824 h 4164902"/>
              <a:gd name="connsiteX22" fmla="*/ 5793594 w 9560696"/>
              <a:gd name="connsiteY22" fmla="*/ 2974931 h 4164902"/>
              <a:gd name="connsiteX23" fmla="*/ 4321786 w 9560696"/>
              <a:gd name="connsiteY23" fmla="*/ 2812093 h 4164902"/>
              <a:gd name="connsiteX24" fmla="*/ 4171474 w 9560696"/>
              <a:gd name="connsiteY24" fmla="*/ 2943616 h 4164902"/>
              <a:gd name="connsiteX25" fmla="*/ 4465835 w 9560696"/>
              <a:gd name="connsiteY25" fmla="*/ 2999983 h 4164902"/>
              <a:gd name="connsiteX26" fmla="*/ 3933479 w 9560696"/>
              <a:gd name="connsiteY26" fmla="*/ 2711885 h 4164902"/>
              <a:gd name="connsiteX0" fmla="*/ 0 w 9434827"/>
              <a:gd name="connsiteY0" fmla="*/ 4164902 h 4164902"/>
              <a:gd name="connsiteX1" fmla="*/ 2655824 w 9434827"/>
              <a:gd name="connsiteY1" fmla="*/ 3739019 h 4164902"/>
              <a:gd name="connsiteX2" fmla="*/ 4321786 w 9434827"/>
              <a:gd name="connsiteY2" fmla="*/ 2774515 h 4164902"/>
              <a:gd name="connsiteX3" fmla="*/ 4553517 w 9434827"/>
              <a:gd name="connsiteY3" fmla="*/ 2254685 h 4164902"/>
              <a:gd name="connsiteX4" fmla="*/ 4685041 w 9434827"/>
              <a:gd name="connsiteY4" fmla="*/ 1803748 h 4164902"/>
              <a:gd name="connsiteX5" fmla="*/ 5098400 w 9434827"/>
              <a:gd name="connsiteY5" fmla="*/ 1108553 h 4164902"/>
              <a:gd name="connsiteX6" fmla="*/ 5380235 w 9434827"/>
              <a:gd name="connsiteY6" fmla="*/ 770350 h 4164902"/>
              <a:gd name="connsiteX7" fmla="*/ 5530548 w 9434827"/>
              <a:gd name="connsiteY7" fmla="*/ 632564 h 4164902"/>
              <a:gd name="connsiteX8" fmla="*/ 5994011 w 9434827"/>
              <a:gd name="connsiteY8" fmla="*/ 319413 h 4164902"/>
              <a:gd name="connsiteX9" fmla="*/ 6513841 w 9434827"/>
              <a:gd name="connsiteY9" fmla="*/ 112734 h 4164902"/>
              <a:gd name="connsiteX10" fmla="*/ 6758098 w 9434827"/>
              <a:gd name="connsiteY10" fmla="*/ 43841 h 4164902"/>
              <a:gd name="connsiteX11" fmla="*/ 7221561 w 9434827"/>
              <a:gd name="connsiteY11" fmla="*/ 0 h 4164902"/>
              <a:gd name="connsiteX12" fmla="*/ 7829074 w 9434827"/>
              <a:gd name="connsiteY12" fmla="*/ 31315 h 4164902"/>
              <a:gd name="connsiteX13" fmla="*/ 8073331 w 9434827"/>
              <a:gd name="connsiteY13" fmla="*/ 93945 h 4164902"/>
              <a:gd name="connsiteX14" fmla="*/ 8280011 w 9434827"/>
              <a:gd name="connsiteY14" fmla="*/ 169101 h 4164902"/>
              <a:gd name="connsiteX15" fmla="*/ 8668317 w 9434827"/>
              <a:gd name="connsiteY15" fmla="*/ 375781 h 4164902"/>
              <a:gd name="connsiteX16" fmla="*/ 9112991 w 9434827"/>
              <a:gd name="connsiteY16" fmla="*/ 751561 h 4164902"/>
              <a:gd name="connsiteX17" fmla="*/ 9357249 w 9434827"/>
              <a:gd name="connsiteY17" fmla="*/ 1240076 h 4164902"/>
              <a:gd name="connsiteX18" fmla="*/ 9401090 w 9434827"/>
              <a:gd name="connsiteY18" fmla="*/ 1791222 h 4164902"/>
              <a:gd name="connsiteX19" fmla="*/ 8879025 w 9434827"/>
              <a:gd name="connsiteY19" fmla="*/ 2907829 h 4164902"/>
              <a:gd name="connsiteX20" fmla="*/ 7183983 w 9434827"/>
              <a:gd name="connsiteY20" fmla="*/ 3106455 h 4164902"/>
              <a:gd name="connsiteX21" fmla="*/ 6319687 w 9434827"/>
              <a:gd name="connsiteY21" fmla="*/ 3043824 h 4164902"/>
              <a:gd name="connsiteX22" fmla="*/ 5793594 w 9434827"/>
              <a:gd name="connsiteY22" fmla="*/ 2974931 h 4164902"/>
              <a:gd name="connsiteX23" fmla="*/ 4321786 w 9434827"/>
              <a:gd name="connsiteY23" fmla="*/ 2812093 h 4164902"/>
              <a:gd name="connsiteX24" fmla="*/ 4171474 w 9434827"/>
              <a:gd name="connsiteY24" fmla="*/ 2943616 h 4164902"/>
              <a:gd name="connsiteX25" fmla="*/ 4465835 w 9434827"/>
              <a:gd name="connsiteY25" fmla="*/ 2999983 h 4164902"/>
              <a:gd name="connsiteX26" fmla="*/ 3933479 w 9434827"/>
              <a:gd name="connsiteY26" fmla="*/ 2711885 h 4164902"/>
              <a:gd name="connsiteX0" fmla="*/ 0 w 9405946"/>
              <a:gd name="connsiteY0" fmla="*/ 4164902 h 4164902"/>
              <a:gd name="connsiteX1" fmla="*/ 2655824 w 9405946"/>
              <a:gd name="connsiteY1" fmla="*/ 3739019 h 4164902"/>
              <a:gd name="connsiteX2" fmla="*/ 4321786 w 9405946"/>
              <a:gd name="connsiteY2" fmla="*/ 2774515 h 4164902"/>
              <a:gd name="connsiteX3" fmla="*/ 4553517 w 9405946"/>
              <a:gd name="connsiteY3" fmla="*/ 2254685 h 4164902"/>
              <a:gd name="connsiteX4" fmla="*/ 4685041 w 9405946"/>
              <a:gd name="connsiteY4" fmla="*/ 1803748 h 4164902"/>
              <a:gd name="connsiteX5" fmla="*/ 5098400 w 9405946"/>
              <a:gd name="connsiteY5" fmla="*/ 1108553 h 4164902"/>
              <a:gd name="connsiteX6" fmla="*/ 5380235 w 9405946"/>
              <a:gd name="connsiteY6" fmla="*/ 770350 h 4164902"/>
              <a:gd name="connsiteX7" fmla="*/ 5530548 w 9405946"/>
              <a:gd name="connsiteY7" fmla="*/ 632564 h 4164902"/>
              <a:gd name="connsiteX8" fmla="*/ 5994011 w 9405946"/>
              <a:gd name="connsiteY8" fmla="*/ 319413 h 4164902"/>
              <a:gd name="connsiteX9" fmla="*/ 6513841 w 9405946"/>
              <a:gd name="connsiteY9" fmla="*/ 112734 h 4164902"/>
              <a:gd name="connsiteX10" fmla="*/ 6758098 w 9405946"/>
              <a:gd name="connsiteY10" fmla="*/ 43841 h 4164902"/>
              <a:gd name="connsiteX11" fmla="*/ 7221561 w 9405946"/>
              <a:gd name="connsiteY11" fmla="*/ 0 h 4164902"/>
              <a:gd name="connsiteX12" fmla="*/ 7829074 w 9405946"/>
              <a:gd name="connsiteY12" fmla="*/ 31315 h 4164902"/>
              <a:gd name="connsiteX13" fmla="*/ 8073331 w 9405946"/>
              <a:gd name="connsiteY13" fmla="*/ 93945 h 4164902"/>
              <a:gd name="connsiteX14" fmla="*/ 8280011 w 9405946"/>
              <a:gd name="connsiteY14" fmla="*/ 169101 h 4164902"/>
              <a:gd name="connsiteX15" fmla="*/ 8668317 w 9405946"/>
              <a:gd name="connsiteY15" fmla="*/ 375781 h 4164902"/>
              <a:gd name="connsiteX16" fmla="*/ 9112991 w 9405946"/>
              <a:gd name="connsiteY16" fmla="*/ 751561 h 4164902"/>
              <a:gd name="connsiteX17" fmla="*/ 9401090 w 9405946"/>
              <a:gd name="connsiteY17" fmla="*/ 1791222 h 4164902"/>
              <a:gd name="connsiteX18" fmla="*/ 8879025 w 9405946"/>
              <a:gd name="connsiteY18" fmla="*/ 2907829 h 4164902"/>
              <a:gd name="connsiteX19" fmla="*/ 7183983 w 9405946"/>
              <a:gd name="connsiteY19" fmla="*/ 3106455 h 4164902"/>
              <a:gd name="connsiteX20" fmla="*/ 6319687 w 9405946"/>
              <a:gd name="connsiteY20" fmla="*/ 3043824 h 4164902"/>
              <a:gd name="connsiteX21" fmla="*/ 5793594 w 9405946"/>
              <a:gd name="connsiteY21" fmla="*/ 2974931 h 4164902"/>
              <a:gd name="connsiteX22" fmla="*/ 4321786 w 9405946"/>
              <a:gd name="connsiteY22" fmla="*/ 2812093 h 4164902"/>
              <a:gd name="connsiteX23" fmla="*/ 4171474 w 9405946"/>
              <a:gd name="connsiteY23" fmla="*/ 2943616 h 4164902"/>
              <a:gd name="connsiteX24" fmla="*/ 4465835 w 9405946"/>
              <a:gd name="connsiteY24" fmla="*/ 2999983 h 4164902"/>
              <a:gd name="connsiteX25" fmla="*/ 3933479 w 9405946"/>
              <a:gd name="connsiteY25" fmla="*/ 2711885 h 4164902"/>
              <a:gd name="connsiteX0" fmla="*/ 0 w 9407634"/>
              <a:gd name="connsiteY0" fmla="*/ 4164902 h 4164902"/>
              <a:gd name="connsiteX1" fmla="*/ 2655824 w 9407634"/>
              <a:gd name="connsiteY1" fmla="*/ 3739019 h 4164902"/>
              <a:gd name="connsiteX2" fmla="*/ 4321786 w 9407634"/>
              <a:gd name="connsiteY2" fmla="*/ 2774515 h 4164902"/>
              <a:gd name="connsiteX3" fmla="*/ 4553517 w 9407634"/>
              <a:gd name="connsiteY3" fmla="*/ 2254685 h 4164902"/>
              <a:gd name="connsiteX4" fmla="*/ 4685041 w 9407634"/>
              <a:gd name="connsiteY4" fmla="*/ 1803748 h 4164902"/>
              <a:gd name="connsiteX5" fmla="*/ 5098400 w 9407634"/>
              <a:gd name="connsiteY5" fmla="*/ 1108553 h 4164902"/>
              <a:gd name="connsiteX6" fmla="*/ 5380235 w 9407634"/>
              <a:gd name="connsiteY6" fmla="*/ 770350 h 4164902"/>
              <a:gd name="connsiteX7" fmla="*/ 5530548 w 9407634"/>
              <a:gd name="connsiteY7" fmla="*/ 632564 h 4164902"/>
              <a:gd name="connsiteX8" fmla="*/ 5994011 w 9407634"/>
              <a:gd name="connsiteY8" fmla="*/ 319413 h 4164902"/>
              <a:gd name="connsiteX9" fmla="*/ 6513841 w 9407634"/>
              <a:gd name="connsiteY9" fmla="*/ 112734 h 4164902"/>
              <a:gd name="connsiteX10" fmla="*/ 6758098 w 9407634"/>
              <a:gd name="connsiteY10" fmla="*/ 43841 h 4164902"/>
              <a:gd name="connsiteX11" fmla="*/ 7221561 w 9407634"/>
              <a:gd name="connsiteY11" fmla="*/ 0 h 4164902"/>
              <a:gd name="connsiteX12" fmla="*/ 7829074 w 9407634"/>
              <a:gd name="connsiteY12" fmla="*/ 31315 h 4164902"/>
              <a:gd name="connsiteX13" fmla="*/ 8073331 w 9407634"/>
              <a:gd name="connsiteY13" fmla="*/ 93945 h 4164902"/>
              <a:gd name="connsiteX14" fmla="*/ 8280011 w 9407634"/>
              <a:gd name="connsiteY14" fmla="*/ 169101 h 4164902"/>
              <a:gd name="connsiteX15" fmla="*/ 9112991 w 9407634"/>
              <a:gd name="connsiteY15" fmla="*/ 751561 h 4164902"/>
              <a:gd name="connsiteX16" fmla="*/ 9401090 w 9407634"/>
              <a:gd name="connsiteY16" fmla="*/ 1791222 h 4164902"/>
              <a:gd name="connsiteX17" fmla="*/ 8879025 w 9407634"/>
              <a:gd name="connsiteY17" fmla="*/ 2907829 h 4164902"/>
              <a:gd name="connsiteX18" fmla="*/ 7183983 w 9407634"/>
              <a:gd name="connsiteY18" fmla="*/ 3106455 h 4164902"/>
              <a:gd name="connsiteX19" fmla="*/ 6319687 w 9407634"/>
              <a:gd name="connsiteY19" fmla="*/ 3043824 h 4164902"/>
              <a:gd name="connsiteX20" fmla="*/ 5793594 w 9407634"/>
              <a:gd name="connsiteY20" fmla="*/ 2974931 h 4164902"/>
              <a:gd name="connsiteX21" fmla="*/ 4321786 w 9407634"/>
              <a:gd name="connsiteY21" fmla="*/ 2812093 h 4164902"/>
              <a:gd name="connsiteX22" fmla="*/ 4171474 w 9407634"/>
              <a:gd name="connsiteY22" fmla="*/ 2943616 h 4164902"/>
              <a:gd name="connsiteX23" fmla="*/ 4465835 w 9407634"/>
              <a:gd name="connsiteY23" fmla="*/ 2999983 h 4164902"/>
              <a:gd name="connsiteX24" fmla="*/ 3933479 w 9407634"/>
              <a:gd name="connsiteY24" fmla="*/ 2711885 h 4164902"/>
              <a:gd name="connsiteX0" fmla="*/ 0 w 9409039"/>
              <a:gd name="connsiteY0" fmla="*/ 4164902 h 4164902"/>
              <a:gd name="connsiteX1" fmla="*/ 2655824 w 9409039"/>
              <a:gd name="connsiteY1" fmla="*/ 3739019 h 4164902"/>
              <a:gd name="connsiteX2" fmla="*/ 4321786 w 9409039"/>
              <a:gd name="connsiteY2" fmla="*/ 2774515 h 4164902"/>
              <a:gd name="connsiteX3" fmla="*/ 4553517 w 9409039"/>
              <a:gd name="connsiteY3" fmla="*/ 2254685 h 4164902"/>
              <a:gd name="connsiteX4" fmla="*/ 4685041 w 9409039"/>
              <a:gd name="connsiteY4" fmla="*/ 1803748 h 4164902"/>
              <a:gd name="connsiteX5" fmla="*/ 5098400 w 9409039"/>
              <a:gd name="connsiteY5" fmla="*/ 1108553 h 4164902"/>
              <a:gd name="connsiteX6" fmla="*/ 5380235 w 9409039"/>
              <a:gd name="connsiteY6" fmla="*/ 770350 h 4164902"/>
              <a:gd name="connsiteX7" fmla="*/ 5530548 w 9409039"/>
              <a:gd name="connsiteY7" fmla="*/ 632564 h 4164902"/>
              <a:gd name="connsiteX8" fmla="*/ 5994011 w 9409039"/>
              <a:gd name="connsiteY8" fmla="*/ 319413 h 4164902"/>
              <a:gd name="connsiteX9" fmla="*/ 6513841 w 9409039"/>
              <a:gd name="connsiteY9" fmla="*/ 112734 h 4164902"/>
              <a:gd name="connsiteX10" fmla="*/ 6758098 w 9409039"/>
              <a:gd name="connsiteY10" fmla="*/ 43841 h 4164902"/>
              <a:gd name="connsiteX11" fmla="*/ 7221561 w 9409039"/>
              <a:gd name="connsiteY11" fmla="*/ 0 h 4164902"/>
              <a:gd name="connsiteX12" fmla="*/ 7829074 w 9409039"/>
              <a:gd name="connsiteY12" fmla="*/ 31315 h 4164902"/>
              <a:gd name="connsiteX13" fmla="*/ 8073331 w 9409039"/>
              <a:gd name="connsiteY13" fmla="*/ 93945 h 4164902"/>
              <a:gd name="connsiteX14" fmla="*/ 9112991 w 9409039"/>
              <a:gd name="connsiteY14" fmla="*/ 751561 h 4164902"/>
              <a:gd name="connsiteX15" fmla="*/ 9401090 w 9409039"/>
              <a:gd name="connsiteY15" fmla="*/ 1791222 h 4164902"/>
              <a:gd name="connsiteX16" fmla="*/ 8879025 w 9409039"/>
              <a:gd name="connsiteY16" fmla="*/ 2907829 h 4164902"/>
              <a:gd name="connsiteX17" fmla="*/ 7183983 w 9409039"/>
              <a:gd name="connsiteY17" fmla="*/ 3106455 h 4164902"/>
              <a:gd name="connsiteX18" fmla="*/ 6319687 w 9409039"/>
              <a:gd name="connsiteY18" fmla="*/ 3043824 h 4164902"/>
              <a:gd name="connsiteX19" fmla="*/ 5793594 w 9409039"/>
              <a:gd name="connsiteY19" fmla="*/ 2974931 h 4164902"/>
              <a:gd name="connsiteX20" fmla="*/ 4321786 w 9409039"/>
              <a:gd name="connsiteY20" fmla="*/ 2812093 h 4164902"/>
              <a:gd name="connsiteX21" fmla="*/ 4171474 w 9409039"/>
              <a:gd name="connsiteY21" fmla="*/ 2943616 h 4164902"/>
              <a:gd name="connsiteX22" fmla="*/ 4465835 w 9409039"/>
              <a:gd name="connsiteY22" fmla="*/ 2999983 h 4164902"/>
              <a:gd name="connsiteX23" fmla="*/ 3933479 w 9409039"/>
              <a:gd name="connsiteY23" fmla="*/ 2711885 h 4164902"/>
              <a:gd name="connsiteX0" fmla="*/ 0 w 9409039"/>
              <a:gd name="connsiteY0" fmla="*/ 4164902 h 4164902"/>
              <a:gd name="connsiteX1" fmla="*/ 2655824 w 9409039"/>
              <a:gd name="connsiteY1" fmla="*/ 3739019 h 4164902"/>
              <a:gd name="connsiteX2" fmla="*/ 4321786 w 9409039"/>
              <a:gd name="connsiteY2" fmla="*/ 2774515 h 4164902"/>
              <a:gd name="connsiteX3" fmla="*/ 4553517 w 9409039"/>
              <a:gd name="connsiteY3" fmla="*/ 2254685 h 4164902"/>
              <a:gd name="connsiteX4" fmla="*/ 4685041 w 9409039"/>
              <a:gd name="connsiteY4" fmla="*/ 1803748 h 4164902"/>
              <a:gd name="connsiteX5" fmla="*/ 5098400 w 9409039"/>
              <a:gd name="connsiteY5" fmla="*/ 1108553 h 4164902"/>
              <a:gd name="connsiteX6" fmla="*/ 5380235 w 9409039"/>
              <a:gd name="connsiteY6" fmla="*/ 770350 h 4164902"/>
              <a:gd name="connsiteX7" fmla="*/ 5530548 w 9409039"/>
              <a:gd name="connsiteY7" fmla="*/ 632564 h 4164902"/>
              <a:gd name="connsiteX8" fmla="*/ 5994011 w 9409039"/>
              <a:gd name="connsiteY8" fmla="*/ 319413 h 4164902"/>
              <a:gd name="connsiteX9" fmla="*/ 6513841 w 9409039"/>
              <a:gd name="connsiteY9" fmla="*/ 112734 h 4164902"/>
              <a:gd name="connsiteX10" fmla="*/ 6758098 w 9409039"/>
              <a:gd name="connsiteY10" fmla="*/ 43841 h 4164902"/>
              <a:gd name="connsiteX11" fmla="*/ 7221561 w 9409039"/>
              <a:gd name="connsiteY11" fmla="*/ 0 h 4164902"/>
              <a:gd name="connsiteX12" fmla="*/ 7829074 w 9409039"/>
              <a:gd name="connsiteY12" fmla="*/ 31315 h 4164902"/>
              <a:gd name="connsiteX13" fmla="*/ 8018350 w 9409039"/>
              <a:gd name="connsiteY13" fmla="*/ 74773 h 4164902"/>
              <a:gd name="connsiteX14" fmla="*/ 8073331 w 9409039"/>
              <a:gd name="connsiteY14" fmla="*/ 93945 h 4164902"/>
              <a:gd name="connsiteX15" fmla="*/ 9112991 w 9409039"/>
              <a:gd name="connsiteY15" fmla="*/ 751561 h 4164902"/>
              <a:gd name="connsiteX16" fmla="*/ 9401090 w 9409039"/>
              <a:gd name="connsiteY16" fmla="*/ 1791222 h 4164902"/>
              <a:gd name="connsiteX17" fmla="*/ 8879025 w 9409039"/>
              <a:gd name="connsiteY17" fmla="*/ 2907829 h 4164902"/>
              <a:gd name="connsiteX18" fmla="*/ 7183983 w 9409039"/>
              <a:gd name="connsiteY18" fmla="*/ 3106455 h 4164902"/>
              <a:gd name="connsiteX19" fmla="*/ 6319687 w 9409039"/>
              <a:gd name="connsiteY19" fmla="*/ 3043824 h 4164902"/>
              <a:gd name="connsiteX20" fmla="*/ 5793594 w 9409039"/>
              <a:gd name="connsiteY20" fmla="*/ 2974931 h 4164902"/>
              <a:gd name="connsiteX21" fmla="*/ 4321786 w 9409039"/>
              <a:gd name="connsiteY21" fmla="*/ 2812093 h 4164902"/>
              <a:gd name="connsiteX22" fmla="*/ 4171474 w 9409039"/>
              <a:gd name="connsiteY22" fmla="*/ 2943616 h 4164902"/>
              <a:gd name="connsiteX23" fmla="*/ 4465835 w 9409039"/>
              <a:gd name="connsiteY23" fmla="*/ 2999983 h 4164902"/>
              <a:gd name="connsiteX24" fmla="*/ 3933479 w 9409039"/>
              <a:gd name="connsiteY24" fmla="*/ 2711885 h 4164902"/>
              <a:gd name="connsiteX0" fmla="*/ 0 w 9409039"/>
              <a:gd name="connsiteY0" fmla="*/ 4164902 h 4164902"/>
              <a:gd name="connsiteX1" fmla="*/ 2655824 w 9409039"/>
              <a:gd name="connsiteY1" fmla="*/ 3739019 h 4164902"/>
              <a:gd name="connsiteX2" fmla="*/ 4321786 w 9409039"/>
              <a:gd name="connsiteY2" fmla="*/ 2774515 h 4164902"/>
              <a:gd name="connsiteX3" fmla="*/ 4553517 w 9409039"/>
              <a:gd name="connsiteY3" fmla="*/ 2254685 h 4164902"/>
              <a:gd name="connsiteX4" fmla="*/ 4685041 w 9409039"/>
              <a:gd name="connsiteY4" fmla="*/ 1803748 h 4164902"/>
              <a:gd name="connsiteX5" fmla="*/ 5098400 w 9409039"/>
              <a:gd name="connsiteY5" fmla="*/ 1108553 h 4164902"/>
              <a:gd name="connsiteX6" fmla="*/ 5380235 w 9409039"/>
              <a:gd name="connsiteY6" fmla="*/ 770350 h 4164902"/>
              <a:gd name="connsiteX7" fmla="*/ 5530548 w 9409039"/>
              <a:gd name="connsiteY7" fmla="*/ 632564 h 4164902"/>
              <a:gd name="connsiteX8" fmla="*/ 5994011 w 9409039"/>
              <a:gd name="connsiteY8" fmla="*/ 319413 h 4164902"/>
              <a:gd name="connsiteX9" fmla="*/ 6513841 w 9409039"/>
              <a:gd name="connsiteY9" fmla="*/ 112734 h 4164902"/>
              <a:gd name="connsiteX10" fmla="*/ 6758098 w 9409039"/>
              <a:gd name="connsiteY10" fmla="*/ 43841 h 4164902"/>
              <a:gd name="connsiteX11" fmla="*/ 7221561 w 9409039"/>
              <a:gd name="connsiteY11" fmla="*/ 0 h 4164902"/>
              <a:gd name="connsiteX12" fmla="*/ 8018350 w 9409039"/>
              <a:gd name="connsiteY12" fmla="*/ 74773 h 4164902"/>
              <a:gd name="connsiteX13" fmla="*/ 8073331 w 9409039"/>
              <a:gd name="connsiteY13" fmla="*/ 93945 h 4164902"/>
              <a:gd name="connsiteX14" fmla="*/ 9112991 w 9409039"/>
              <a:gd name="connsiteY14" fmla="*/ 751561 h 4164902"/>
              <a:gd name="connsiteX15" fmla="*/ 9401090 w 9409039"/>
              <a:gd name="connsiteY15" fmla="*/ 1791222 h 4164902"/>
              <a:gd name="connsiteX16" fmla="*/ 8879025 w 9409039"/>
              <a:gd name="connsiteY16" fmla="*/ 2907829 h 4164902"/>
              <a:gd name="connsiteX17" fmla="*/ 7183983 w 9409039"/>
              <a:gd name="connsiteY17" fmla="*/ 3106455 h 4164902"/>
              <a:gd name="connsiteX18" fmla="*/ 6319687 w 9409039"/>
              <a:gd name="connsiteY18" fmla="*/ 3043824 h 4164902"/>
              <a:gd name="connsiteX19" fmla="*/ 5793594 w 9409039"/>
              <a:gd name="connsiteY19" fmla="*/ 2974931 h 4164902"/>
              <a:gd name="connsiteX20" fmla="*/ 4321786 w 9409039"/>
              <a:gd name="connsiteY20" fmla="*/ 2812093 h 4164902"/>
              <a:gd name="connsiteX21" fmla="*/ 4171474 w 9409039"/>
              <a:gd name="connsiteY21" fmla="*/ 2943616 h 4164902"/>
              <a:gd name="connsiteX22" fmla="*/ 4465835 w 9409039"/>
              <a:gd name="connsiteY22" fmla="*/ 2999983 h 4164902"/>
              <a:gd name="connsiteX23" fmla="*/ 3933479 w 9409039"/>
              <a:gd name="connsiteY23" fmla="*/ 2711885 h 4164902"/>
              <a:gd name="connsiteX0" fmla="*/ 0 w 9409502"/>
              <a:gd name="connsiteY0" fmla="*/ 4172857 h 4172857"/>
              <a:gd name="connsiteX1" fmla="*/ 2655824 w 9409502"/>
              <a:gd name="connsiteY1" fmla="*/ 3746974 h 4172857"/>
              <a:gd name="connsiteX2" fmla="*/ 4321786 w 9409502"/>
              <a:gd name="connsiteY2" fmla="*/ 2782470 h 4172857"/>
              <a:gd name="connsiteX3" fmla="*/ 4553517 w 9409502"/>
              <a:gd name="connsiteY3" fmla="*/ 2262640 h 4172857"/>
              <a:gd name="connsiteX4" fmla="*/ 4685041 w 9409502"/>
              <a:gd name="connsiteY4" fmla="*/ 1811703 h 4172857"/>
              <a:gd name="connsiteX5" fmla="*/ 5098400 w 9409502"/>
              <a:gd name="connsiteY5" fmla="*/ 1116508 h 4172857"/>
              <a:gd name="connsiteX6" fmla="*/ 5380235 w 9409502"/>
              <a:gd name="connsiteY6" fmla="*/ 778305 h 4172857"/>
              <a:gd name="connsiteX7" fmla="*/ 5530548 w 9409502"/>
              <a:gd name="connsiteY7" fmla="*/ 640519 h 4172857"/>
              <a:gd name="connsiteX8" fmla="*/ 5994011 w 9409502"/>
              <a:gd name="connsiteY8" fmla="*/ 327368 h 4172857"/>
              <a:gd name="connsiteX9" fmla="*/ 6513841 w 9409502"/>
              <a:gd name="connsiteY9" fmla="*/ 120689 h 4172857"/>
              <a:gd name="connsiteX10" fmla="*/ 6758098 w 9409502"/>
              <a:gd name="connsiteY10" fmla="*/ 51796 h 4172857"/>
              <a:gd name="connsiteX11" fmla="*/ 7221561 w 9409502"/>
              <a:gd name="connsiteY11" fmla="*/ 7955 h 4172857"/>
              <a:gd name="connsiteX12" fmla="*/ 8018350 w 9409502"/>
              <a:gd name="connsiteY12" fmla="*/ 82728 h 4172857"/>
              <a:gd name="connsiteX13" fmla="*/ 9112991 w 9409502"/>
              <a:gd name="connsiteY13" fmla="*/ 759516 h 4172857"/>
              <a:gd name="connsiteX14" fmla="*/ 9401090 w 9409502"/>
              <a:gd name="connsiteY14" fmla="*/ 1799177 h 4172857"/>
              <a:gd name="connsiteX15" fmla="*/ 8879025 w 9409502"/>
              <a:gd name="connsiteY15" fmla="*/ 2915784 h 4172857"/>
              <a:gd name="connsiteX16" fmla="*/ 7183983 w 9409502"/>
              <a:gd name="connsiteY16" fmla="*/ 3114410 h 4172857"/>
              <a:gd name="connsiteX17" fmla="*/ 6319687 w 9409502"/>
              <a:gd name="connsiteY17" fmla="*/ 3051779 h 4172857"/>
              <a:gd name="connsiteX18" fmla="*/ 5793594 w 9409502"/>
              <a:gd name="connsiteY18" fmla="*/ 2982886 h 4172857"/>
              <a:gd name="connsiteX19" fmla="*/ 4321786 w 9409502"/>
              <a:gd name="connsiteY19" fmla="*/ 2820048 h 4172857"/>
              <a:gd name="connsiteX20" fmla="*/ 4171474 w 9409502"/>
              <a:gd name="connsiteY20" fmla="*/ 2951571 h 4172857"/>
              <a:gd name="connsiteX21" fmla="*/ 4465835 w 9409502"/>
              <a:gd name="connsiteY21" fmla="*/ 3007938 h 4172857"/>
              <a:gd name="connsiteX22" fmla="*/ 3933479 w 9409502"/>
              <a:gd name="connsiteY22" fmla="*/ 2719840 h 4172857"/>
              <a:gd name="connsiteX0" fmla="*/ 0 w 9409105"/>
              <a:gd name="connsiteY0" fmla="*/ 4172858 h 4172858"/>
              <a:gd name="connsiteX1" fmla="*/ 2655824 w 9409105"/>
              <a:gd name="connsiteY1" fmla="*/ 3746975 h 4172858"/>
              <a:gd name="connsiteX2" fmla="*/ 4321786 w 9409105"/>
              <a:gd name="connsiteY2" fmla="*/ 2782471 h 4172858"/>
              <a:gd name="connsiteX3" fmla="*/ 4553517 w 9409105"/>
              <a:gd name="connsiteY3" fmla="*/ 2262641 h 4172858"/>
              <a:gd name="connsiteX4" fmla="*/ 4685041 w 9409105"/>
              <a:gd name="connsiteY4" fmla="*/ 1811704 h 4172858"/>
              <a:gd name="connsiteX5" fmla="*/ 5098400 w 9409105"/>
              <a:gd name="connsiteY5" fmla="*/ 1116509 h 4172858"/>
              <a:gd name="connsiteX6" fmla="*/ 5380235 w 9409105"/>
              <a:gd name="connsiteY6" fmla="*/ 778306 h 4172858"/>
              <a:gd name="connsiteX7" fmla="*/ 5530548 w 9409105"/>
              <a:gd name="connsiteY7" fmla="*/ 640520 h 4172858"/>
              <a:gd name="connsiteX8" fmla="*/ 5994011 w 9409105"/>
              <a:gd name="connsiteY8" fmla="*/ 327369 h 4172858"/>
              <a:gd name="connsiteX9" fmla="*/ 6513841 w 9409105"/>
              <a:gd name="connsiteY9" fmla="*/ 120690 h 4172858"/>
              <a:gd name="connsiteX10" fmla="*/ 6758098 w 9409105"/>
              <a:gd name="connsiteY10" fmla="*/ 51797 h 4172858"/>
              <a:gd name="connsiteX11" fmla="*/ 7221561 w 9409105"/>
              <a:gd name="connsiteY11" fmla="*/ 7956 h 4172858"/>
              <a:gd name="connsiteX12" fmla="*/ 8018350 w 9409105"/>
              <a:gd name="connsiteY12" fmla="*/ 82729 h 4172858"/>
              <a:gd name="connsiteX13" fmla="*/ 8065240 w 9409105"/>
              <a:gd name="connsiteY13" fmla="*/ 99347 h 4172858"/>
              <a:gd name="connsiteX14" fmla="*/ 9112991 w 9409105"/>
              <a:gd name="connsiteY14" fmla="*/ 759517 h 4172858"/>
              <a:gd name="connsiteX15" fmla="*/ 9401090 w 9409105"/>
              <a:gd name="connsiteY15" fmla="*/ 1799178 h 4172858"/>
              <a:gd name="connsiteX16" fmla="*/ 8879025 w 9409105"/>
              <a:gd name="connsiteY16" fmla="*/ 2915785 h 4172858"/>
              <a:gd name="connsiteX17" fmla="*/ 7183983 w 9409105"/>
              <a:gd name="connsiteY17" fmla="*/ 3114411 h 4172858"/>
              <a:gd name="connsiteX18" fmla="*/ 6319687 w 9409105"/>
              <a:gd name="connsiteY18" fmla="*/ 3051780 h 4172858"/>
              <a:gd name="connsiteX19" fmla="*/ 5793594 w 9409105"/>
              <a:gd name="connsiteY19" fmla="*/ 2982887 h 4172858"/>
              <a:gd name="connsiteX20" fmla="*/ 4321786 w 9409105"/>
              <a:gd name="connsiteY20" fmla="*/ 2820049 h 4172858"/>
              <a:gd name="connsiteX21" fmla="*/ 4171474 w 9409105"/>
              <a:gd name="connsiteY21" fmla="*/ 2951572 h 4172858"/>
              <a:gd name="connsiteX22" fmla="*/ 4465835 w 9409105"/>
              <a:gd name="connsiteY22" fmla="*/ 3007939 h 4172858"/>
              <a:gd name="connsiteX23" fmla="*/ 3933479 w 9409105"/>
              <a:gd name="connsiteY23" fmla="*/ 2719841 h 4172858"/>
              <a:gd name="connsiteX0" fmla="*/ 0 w 9409502"/>
              <a:gd name="connsiteY0" fmla="*/ 4172858 h 4172858"/>
              <a:gd name="connsiteX1" fmla="*/ 2655824 w 9409502"/>
              <a:gd name="connsiteY1" fmla="*/ 3746975 h 4172858"/>
              <a:gd name="connsiteX2" fmla="*/ 4321786 w 9409502"/>
              <a:gd name="connsiteY2" fmla="*/ 2782471 h 4172858"/>
              <a:gd name="connsiteX3" fmla="*/ 4553517 w 9409502"/>
              <a:gd name="connsiteY3" fmla="*/ 2262641 h 4172858"/>
              <a:gd name="connsiteX4" fmla="*/ 4685041 w 9409502"/>
              <a:gd name="connsiteY4" fmla="*/ 1811704 h 4172858"/>
              <a:gd name="connsiteX5" fmla="*/ 5098400 w 9409502"/>
              <a:gd name="connsiteY5" fmla="*/ 1116509 h 4172858"/>
              <a:gd name="connsiteX6" fmla="*/ 5380235 w 9409502"/>
              <a:gd name="connsiteY6" fmla="*/ 778306 h 4172858"/>
              <a:gd name="connsiteX7" fmla="*/ 5530548 w 9409502"/>
              <a:gd name="connsiteY7" fmla="*/ 640520 h 4172858"/>
              <a:gd name="connsiteX8" fmla="*/ 5994011 w 9409502"/>
              <a:gd name="connsiteY8" fmla="*/ 327369 h 4172858"/>
              <a:gd name="connsiteX9" fmla="*/ 6513841 w 9409502"/>
              <a:gd name="connsiteY9" fmla="*/ 120690 h 4172858"/>
              <a:gd name="connsiteX10" fmla="*/ 6758098 w 9409502"/>
              <a:gd name="connsiteY10" fmla="*/ 51797 h 4172858"/>
              <a:gd name="connsiteX11" fmla="*/ 7221561 w 9409502"/>
              <a:gd name="connsiteY11" fmla="*/ 7956 h 4172858"/>
              <a:gd name="connsiteX12" fmla="*/ 8018350 w 9409502"/>
              <a:gd name="connsiteY12" fmla="*/ 82729 h 4172858"/>
              <a:gd name="connsiteX13" fmla="*/ 9112991 w 9409502"/>
              <a:gd name="connsiteY13" fmla="*/ 759517 h 4172858"/>
              <a:gd name="connsiteX14" fmla="*/ 9401090 w 9409502"/>
              <a:gd name="connsiteY14" fmla="*/ 1799178 h 4172858"/>
              <a:gd name="connsiteX15" fmla="*/ 8879025 w 9409502"/>
              <a:gd name="connsiteY15" fmla="*/ 2915785 h 4172858"/>
              <a:gd name="connsiteX16" fmla="*/ 7183983 w 9409502"/>
              <a:gd name="connsiteY16" fmla="*/ 3114411 h 4172858"/>
              <a:gd name="connsiteX17" fmla="*/ 6319687 w 9409502"/>
              <a:gd name="connsiteY17" fmla="*/ 3051780 h 4172858"/>
              <a:gd name="connsiteX18" fmla="*/ 5793594 w 9409502"/>
              <a:gd name="connsiteY18" fmla="*/ 2982887 h 4172858"/>
              <a:gd name="connsiteX19" fmla="*/ 4321786 w 9409502"/>
              <a:gd name="connsiteY19" fmla="*/ 2820049 h 4172858"/>
              <a:gd name="connsiteX20" fmla="*/ 4171474 w 9409502"/>
              <a:gd name="connsiteY20" fmla="*/ 2951572 h 4172858"/>
              <a:gd name="connsiteX21" fmla="*/ 4465835 w 9409502"/>
              <a:gd name="connsiteY21" fmla="*/ 3007939 h 4172858"/>
              <a:gd name="connsiteX22" fmla="*/ 3933479 w 9409502"/>
              <a:gd name="connsiteY22" fmla="*/ 2719841 h 4172858"/>
              <a:gd name="connsiteX0" fmla="*/ 0 w 9424727"/>
              <a:gd name="connsiteY0" fmla="*/ 4164903 h 4164903"/>
              <a:gd name="connsiteX1" fmla="*/ 2655824 w 9424727"/>
              <a:gd name="connsiteY1" fmla="*/ 3739020 h 4164903"/>
              <a:gd name="connsiteX2" fmla="*/ 4321786 w 9424727"/>
              <a:gd name="connsiteY2" fmla="*/ 2774516 h 4164903"/>
              <a:gd name="connsiteX3" fmla="*/ 4553517 w 9424727"/>
              <a:gd name="connsiteY3" fmla="*/ 2254686 h 4164903"/>
              <a:gd name="connsiteX4" fmla="*/ 4685041 w 9424727"/>
              <a:gd name="connsiteY4" fmla="*/ 1803749 h 4164903"/>
              <a:gd name="connsiteX5" fmla="*/ 5098400 w 9424727"/>
              <a:gd name="connsiteY5" fmla="*/ 1108554 h 4164903"/>
              <a:gd name="connsiteX6" fmla="*/ 5380235 w 9424727"/>
              <a:gd name="connsiteY6" fmla="*/ 770351 h 4164903"/>
              <a:gd name="connsiteX7" fmla="*/ 5530548 w 9424727"/>
              <a:gd name="connsiteY7" fmla="*/ 632565 h 4164903"/>
              <a:gd name="connsiteX8" fmla="*/ 5994011 w 9424727"/>
              <a:gd name="connsiteY8" fmla="*/ 319414 h 4164903"/>
              <a:gd name="connsiteX9" fmla="*/ 6513841 w 9424727"/>
              <a:gd name="connsiteY9" fmla="*/ 112735 h 4164903"/>
              <a:gd name="connsiteX10" fmla="*/ 6758098 w 9424727"/>
              <a:gd name="connsiteY10" fmla="*/ 43842 h 4164903"/>
              <a:gd name="connsiteX11" fmla="*/ 7221561 w 9424727"/>
              <a:gd name="connsiteY11" fmla="*/ 1 h 4164903"/>
              <a:gd name="connsiteX12" fmla="*/ 9112991 w 9424727"/>
              <a:gd name="connsiteY12" fmla="*/ 751562 h 4164903"/>
              <a:gd name="connsiteX13" fmla="*/ 9401090 w 9424727"/>
              <a:gd name="connsiteY13" fmla="*/ 1791223 h 4164903"/>
              <a:gd name="connsiteX14" fmla="*/ 8879025 w 9424727"/>
              <a:gd name="connsiteY14" fmla="*/ 2907830 h 4164903"/>
              <a:gd name="connsiteX15" fmla="*/ 7183983 w 9424727"/>
              <a:gd name="connsiteY15" fmla="*/ 3106456 h 4164903"/>
              <a:gd name="connsiteX16" fmla="*/ 6319687 w 9424727"/>
              <a:gd name="connsiteY16" fmla="*/ 3043825 h 4164903"/>
              <a:gd name="connsiteX17" fmla="*/ 5793594 w 9424727"/>
              <a:gd name="connsiteY17" fmla="*/ 2974932 h 4164903"/>
              <a:gd name="connsiteX18" fmla="*/ 4321786 w 9424727"/>
              <a:gd name="connsiteY18" fmla="*/ 2812094 h 4164903"/>
              <a:gd name="connsiteX19" fmla="*/ 4171474 w 9424727"/>
              <a:gd name="connsiteY19" fmla="*/ 2943617 h 4164903"/>
              <a:gd name="connsiteX20" fmla="*/ 4465835 w 9424727"/>
              <a:gd name="connsiteY20" fmla="*/ 2999984 h 4164903"/>
              <a:gd name="connsiteX21" fmla="*/ 3933479 w 9424727"/>
              <a:gd name="connsiteY21" fmla="*/ 2711886 h 4164903"/>
              <a:gd name="connsiteX0" fmla="*/ 0 w 9424727"/>
              <a:gd name="connsiteY0" fmla="*/ 4199826 h 4199826"/>
              <a:gd name="connsiteX1" fmla="*/ 2655824 w 9424727"/>
              <a:gd name="connsiteY1" fmla="*/ 3773943 h 4199826"/>
              <a:gd name="connsiteX2" fmla="*/ 4321786 w 9424727"/>
              <a:gd name="connsiteY2" fmla="*/ 2809439 h 4199826"/>
              <a:gd name="connsiteX3" fmla="*/ 4553517 w 9424727"/>
              <a:gd name="connsiteY3" fmla="*/ 2289609 h 4199826"/>
              <a:gd name="connsiteX4" fmla="*/ 4685041 w 9424727"/>
              <a:gd name="connsiteY4" fmla="*/ 1838672 h 4199826"/>
              <a:gd name="connsiteX5" fmla="*/ 5098400 w 9424727"/>
              <a:gd name="connsiteY5" fmla="*/ 1143477 h 4199826"/>
              <a:gd name="connsiteX6" fmla="*/ 5380235 w 9424727"/>
              <a:gd name="connsiteY6" fmla="*/ 805274 h 4199826"/>
              <a:gd name="connsiteX7" fmla="*/ 5530548 w 9424727"/>
              <a:gd name="connsiteY7" fmla="*/ 667488 h 4199826"/>
              <a:gd name="connsiteX8" fmla="*/ 5994011 w 9424727"/>
              <a:gd name="connsiteY8" fmla="*/ 354337 h 4199826"/>
              <a:gd name="connsiteX9" fmla="*/ 6513841 w 9424727"/>
              <a:gd name="connsiteY9" fmla="*/ 147658 h 4199826"/>
              <a:gd name="connsiteX10" fmla="*/ 7221561 w 9424727"/>
              <a:gd name="connsiteY10" fmla="*/ 34924 h 4199826"/>
              <a:gd name="connsiteX11" fmla="*/ 9112991 w 9424727"/>
              <a:gd name="connsiteY11" fmla="*/ 786485 h 4199826"/>
              <a:gd name="connsiteX12" fmla="*/ 9401090 w 9424727"/>
              <a:gd name="connsiteY12" fmla="*/ 1826146 h 4199826"/>
              <a:gd name="connsiteX13" fmla="*/ 8879025 w 9424727"/>
              <a:gd name="connsiteY13" fmla="*/ 2942753 h 4199826"/>
              <a:gd name="connsiteX14" fmla="*/ 7183983 w 9424727"/>
              <a:gd name="connsiteY14" fmla="*/ 3141379 h 4199826"/>
              <a:gd name="connsiteX15" fmla="*/ 6319687 w 9424727"/>
              <a:gd name="connsiteY15" fmla="*/ 3078748 h 4199826"/>
              <a:gd name="connsiteX16" fmla="*/ 5793594 w 9424727"/>
              <a:gd name="connsiteY16" fmla="*/ 3009855 h 4199826"/>
              <a:gd name="connsiteX17" fmla="*/ 4321786 w 9424727"/>
              <a:gd name="connsiteY17" fmla="*/ 2847017 h 4199826"/>
              <a:gd name="connsiteX18" fmla="*/ 4171474 w 9424727"/>
              <a:gd name="connsiteY18" fmla="*/ 2978540 h 4199826"/>
              <a:gd name="connsiteX19" fmla="*/ 4465835 w 9424727"/>
              <a:gd name="connsiteY19" fmla="*/ 3034907 h 4199826"/>
              <a:gd name="connsiteX20" fmla="*/ 3933479 w 9424727"/>
              <a:gd name="connsiteY20" fmla="*/ 2746809 h 4199826"/>
              <a:gd name="connsiteX0" fmla="*/ 0 w 9455586"/>
              <a:gd name="connsiteY0" fmla="*/ 4067256 h 4067256"/>
              <a:gd name="connsiteX1" fmla="*/ 2655824 w 9455586"/>
              <a:gd name="connsiteY1" fmla="*/ 3641373 h 4067256"/>
              <a:gd name="connsiteX2" fmla="*/ 4321786 w 9455586"/>
              <a:gd name="connsiteY2" fmla="*/ 2676869 h 4067256"/>
              <a:gd name="connsiteX3" fmla="*/ 4553517 w 9455586"/>
              <a:gd name="connsiteY3" fmla="*/ 2157039 h 4067256"/>
              <a:gd name="connsiteX4" fmla="*/ 4685041 w 9455586"/>
              <a:gd name="connsiteY4" fmla="*/ 1706102 h 4067256"/>
              <a:gd name="connsiteX5" fmla="*/ 5098400 w 9455586"/>
              <a:gd name="connsiteY5" fmla="*/ 1010907 h 4067256"/>
              <a:gd name="connsiteX6" fmla="*/ 5380235 w 9455586"/>
              <a:gd name="connsiteY6" fmla="*/ 672704 h 4067256"/>
              <a:gd name="connsiteX7" fmla="*/ 5530548 w 9455586"/>
              <a:gd name="connsiteY7" fmla="*/ 534918 h 4067256"/>
              <a:gd name="connsiteX8" fmla="*/ 5994011 w 9455586"/>
              <a:gd name="connsiteY8" fmla="*/ 221767 h 4067256"/>
              <a:gd name="connsiteX9" fmla="*/ 6513841 w 9455586"/>
              <a:gd name="connsiteY9" fmla="*/ 15088 h 4067256"/>
              <a:gd name="connsiteX10" fmla="*/ 9112991 w 9455586"/>
              <a:gd name="connsiteY10" fmla="*/ 653915 h 4067256"/>
              <a:gd name="connsiteX11" fmla="*/ 9401090 w 9455586"/>
              <a:gd name="connsiteY11" fmla="*/ 1693576 h 4067256"/>
              <a:gd name="connsiteX12" fmla="*/ 8879025 w 9455586"/>
              <a:gd name="connsiteY12" fmla="*/ 2810183 h 4067256"/>
              <a:gd name="connsiteX13" fmla="*/ 7183983 w 9455586"/>
              <a:gd name="connsiteY13" fmla="*/ 3008809 h 4067256"/>
              <a:gd name="connsiteX14" fmla="*/ 6319687 w 9455586"/>
              <a:gd name="connsiteY14" fmla="*/ 2946178 h 4067256"/>
              <a:gd name="connsiteX15" fmla="*/ 5793594 w 9455586"/>
              <a:gd name="connsiteY15" fmla="*/ 2877285 h 4067256"/>
              <a:gd name="connsiteX16" fmla="*/ 4321786 w 9455586"/>
              <a:gd name="connsiteY16" fmla="*/ 2714447 h 4067256"/>
              <a:gd name="connsiteX17" fmla="*/ 4171474 w 9455586"/>
              <a:gd name="connsiteY17" fmla="*/ 2845970 h 4067256"/>
              <a:gd name="connsiteX18" fmla="*/ 4465835 w 9455586"/>
              <a:gd name="connsiteY18" fmla="*/ 2902337 h 4067256"/>
              <a:gd name="connsiteX19" fmla="*/ 3933479 w 9455586"/>
              <a:gd name="connsiteY19" fmla="*/ 2614239 h 4067256"/>
              <a:gd name="connsiteX0" fmla="*/ 0 w 9537828"/>
              <a:gd name="connsiteY0" fmla="*/ 4133826 h 4133826"/>
              <a:gd name="connsiteX1" fmla="*/ 2655824 w 9537828"/>
              <a:gd name="connsiteY1" fmla="*/ 3707943 h 4133826"/>
              <a:gd name="connsiteX2" fmla="*/ 4321786 w 9537828"/>
              <a:gd name="connsiteY2" fmla="*/ 2743439 h 4133826"/>
              <a:gd name="connsiteX3" fmla="*/ 4553517 w 9537828"/>
              <a:gd name="connsiteY3" fmla="*/ 2223609 h 4133826"/>
              <a:gd name="connsiteX4" fmla="*/ 4685041 w 9537828"/>
              <a:gd name="connsiteY4" fmla="*/ 1772672 h 4133826"/>
              <a:gd name="connsiteX5" fmla="*/ 5098400 w 9537828"/>
              <a:gd name="connsiteY5" fmla="*/ 1077477 h 4133826"/>
              <a:gd name="connsiteX6" fmla="*/ 5380235 w 9537828"/>
              <a:gd name="connsiteY6" fmla="*/ 739274 h 4133826"/>
              <a:gd name="connsiteX7" fmla="*/ 5530548 w 9537828"/>
              <a:gd name="connsiteY7" fmla="*/ 601488 h 4133826"/>
              <a:gd name="connsiteX8" fmla="*/ 5994011 w 9537828"/>
              <a:gd name="connsiteY8" fmla="*/ 288337 h 4133826"/>
              <a:gd name="connsiteX9" fmla="*/ 6513841 w 9537828"/>
              <a:gd name="connsiteY9" fmla="*/ 81658 h 4133826"/>
              <a:gd name="connsiteX10" fmla="*/ 9401090 w 9537828"/>
              <a:gd name="connsiteY10" fmla="*/ 1760146 h 4133826"/>
              <a:gd name="connsiteX11" fmla="*/ 8879025 w 9537828"/>
              <a:gd name="connsiteY11" fmla="*/ 2876753 h 4133826"/>
              <a:gd name="connsiteX12" fmla="*/ 7183983 w 9537828"/>
              <a:gd name="connsiteY12" fmla="*/ 3075379 h 4133826"/>
              <a:gd name="connsiteX13" fmla="*/ 6319687 w 9537828"/>
              <a:gd name="connsiteY13" fmla="*/ 3012748 h 4133826"/>
              <a:gd name="connsiteX14" fmla="*/ 5793594 w 9537828"/>
              <a:gd name="connsiteY14" fmla="*/ 2943855 h 4133826"/>
              <a:gd name="connsiteX15" fmla="*/ 4321786 w 9537828"/>
              <a:gd name="connsiteY15" fmla="*/ 2781017 h 4133826"/>
              <a:gd name="connsiteX16" fmla="*/ 4171474 w 9537828"/>
              <a:gd name="connsiteY16" fmla="*/ 2912540 h 4133826"/>
              <a:gd name="connsiteX17" fmla="*/ 4465835 w 9537828"/>
              <a:gd name="connsiteY17" fmla="*/ 2968907 h 4133826"/>
              <a:gd name="connsiteX18" fmla="*/ 3933479 w 9537828"/>
              <a:gd name="connsiteY18" fmla="*/ 2680809 h 4133826"/>
              <a:gd name="connsiteX0" fmla="*/ 0 w 9574428"/>
              <a:gd name="connsiteY0" fmla="*/ 3895190 h 3895190"/>
              <a:gd name="connsiteX1" fmla="*/ 2655824 w 9574428"/>
              <a:gd name="connsiteY1" fmla="*/ 3469307 h 3895190"/>
              <a:gd name="connsiteX2" fmla="*/ 4321786 w 9574428"/>
              <a:gd name="connsiteY2" fmla="*/ 2504803 h 3895190"/>
              <a:gd name="connsiteX3" fmla="*/ 4553517 w 9574428"/>
              <a:gd name="connsiteY3" fmla="*/ 1984973 h 3895190"/>
              <a:gd name="connsiteX4" fmla="*/ 4685041 w 9574428"/>
              <a:gd name="connsiteY4" fmla="*/ 1534036 h 3895190"/>
              <a:gd name="connsiteX5" fmla="*/ 5098400 w 9574428"/>
              <a:gd name="connsiteY5" fmla="*/ 838841 h 3895190"/>
              <a:gd name="connsiteX6" fmla="*/ 5380235 w 9574428"/>
              <a:gd name="connsiteY6" fmla="*/ 500638 h 3895190"/>
              <a:gd name="connsiteX7" fmla="*/ 5530548 w 9574428"/>
              <a:gd name="connsiteY7" fmla="*/ 362852 h 3895190"/>
              <a:gd name="connsiteX8" fmla="*/ 5994011 w 9574428"/>
              <a:gd name="connsiteY8" fmla="*/ 49701 h 3895190"/>
              <a:gd name="connsiteX9" fmla="*/ 9401090 w 9574428"/>
              <a:gd name="connsiteY9" fmla="*/ 1521510 h 3895190"/>
              <a:gd name="connsiteX10" fmla="*/ 8879025 w 9574428"/>
              <a:gd name="connsiteY10" fmla="*/ 2638117 h 3895190"/>
              <a:gd name="connsiteX11" fmla="*/ 7183983 w 9574428"/>
              <a:gd name="connsiteY11" fmla="*/ 2836743 h 3895190"/>
              <a:gd name="connsiteX12" fmla="*/ 6319687 w 9574428"/>
              <a:gd name="connsiteY12" fmla="*/ 2774112 h 3895190"/>
              <a:gd name="connsiteX13" fmla="*/ 5793594 w 9574428"/>
              <a:gd name="connsiteY13" fmla="*/ 2705219 h 3895190"/>
              <a:gd name="connsiteX14" fmla="*/ 4321786 w 9574428"/>
              <a:gd name="connsiteY14" fmla="*/ 2542381 h 3895190"/>
              <a:gd name="connsiteX15" fmla="*/ 4171474 w 9574428"/>
              <a:gd name="connsiteY15" fmla="*/ 2673904 h 3895190"/>
              <a:gd name="connsiteX16" fmla="*/ 4465835 w 9574428"/>
              <a:gd name="connsiteY16" fmla="*/ 2730271 h 3895190"/>
              <a:gd name="connsiteX17" fmla="*/ 3933479 w 9574428"/>
              <a:gd name="connsiteY17" fmla="*/ 2442173 h 3895190"/>
              <a:gd name="connsiteX0" fmla="*/ 0 w 9434022"/>
              <a:gd name="connsiteY0" fmla="*/ 4067155 h 4067155"/>
              <a:gd name="connsiteX1" fmla="*/ 2655824 w 9434022"/>
              <a:gd name="connsiteY1" fmla="*/ 3641272 h 4067155"/>
              <a:gd name="connsiteX2" fmla="*/ 4321786 w 9434022"/>
              <a:gd name="connsiteY2" fmla="*/ 2676768 h 4067155"/>
              <a:gd name="connsiteX3" fmla="*/ 4553517 w 9434022"/>
              <a:gd name="connsiteY3" fmla="*/ 2156938 h 4067155"/>
              <a:gd name="connsiteX4" fmla="*/ 4685041 w 9434022"/>
              <a:gd name="connsiteY4" fmla="*/ 1706001 h 4067155"/>
              <a:gd name="connsiteX5" fmla="*/ 5098400 w 9434022"/>
              <a:gd name="connsiteY5" fmla="*/ 1010806 h 4067155"/>
              <a:gd name="connsiteX6" fmla="*/ 5380235 w 9434022"/>
              <a:gd name="connsiteY6" fmla="*/ 672603 h 4067155"/>
              <a:gd name="connsiteX7" fmla="*/ 5530548 w 9434022"/>
              <a:gd name="connsiteY7" fmla="*/ 534817 h 4067155"/>
              <a:gd name="connsiteX8" fmla="*/ 8085348 w 9434022"/>
              <a:gd name="connsiteY8" fmla="*/ 38888 h 4067155"/>
              <a:gd name="connsiteX9" fmla="*/ 9401090 w 9434022"/>
              <a:gd name="connsiteY9" fmla="*/ 1693475 h 4067155"/>
              <a:gd name="connsiteX10" fmla="*/ 8879025 w 9434022"/>
              <a:gd name="connsiteY10" fmla="*/ 2810082 h 4067155"/>
              <a:gd name="connsiteX11" fmla="*/ 7183983 w 9434022"/>
              <a:gd name="connsiteY11" fmla="*/ 3008708 h 4067155"/>
              <a:gd name="connsiteX12" fmla="*/ 6319687 w 9434022"/>
              <a:gd name="connsiteY12" fmla="*/ 2946077 h 4067155"/>
              <a:gd name="connsiteX13" fmla="*/ 5793594 w 9434022"/>
              <a:gd name="connsiteY13" fmla="*/ 2877184 h 4067155"/>
              <a:gd name="connsiteX14" fmla="*/ 4321786 w 9434022"/>
              <a:gd name="connsiteY14" fmla="*/ 2714346 h 4067155"/>
              <a:gd name="connsiteX15" fmla="*/ 4171474 w 9434022"/>
              <a:gd name="connsiteY15" fmla="*/ 2845869 h 4067155"/>
              <a:gd name="connsiteX16" fmla="*/ 4465835 w 9434022"/>
              <a:gd name="connsiteY16" fmla="*/ 2902236 h 4067155"/>
              <a:gd name="connsiteX17" fmla="*/ 3933479 w 9434022"/>
              <a:gd name="connsiteY17" fmla="*/ 2614138 h 4067155"/>
              <a:gd name="connsiteX0" fmla="*/ 0 w 9434022"/>
              <a:gd name="connsiteY0" fmla="*/ 4070221 h 4070221"/>
              <a:gd name="connsiteX1" fmla="*/ 2655824 w 9434022"/>
              <a:gd name="connsiteY1" fmla="*/ 3644338 h 4070221"/>
              <a:gd name="connsiteX2" fmla="*/ 4321786 w 9434022"/>
              <a:gd name="connsiteY2" fmla="*/ 2679834 h 4070221"/>
              <a:gd name="connsiteX3" fmla="*/ 4553517 w 9434022"/>
              <a:gd name="connsiteY3" fmla="*/ 2160004 h 4070221"/>
              <a:gd name="connsiteX4" fmla="*/ 4685041 w 9434022"/>
              <a:gd name="connsiteY4" fmla="*/ 1709067 h 4070221"/>
              <a:gd name="connsiteX5" fmla="*/ 5098400 w 9434022"/>
              <a:gd name="connsiteY5" fmla="*/ 1013872 h 4070221"/>
              <a:gd name="connsiteX6" fmla="*/ 5530548 w 9434022"/>
              <a:gd name="connsiteY6" fmla="*/ 537883 h 4070221"/>
              <a:gd name="connsiteX7" fmla="*/ 8085348 w 9434022"/>
              <a:gd name="connsiteY7" fmla="*/ 41954 h 4070221"/>
              <a:gd name="connsiteX8" fmla="*/ 9401090 w 9434022"/>
              <a:gd name="connsiteY8" fmla="*/ 1696541 h 4070221"/>
              <a:gd name="connsiteX9" fmla="*/ 8879025 w 9434022"/>
              <a:gd name="connsiteY9" fmla="*/ 2813148 h 4070221"/>
              <a:gd name="connsiteX10" fmla="*/ 7183983 w 9434022"/>
              <a:gd name="connsiteY10" fmla="*/ 3011774 h 4070221"/>
              <a:gd name="connsiteX11" fmla="*/ 6319687 w 9434022"/>
              <a:gd name="connsiteY11" fmla="*/ 2949143 h 4070221"/>
              <a:gd name="connsiteX12" fmla="*/ 5793594 w 9434022"/>
              <a:gd name="connsiteY12" fmla="*/ 2880250 h 4070221"/>
              <a:gd name="connsiteX13" fmla="*/ 4321786 w 9434022"/>
              <a:gd name="connsiteY13" fmla="*/ 2717412 h 4070221"/>
              <a:gd name="connsiteX14" fmla="*/ 4171474 w 9434022"/>
              <a:gd name="connsiteY14" fmla="*/ 2848935 h 4070221"/>
              <a:gd name="connsiteX15" fmla="*/ 4465835 w 9434022"/>
              <a:gd name="connsiteY15" fmla="*/ 2905302 h 4070221"/>
              <a:gd name="connsiteX16" fmla="*/ 3933479 w 9434022"/>
              <a:gd name="connsiteY16" fmla="*/ 2617204 h 4070221"/>
              <a:gd name="connsiteX0" fmla="*/ 0 w 9434022"/>
              <a:gd name="connsiteY0" fmla="*/ 4078111 h 4078111"/>
              <a:gd name="connsiteX1" fmla="*/ 2655824 w 9434022"/>
              <a:gd name="connsiteY1" fmla="*/ 3652228 h 4078111"/>
              <a:gd name="connsiteX2" fmla="*/ 4321786 w 9434022"/>
              <a:gd name="connsiteY2" fmla="*/ 2687724 h 4078111"/>
              <a:gd name="connsiteX3" fmla="*/ 4553517 w 9434022"/>
              <a:gd name="connsiteY3" fmla="*/ 2167894 h 4078111"/>
              <a:gd name="connsiteX4" fmla="*/ 4685041 w 9434022"/>
              <a:gd name="connsiteY4" fmla="*/ 1716957 h 4078111"/>
              <a:gd name="connsiteX5" fmla="*/ 5530548 w 9434022"/>
              <a:gd name="connsiteY5" fmla="*/ 545773 h 4078111"/>
              <a:gd name="connsiteX6" fmla="*/ 8085348 w 9434022"/>
              <a:gd name="connsiteY6" fmla="*/ 49844 h 4078111"/>
              <a:gd name="connsiteX7" fmla="*/ 9401090 w 9434022"/>
              <a:gd name="connsiteY7" fmla="*/ 1704431 h 4078111"/>
              <a:gd name="connsiteX8" fmla="*/ 8879025 w 9434022"/>
              <a:gd name="connsiteY8" fmla="*/ 2821038 h 4078111"/>
              <a:gd name="connsiteX9" fmla="*/ 7183983 w 9434022"/>
              <a:gd name="connsiteY9" fmla="*/ 3019664 h 4078111"/>
              <a:gd name="connsiteX10" fmla="*/ 6319687 w 9434022"/>
              <a:gd name="connsiteY10" fmla="*/ 2957033 h 4078111"/>
              <a:gd name="connsiteX11" fmla="*/ 5793594 w 9434022"/>
              <a:gd name="connsiteY11" fmla="*/ 2888140 h 4078111"/>
              <a:gd name="connsiteX12" fmla="*/ 4321786 w 9434022"/>
              <a:gd name="connsiteY12" fmla="*/ 2725302 h 4078111"/>
              <a:gd name="connsiteX13" fmla="*/ 4171474 w 9434022"/>
              <a:gd name="connsiteY13" fmla="*/ 2856825 h 4078111"/>
              <a:gd name="connsiteX14" fmla="*/ 4465835 w 9434022"/>
              <a:gd name="connsiteY14" fmla="*/ 2913192 h 4078111"/>
              <a:gd name="connsiteX15" fmla="*/ 3933479 w 9434022"/>
              <a:gd name="connsiteY15" fmla="*/ 2625094 h 4078111"/>
              <a:gd name="connsiteX0" fmla="*/ 0 w 9434022"/>
              <a:gd name="connsiteY0" fmla="*/ 4084740 h 4084740"/>
              <a:gd name="connsiteX1" fmla="*/ 2655824 w 9434022"/>
              <a:gd name="connsiteY1" fmla="*/ 3658857 h 4084740"/>
              <a:gd name="connsiteX2" fmla="*/ 4321786 w 9434022"/>
              <a:gd name="connsiteY2" fmla="*/ 2694353 h 4084740"/>
              <a:gd name="connsiteX3" fmla="*/ 4553517 w 9434022"/>
              <a:gd name="connsiteY3" fmla="*/ 2174523 h 4084740"/>
              <a:gd name="connsiteX4" fmla="*/ 5530548 w 9434022"/>
              <a:gd name="connsiteY4" fmla="*/ 552402 h 4084740"/>
              <a:gd name="connsiteX5" fmla="*/ 8085348 w 9434022"/>
              <a:gd name="connsiteY5" fmla="*/ 56473 h 4084740"/>
              <a:gd name="connsiteX6" fmla="*/ 9401090 w 9434022"/>
              <a:gd name="connsiteY6" fmla="*/ 1711060 h 4084740"/>
              <a:gd name="connsiteX7" fmla="*/ 8879025 w 9434022"/>
              <a:gd name="connsiteY7" fmla="*/ 2827667 h 4084740"/>
              <a:gd name="connsiteX8" fmla="*/ 7183983 w 9434022"/>
              <a:gd name="connsiteY8" fmla="*/ 3026293 h 4084740"/>
              <a:gd name="connsiteX9" fmla="*/ 6319687 w 9434022"/>
              <a:gd name="connsiteY9" fmla="*/ 2963662 h 4084740"/>
              <a:gd name="connsiteX10" fmla="*/ 5793594 w 9434022"/>
              <a:gd name="connsiteY10" fmla="*/ 2894769 h 4084740"/>
              <a:gd name="connsiteX11" fmla="*/ 4321786 w 9434022"/>
              <a:gd name="connsiteY11" fmla="*/ 2731931 h 4084740"/>
              <a:gd name="connsiteX12" fmla="*/ 4171474 w 9434022"/>
              <a:gd name="connsiteY12" fmla="*/ 2863454 h 4084740"/>
              <a:gd name="connsiteX13" fmla="*/ 4465835 w 9434022"/>
              <a:gd name="connsiteY13" fmla="*/ 2919821 h 4084740"/>
              <a:gd name="connsiteX14" fmla="*/ 3933479 w 9434022"/>
              <a:gd name="connsiteY14" fmla="*/ 2631723 h 4084740"/>
              <a:gd name="connsiteX0" fmla="*/ 0 w 9434022"/>
              <a:gd name="connsiteY0" fmla="*/ 4094373 h 4094373"/>
              <a:gd name="connsiteX1" fmla="*/ 2655824 w 9434022"/>
              <a:gd name="connsiteY1" fmla="*/ 3668490 h 4094373"/>
              <a:gd name="connsiteX2" fmla="*/ 4321786 w 9434022"/>
              <a:gd name="connsiteY2" fmla="*/ 2703986 h 4094373"/>
              <a:gd name="connsiteX3" fmla="*/ 5530548 w 9434022"/>
              <a:gd name="connsiteY3" fmla="*/ 562035 h 4094373"/>
              <a:gd name="connsiteX4" fmla="*/ 8085348 w 9434022"/>
              <a:gd name="connsiteY4" fmla="*/ 66106 h 4094373"/>
              <a:gd name="connsiteX5" fmla="*/ 9401090 w 9434022"/>
              <a:gd name="connsiteY5" fmla="*/ 1720693 h 4094373"/>
              <a:gd name="connsiteX6" fmla="*/ 8879025 w 9434022"/>
              <a:gd name="connsiteY6" fmla="*/ 2837300 h 4094373"/>
              <a:gd name="connsiteX7" fmla="*/ 7183983 w 9434022"/>
              <a:gd name="connsiteY7" fmla="*/ 3035926 h 4094373"/>
              <a:gd name="connsiteX8" fmla="*/ 6319687 w 9434022"/>
              <a:gd name="connsiteY8" fmla="*/ 2973295 h 4094373"/>
              <a:gd name="connsiteX9" fmla="*/ 5793594 w 9434022"/>
              <a:gd name="connsiteY9" fmla="*/ 2904402 h 4094373"/>
              <a:gd name="connsiteX10" fmla="*/ 4321786 w 9434022"/>
              <a:gd name="connsiteY10" fmla="*/ 2741564 h 4094373"/>
              <a:gd name="connsiteX11" fmla="*/ 4171474 w 9434022"/>
              <a:gd name="connsiteY11" fmla="*/ 2873087 h 4094373"/>
              <a:gd name="connsiteX12" fmla="*/ 4465835 w 9434022"/>
              <a:gd name="connsiteY12" fmla="*/ 2929454 h 4094373"/>
              <a:gd name="connsiteX13" fmla="*/ 3933479 w 9434022"/>
              <a:gd name="connsiteY13" fmla="*/ 2641356 h 4094373"/>
              <a:gd name="connsiteX0" fmla="*/ 0 w 9434022"/>
              <a:gd name="connsiteY0" fmla="*/ 4111633 h 4111633"/>
              <a:gd name="connsiteX1" fmla="*/ 2655824 w 9434022"/>
              <a:gd name="connsiteY1" fmla="*/ 3685750 h 4111633"/>
              <a:gd name="connsiteX2" fmla="*/ 4321786 w 9434022"/>
              <a:gd name="connsiteY2" fmla="*/ 2721246 h 4111633"/>
              <a:gd name="connsiteX3" fmla="*/ 5530548 w 9434022"/>
              <a:gd name="connsiteY3" fmla="*/ 579295 h 4111633"/>
              <a:gd name="connsiteX4" fmla="*/ 8085348 w 9434022"/>
              <a:gd name="connsiteY4" fmla="*/ 83366 h 4111633"/>
              <a:gd name="connsiteX5" fmla="*/ 9401090 w 9434022"/>
              <a:gd name="connsiteY5" fmla="*/ 1737953 h 4111633"/>
              <a:gd name="connsiteX6" fmla="*/ 8879025 w 9434022"/>
              <a:gd name="connsiteY6" fmla="*/ 2854560 h 4111633"/>
              <a:gd name="connsiteX7" fmla="*/ 7183983 w 9434022"/>
              <a:gd name="connsiteY7" fmla="*/ 3053186 h 4111633"/>
              <a:gd name="connsiteX8" fmla="*/ 6319687 w 9434022"/>
              <a:gd name="connsiteY8" fmla="*/ 2990555 h 4111633"/>
              <a:gd name="connsiteX9" fmla="*/ 5793594 w 9434022"/>
              <a:gd name="connsiteY9" fmla="*/ 2921662 h 4111633"/>
              <a:gd name="connsiteX10" fmla="*/ 4321786 w 9434022"/>
              <a:gd name="connsiteY10" fmla="*/ 2758824 h 4111633"/>
              <a:gd name="connsiteX11" fmla="*/ 4171474 w 9434022"/>
              <a:gd name="connsiteY11" fmla="*/ 2890347 h 4111633"/>
              <a:gd name="connsiteX12" fmla="*/ 4465835 w 9434022"/>
              <a:gd name="connsiteY12" fmla="*/ 2946714 h 4111633"/>
              <a:gd name="connsiteX13" fmla="*/ 3933479 w 9434022"/>
              <a:gd name="connsiteY13" fmla="*/ 2658616 h 4111633"/>
              <a:gd name="connsiteX0" fmla="*/ 0 w 9434022"/>
              <a:gd name="connsiteY0" fmla="*/ 4114443 h 4114443"/>
              <a:gd name="connsiteX1" fmla="*/ 2655824 w 9434022"/>
              <a:gd name="connsiteY1" fmla="*/ 3688560 h 4114443"/>
              <a:gd name="connsiteX2" fmla="*/ 4321786 w 9434022"/>
              <a:gd name="connsiteY2" fmla="*/ 2724056 h 4114443"/>
              <a:gd name="connsiteX3" fmla="*/ 5530548 w 9434022"/>
              <a:gd name="connsiteY3" fmla="*/ 582105 h 4114443"/>
              <a:gd name="connsiteX4" fmla="*/ 8085348 w 9434022"/>
              <a:gd name="connsiteY4" fmla="*/ 86176 h 4114443"/>
              <a:gd name="connsiteX5" fmla="*/ 9401090 w 9434022"/>
              <a:gd name="connsiteY5" fmla="*/ 1740763 h 4114443"/>
              <a:gd name="connsiteX6" fmla="*/ 8879025 w 9434022"/>
              <a:gd name="connsiteY6" fmla="*/ 2857370 h 4114443"/>
              <a:gd name="connsiteX7" fmla="*/ 7183983 w 9434022"/>
              <a:gd name="connsiteY7" fmla="*/ 3055996 h 4114443"/>
              <a:gd name="connsiteX8" fmla="*/ 6319687 w 9434022"/>
              <a:gd name="connsiteY8" fmla="*/ 2993365 h 4114443"/>
              <a:gd name="connsiteX9" fmla="*/ 5793594 w 9434022"/>
              <a:gd name="connsiteY9" fmla="*/ 2924472 h 4114443"/>
              <a:gd name="connsiteX10" fmla="*/ 4321786 w 9434022"/>
              <a:gd name="connsiteY10" fmla="*/ 2761634 h 4114443"/>
              <a:gd name="connsiteX11" fmla="*/ 4171474 w 9434022"/>
              <a:gd name="connsiteY11" fmla="*/ 2893157 h 4114443"/>
              <a:gd name="connsiteX12" fmla="*/ 4465835 w 9434022"/>
              <a:gd name="connsiteY12" fmla="*/ 2949524 h 4114443"/>
              <a:gd name="connsiteX13" fmla="*/ 3933479 w 9434022"/>
              <a:gd name="connsiteY13" fmla="*/ 2661426 h 4114443"/>
              <a:gd name="connsiteX0" fmla="*/ 0 w 9436146"/>
              <a:gd name="connsiteY0" fmla="*/ 4114443 h 4114443"/>
              <a:gd name="connsiteX1" fmla="*/ 2655824 w 9436146"/>
              <a:gd name="connsiteY1" fmla="*/ 3688560 h 4114443"/>
              <a:gd name="connsiteX2" fmla="*/ 4321786 w 9436146"/>
              <a:gd name="connsiteY2" fmla="*/ 2724056 h 4114443"/>
              <a:gd name="connsiteX3" fmla="*/ 5530548 w 9436146"/>
              <a:gd name="connsiteY3" fmla="*/ 582105 h 4114443"/>
              <a:gd name="connsiteX4" fmla="*/ 8085348 w 9436146"/>
              <a:gd name="connsiteY4" fmla="*/ 86176 h 4114443"/>
              <a:gd name="connsiteX5" fmla="*/ 9401090 w 9436146"/>
              <a:gd name="connsiteY5" fmla="*/ 1740763 h 4114443"/>
              <a:gd name="connsiteX6" fmla="*/ 7183983 w 9436146"/>
              <a:gd name="connsiteY6" fmla="*/ 3055996 h 4114443"/>
              <a:gd name="connsiteX7" fmla="*/ 6319687 w 9436146"/>
              <a:gd name="connsiteY7" fmla="*/ 2993365 h 4114443"/>
              <a:gd name="connsiteX8" fmla="*/ 5793594 w 9436146"/>
              <a:gd name="connsiteY8" fmla="*/ 2924472 h 4114443"/>
              <a:gd name="connsiteX9" fmla="*/ 4321786 w 9436146"/>
              <a:gd name="connsiteY9" fmla="*/ 2761634 h 4114443"/>
              <a:gd name="connsiteX10" fmla="*/ 4171474 w 9436146"/>
              <a:gd name="connsiteY10" fmla="*/ 2893157 h 4114443"/>
              <a:gd name="connsiteX11" fmla="*/ 4465835 w 9436146"/>
              <a:gd name="connsiteY11" fmla="*/ 2949524 h 4114443"/>
              <a:gd name="connsiteX12" fmla="*/ 3933479 w 9436146"/>
              <a:gd name="connsiteY12" fmla="*/ 2661426 h 4114443"/>
              <a:gd name="connsiteX0" fmla="*/ 0 w 9487927"/>
              <a:gd name="connsiteY0" fmla="*/ 4114443 h 4114443"/>
              <a:gd name="connsiteX1" fmla="*/ 2655824 w 9487927"/>
              <a:gd name="connsiteY1" fmla="*/ 3688560 h 4114443"/>
              <a:gd name="connsiteX2" fmla="*/ 4321786 w 9487927"/>
              <a:gd name="connsiteY2" fmla="*/ 2724056 h 4114443"/>
              <a:gd name="connsiteX3" fmla="*/ 5530548 w 9487927"/>
              <a:gd name="connsiteY3" fmla="*/ 582105 h 4114443"/>
              <a:gd name="connsiteX4" fmla="*/ 8085348 w 9487927"/>
              <a:gd name="connsiteY4" fmla="*/ 86176 h 4114443"/>
              <a:gd name="connsiteX5" fmla="*/ 9401090 w 9487927"/>
              <a:gd name="connsiteY5" fmla="*/ 1740763 h 4114443"/>
              <a:gd name="connsiteX6" fmla="*/ 6319687 w 9487927"/>
              <a:gd name="connsiteY6" fmla="*/ 2993365 h 4114443"/>
              <a:gd name="connsiteX7" fmla="*/ 5793594 w 9487927"/>
              <a:gd name="connsiteY7" fmla="*/ 2924472 h 4114443"/>
              <a:gd name="connsiteX8" fmla="*/ 4321786 w 9487927"/>
              <a:gd name="connsiteY8" fmla="*/ 2761634 h 4114443"/>
              <a:gd name="connsiteX9" fmla="*/ 4171474 w 9487927"/>
              <a:gd name="connsiteY9" fmla="*/ 2893157 h 4114443"/>
              <a:gd name="connsiteX10" fmla="*/ 4465835 w 9487927"/>
              <a:gd name="connsiteY10" fmla="*/ 2949524 h 4114443"/>
              <a:gd name="connsiteX11" fmla="*/ 3933479 w 9487927"/>
              <a:gd name="connsiteY11" fmla="*/ 2661426 h 4114443"/>
              <a:gd name="connsiteX0" fmla="*/ 0 w 9522079"/>
              <a:gd name="connsiteY0" fmla="*/ 4114443 h 4114443"/>
              <a:gd name="connsiteX1" fmla="*/ 2655824 w 9522079"/>
              <a:gd name="connsiteY1" fmla="*/ 3688560 h 4114443"/>
              <a:gd name="connsiteX2" fmla="*/ 4321786 w 9522079"/>
              <a:gd name="connsiteY2" fmla="*/ 2724056 h 4114443"/>
              <a:gd name="connsiteX3" fmla="*/ 5530548 w 9522079"/>
              <a:gd name="connsiteY3" fmla="*/ 582105 h 4114443"/>
              <a:gd name="connsiteX4" fmla="*/ 8085348 w 9522079"/>
              <a:gd name="connsiteY4" fmla="*/ 86176 h 4114443"/>
              <a:gd name="connsiteX5" fmla="*/ 9401090 w 9522079"/>
              <a:gd name="connsiteY5" fmla="*/ 1740763 h 4114443"/>
              <a:gd name="connsiteX6" fmla="*/ 5793594 w 9522079"/>
              <a:gd name="connsiteY6" fmla="*/ 2924472 h 4114443"/>
              <a:gd name="connsiteX7" fmla="*/ 4321786 w 9522079"/>
              <a:gd name="connsiteY7" fmla="*/ 2761634 h 4114443"/>
              <a:gd name="connsiteX8" fmla="*/ 4171474 w 9522079"/>
              <a:gd name="connsiteY8" fmla="*/ 2893157 h 4114443"/>
              <a:gd name="connsiteX9" fmla="*/ 4465835 w 9522079"/>
              <a:gd name="connsiteY9" fmla="*/ 2949524 h 4114443"/>
              <a:gd name="connsiteX10" fmla="*/ 3933479 w 9522079"/>
              <a:gd name="connsiteY10" fmla="*/ 2661426 h 4114443"/>
              <a:gd name="connsiteX0" fmla="*/ 0 w 9479057"/>
              <a:gd name="connsiteY0" fmla="*/ 4043405 h 4043405"/>
              <a:gd name="connsiteX1" fmla="*/ 2655824 w 9479057"/>
              <a:gd name="connsiteY1" fmla="*/ 3617522 h 4043405"/>
              <a:gd name="connsiteX2" fmla="*/ 4321786 w 9479057"/>
              <a:gd name="connsiteY2" fmla="*/ 2653018 h 4043405"/>
              <a:gd name="connsiteX3" fmla="*/ 5905675 w 9479057"/>
              <a:gd name="connsiteY3" fmla="*/ 951395 h 4043405"/>
              <a:gd name="connsiteX4" fmla="*/ 8085348 w 9479057"/>
              <a:gd name="connsiteY4" fmla="*/ 15138 h 4043405"/>
              <a:gd name="connsiteX5" fmla="*/ 9401090 w 9479057"/>
              <a:gd name="connsiteY5" fmla="*/ 1669725 h 4043405"/>
              <a:gd name="connsiteX6" fmla="*/ 5793594 w 9479057"/>
              <a:gd name="connsiteY6" fmla="*/ 2853434 h 4043405"/>
              <a:gd name="connsiteX7" fmla="*/ 4321786 w 9479057"/>
              <a:gd name="connsiteY7" fmla="*/ 2690596 h 4043405"/>
              <a:gd name="connsiteX8" fmla="*/ 4171474 w 9479057"/>
              <a:gd name="connsiteY8" fmla="*/ 2822119 h 4043405"/>
              <a:gd name="connsiteX9" fmla="*/ 4465835 w 9479057"/>
              <a:gd name="connsiteY9" fmla="*/ 2878486 h 4043405"/>
              <a:gd name="connsiteX10" fmla="*/ 3933479 w 9479057"/>
              <a:gd name="connsiteY10" fmla="*/ 2590388 h 4043405"/>
              <a:gd name="connsiteX0" fmla="*/ 0 w 9603591"/>
              <a:gd name="connsiteY0" fmla="*/ 4028628 h 4028628"/>
              <a:gd name="connsiteX1" fmla="*/ 2655824 w 9603591"/>
              <a:gd name="connsiteY1" fmla="*/ 3602745 h 4028628"/>
              <a:gd name="connsiteX2" fmla="*/ 4321786 w 9603591"/>
              <a:gd name="connsiteY2" fmla="*/ 2638241 h 4028628"/>
              <a:gd name="connsiteX3" fmla="*/ 5905675 w 9603591"/>
              <a:gd name="connsiteY3" fmla="*/ 936618 h 4028628"/>
              <a:gd name="connsiteX4" fmla="*/ 8085348 w 9603591"/>
              <a:gd name="connsiteY4" fmla="*/ 361 h 4028628"/>
              <a:gd name="connsiteX5" fmla="*/ 9401090 w 9603591"/>
              <a:gd name="connsiteY5" fmla="*/ 1654948 h 4028628"/>
              <a:gd name="connsiteX6" fmla="*/ 5793594 w 9603591"/>
              <a:gd name="connsiteY6" fmla="*/ 2838657 h 4028628"/>
              <a:gd name="connsiteX7" fmla="*/ 4321786 w 9603591"/>
              <a:gd name="connsiteY7" fmla="*/ 2675819 h 4028628"/>
              <a:gd name="connsiteX8" fmla="*/ 4171474 w 9603591"/>
              <a:gd name="connsiteY8" fmla="*/ 2807342 h 4028628"/>
              <a:gd name="connsiteX9" fmla="*/ 4465835 w 9603591"/>
              <a:gd name="connsiteY9" fmla="*/ 2863709 h 4028628"/>
              <a:gd name="connsiteX10" fmla="*/ 3933479 w 9603591"/>
              <a:gd name="connsiteY10" fmla="*/ 2575611 h 4028628"/>
              <a:gd name="connsiteX0" fmla="*/ 0 w 9602407"/>
              <a:gd name="connsiteY0" fmla="*/ 4039392 h 4039392"/>
              <a:gd name="connsiteX1" fmla="*/ 2655824 w 9602407"/>
              <a:gd name="connsiteY1" fmla="*/ 3613509 h 4039392"/>
              <a:gd name="connsiteX2" fmla="*/ 4321786 w 9602407"/>
              <a:gd name="connsiteY2" fmla="*/ 2649005 h 4039392"/>
              <a:gd name="connsiteX3" fmla="*/ 5905675 w 9602407"/>
              <a:gd name="connsiteY3" fmla="*/ 947382 h 4039392"/>
              <a:gd name="connsiteX4" fmla="*/ 8085348 w 9602407"/>
              <a:gd name="connsiteY4" fmla="*/ 11125 h 4039392"/>
              <a:gd name="connsiteX5" fmla="*/ 9401090 w 9602407"/>
              <a:gd name="connsiteY5" fmla="*/ 1665712 h 4039392"/>
              <a:gd name="connsiteX6" fmla="*/ 5793594 w 9602407"/>
              <a:gd name="connsiteY6" fmla="*/ 2849421 h 4039392"/>
              <a:gd name="connsiteX7" fmla="*/ 4321786 w 9602407"/>
              <a:gd name="connsiteY7" fmla="*/ 2686583 h 4039392"/>
              <a:gd name="connsiteX8" fmla="*/ 4171474 w 9602407"/>
              <a:gd name="connsiteY8" fmla="*/ 2818106 h 4039392"/>
              <a:gd name="connsiteX9" fmla="*/ 4465835 w 9602407"/>
              <a:gd name="connsiteY9" fmla="*/ 2874473 h 4039392"/>
              <a:gd name="connsiteX10" fmla="*/ 3933479 w 9602407"/>
              <a:gd name="connsiteY10" fmla="*/ 2586375 h 4039392"/>
              <a:gd name="connsiteX0" fmla="*/ 0 w 9656300"/>
              <a:gd name="connsiteY0" fmla="*/ 4038473 h 4038473"/>
              <a:gd name="connsiteX1" fmla="*/ 2655824 w 9656300"/>
              <a:gd name="connsiteY1" fmla="*/ 3612590 h 4038473"/>
              <a:gd name="connsiteX2" fmla="*/ 4321786 w 9656300"/>
              <a:gd name="connsiteY2" fmla="*/ 2648086 h 4038473"/>
              <a:gd name="connsiteX3" fmla="*/ 5905675 w 9656300"/>
              <a:gd name="connsiteY3" fmla="*/ 946463 h 4038473"/>
              <a:gd name="connsiteX4" fmla="*/ 8085348 w 9656300"/>
              <a:gd name="connsiteY4" fmla="*/ 10206 h 4038473"/>
              <a:gd name="connsiteX5" fmla="*/ 9401090 w 9656300"/>
              <a:gd name="connsiteY5" fmla="*/ 1664793 h 4038473"/>
              <a:gd name="connsiteX6" fmla="*/ 5793594 w 9656300"/>
              <a:gd name="connsiteY6" fmla="*/ 2848502 h 4038473"/>
              <a:gd name="connsiteX7" fmla="*/ 4321786 w 9656300"/>
              <a:gd name="connsiteY7" fmla="*/ 2685664 h 4038473"/>
              <a:gd name="connsiteX8" fmla="*/ 4171474 w 9656300"/>
              <a:gd name="connsiteY8" fmla="*/ 2817187 h 4038473"/>
              <a:gd name="connsiteX9" fmla="*/ 4465835 w 9656300"/>
              <a:gd name="connsiteY9" fmla="*/ 2873554 h 4038473"/>
              <a:gd name="connsiteX10" fmla="*/ 3933479 w 9656300"/>
              <a:gd name="connsiteY10" fmla="*/ 2585456 h 4038473"/>
              <a:gd name="connsiteX0" fmla="*/ 0 w 9560122"/>
              <a:gd name="connsiteY0" fmla="*/ 4039269 h 4039269"/>
              <a:gd name="connsiteX1" fmla="*/ 2655824 w 9560122"/>
              <a:gd name="connsiteY1" fmla="*/ 3613386 h 4039269"/>
              <a:gd name="connsiteX2" fmla="*/ 4321786 w 9560122"/>
              <a:gd name="connsiteY2" fmla="*/ 2648882 h 4039269"/>
              <a:gd name="connsiteX3" fmla="*/ 5905675 w 9560122"/>
              <a:gd name="connsiteY3" fmla="*/ 947259 h 4039269"/>
              <a:gd name="connsiteX4" fmla="*/ 8085348 w 9560122"/>
              <a:gd name="connsiteY4" fmla="*/ 11002 h 4039269"/>
              <a:gd name="connsiteX5" fmla="*/ 9401090 w 9560122"/>
              <a:gd name="connsiteY5" fmla="*/ 1665589 h 4039269"/>
              <a:gd name="connsiteX6" fmla="*/ 6365664 w 9560122"/>
              <a:gd name="connsiteY6" fmla="*/ 2749602 h 4039269"/>
              <a:gd name="connsiteX7" fmla="*/ 4321786 w 9560122"/>
              <a:gd name="connsiteY7" fmla="*/ 2686460 h 4039269"/>
              <a:gd name="connsiteX8" fmla="*/ 4171474 w 9560122"/>
              <a:gd name="connsiteY8" fmla="*/ 2817983 h 4039269"/>
              <a:gd name="connsiteX9" fmla="*/ 4465835 w 9560122"/>
              <a:gd name="connsiteY9" fmla="*/ 2874350 h 4039269"/>
              <a:gd name="connsiteX10" fmla="*/ 3933479 w 9560122"/>
              <a:gd name="connsiteY10" fmla="*/ 2586252 h 4039269"/>
              <a:gd name="connsiteX0" fmla="*/ 0 w 9560122"/>
              <a:gd name="connsiteY0" fmla="*/ 4039269 h 4039269"/>
              <a:gd name="connsiteX1" fmla="*/ 2655824 w 9560122"/>
              <a:gd name="connsiteY1" fmla="*/ 3613386 h 4039269"/>
              <a:gd name="connsiteX2" fmla="*/ 4321786 w 9560122"/>
              <a:gd name="connsiteY2" fmla="*/ 2648882 h 4039269"/>
              <a:gd name="connsiteX3" fmla="*/ 5905675 w 9560122"/>
              <a:gd name="connsiteY3" fmla="*/ 947259 h 4039269"/>
              <a:gd name="connsiteX4" fmla="*/ 8085348 w 9560122"/>
              <a:gd name="connsiteY4" fmla="*/ 11002 h 4039269"/>
              <a:gd name="connsiteX5" fmla="*/ 9401090 w 9560122"/>
              <a:gd name="connsiteY5" fmla="*/ 1665589 h 4039269"/>
              <a:gd name="connsiteX6" fmla="*/ 6365664 w 9560122"/>
              <a:gd name="connsiteY6" fmla="*/ 2749602 h 4039269"/>
              <a:gd name="connsiteX7" fmla="*/ 4321786 w 9560122"/>
              <a:gd name="connsiteY7" fmla="*/ 2686460 h 4039269"/>
              <a:gd name="connsiteX8" fmla="*/ 4171474 w 9560122"/>
              <a:gd name="connsiteY8" fmla="*/ 2817983 h 4039269"/>
              <a:gd name="connsiteX9" fmla="*/ 4465835 w 9560122"/>
              <a:gd name="connsiteY9" fmla="*/ 2874350 h 4039269"/>
              <a:gd name="connsiteX10" fmla="*/ 3933479 w 9560122"/>
              <a:gd name="connsiteY10" fmla="*/ 2586252 h 4039269"/>
              <a:gd name="connsiteX0" fmla="*/ 0 w 9586218"/>
              <a:gd name="connsiteY0" fmla="*/ 4038961 h 4038961"/>
              <a:gd name="connsiteX1" fmla="*/ 2655824 w 9586218"/>
              <a:gd name="connsiteY1" fmla="*/ 3613078 h 4038961"/>
              <a:gd name="connsiteX2" fmla="*/ 4321786 w 9586218"/>
              <a:gd name="connsiteY2" fmla="*/ 2648574 h 4038961"/>
              <a:gd name="connsiteX3" fmla="*/ 5905675 w 9586218"/>
              <a:gd name="connsiteY3" fmla="*/ 946951 h 4038961"/>
              <a:gd name="connsiteX4" fmla="*/ 8085348 w 9586218"/>
              <a:gd name="connsiteY4" fmla="*/ 10694 h 4038961"/>
              <a:gd name="connsiteX5" fmla="*/ 9401090 w 9586218"/>
              <a:gd name="connsiteY5" fmla="*/ 1665281 h 4038961"/>
              <a:gd name="connsiteX6" fmla="*/ 6365664 w 9586218"/>
              <a:gd name="connsiteY6" fmla="*/ 2749294 h 4038961"/>
              <a:gd name="connsiteX7" fmla="*/ 4321786 w 9586218"/>
              <a:gd name="connsiteY7" fmla="*/ 2686152 h 4038961"/>
              <a:gd name="connsiteX8" fmla="*/ 4171474 w 9586218"/>
              <a:gd name="connsiteY8" fmla="*/ 2817675 h 4038961"/>
              <a:gd name="connsiteX9" fmla="*/ 4465835 w 9586218"/>
              <a:gd name="connsiteY9" fmla="*/ 2874042 h 4038961"/>
              <a:gd name="connsiteX10" fmla="*/ 3933479 w 9586218"/>
              <a:gd name="connsiteY10" fmla="*/ 2585944 h 4038961"/>
              <a:gd name="connsiteX0" fmla="*/ 0 w 9669443"/>
              <a:gd name="connsiteY0" fmla="*/ 4041204 h 4041204"/>
              <a:gd name="connsiteX1" fmla="*/ 2655824 w 9669443"/>
              <a:gd name="connsiteY1" fmla="*/ 3615321 h 4041204"/>
              <a:gd name="connsiteX2" fmla="*/ 4321786 w 9669443"/>
              <a:gd name="connsiteY2" fmla="*/ 2650817 h 4041204"/>
              <a:gd name="connsiteX3" fmla="*/ 5905675 w 9669443"/>
              <a:gd name="connsiteY3" fmla="*/ 949194 h 4041204"/>
              <a:gd name="connsiteX4" fmla="*/ 8085348 w 9669443"/>
              <a:gd name="connsiteY4" fmla="*/ 12937 h 4041204"/>
              <a:gd name="connsiteX5" fmla="*/ 9401090 w 9669443"/>
              <a:gd name="connsiteY5" fmla="*/ 1667524 h 4041204"/>
              <a:gd name="connsiteX6" fmla="*/ 6365664 w 9669443"/>
              <a:gd name="connsiteY6" fmla="*/ 2751537 h 4041204"/>
              <a:gd name="connsiteX7" fmla="*/ 4321786 w 9669443"/>
              <a:gd name="connsiteY7" fmla="*/ 2688395 h 4041204"/>
              <a:gd name="connsiteX8" fmla="*/ 4171474 w 9669443"/>
              <a:gd name="connsiteY8" fmla="*/ 2819918 h 4041204"/>
              <a:gd name="connsiteX9" fmla="*/ 4465835 w 9669443"/>
              <a:gd name="connsiteY9" fmla="*/ 2876285 h 4041204"/>
              <a:gd name="connsiteX10" fmla="*/ 3933479 w 9669443"/>
              <a:gd name="connsiteY10" fmla="*/ 2588187 h 4041204"/>
              <a:gd name="connsiteX0" fmla="*/ 0 w 7013619"/>
              <a:gd name="connsiteY0" fmla="*/ 3615321 h 3615322"/>
              <a:gd name="connsiteX1" fmla="*/ 1665962 w 7013619"/>
              <a:gd name="connsiteY1" fmla="*/ 2650817 h 3615322"/>
              <a:gd name="connsiteX2" fmla="*/ 3249851 w 7013619"/>
              <a:gd name="connsiteY2" fmla="*/ 949194 h 3615322"/>
              <a:gd name="connsiteX3" fmla="*/ 5429524 w 7013619"/>
              <a:gd name="connsiteY3" fmla="*/ 12937 h 3615322"/>
              <a:gd name="connsiteX4" fmla="*/ 6745266 w 7013619"/>
              <a:gd name="connsiteY4" fmla="*/ 1667524 h 3615322"/>
              <a:gd name="connsiteX5" fmla="*/ 3709840 w 7013619"/>
              <a:gd name="connsiteY5" fmla="*/ 2751537 h 3615322"/>
              <a:gd name="connsiteX6" fmla="*/ 1665962 w 7013619"/>
              <a:gd name="connsiteY6" fmla="*/ 2688395 h 3615322"/>
              <a:gd name="connsiteX7" fmla="*/ 1515650 w 7013619"/>
              <a:gd name="connsiteY7" fmla="*/ 2819918 h 3615322"/>
              <a:gd name="connsiteX8" fmla="*/ 1810011 w 7013619"/>
              <a:gd name="connsiteY8" fmla="*/ 2876285 h 3615322"/>
              <a:gd name="connsiteX9" fmla="*/ 1277655 w 7013619"/>
              <a:gd name="connsiteY9" fmla="*/ 2588187 h 3615322"/>
              <a:gd name="connsiteX0" fmla="*/ 388307 w 5735964"/>
              <a:gd name="connsiteY0" fmla="*/ 2650817 h 2894524"/>
              <a:gd name="connsiteX1" fmla="*/ 1972196 w 5735964"/>
              <a:gd name="connsiteY1" fmla="*/ 949194 h 2894524"/>
              <a:gd name="connsiteX2" fmla="*/ 4151869 w 5735964"/>
              <a:gd name="connsiteY2" fmla="*/ 12937 h 2894524"/>
              <a:gd name="connsiteX3" fmla="*/ 5467611 w 5735964"/>
              <a:gd name="connsiteY3" fmla="*/ 1667524 h 2894524"/>
              <a:gd name="connsiteX4" fmla="*/ 2432185 w 5735964"/>
              <a:gd name="connsiteY4" fmla="*/ 2751537 h 2894524"/>
              <a:gd name="connsiteX5" fmla="*/ 388307 w 5735964"/>
              <a:gd name="connsiteY5" fmla="*/ 2688395 h 2894524"/>
              <a:gd name="connsiteX6" fmla="*/ 237995 w 5735964"/>
              <a:gd name="connsiteY6" fmla="*/ 2819918 h 2894524"/>
              <a:gd name="connsiteX7" fmla="*/ 532356 w 5735964"/>
              <a:gd name="connsiteY7" fmla="*/ 2876285 h 2894524"/>
              <a:gd name="connsiteX8" fmla="*/ 0 w 5735964"/>
              <a:gd name="connsiteY8" fmla="*/ 2588187 h 2894524"/>
              <a:gd name="connsiteX0" fmla="*/ 221690 w 5569347"/>
              <a:gd name="connsiteY0" fmla="*/ 2650817 h 2894524"/>
              <a:gd name="connsiteX1" fmla="*/ 1805579 w 5569347"/>
              <a:gd name="connsiteY1" fmla="*/ 949194 h 2894524"/>
              <a:gd name="connsiteX2" fmla="*/ 3985252 w 5569347"/>
              <a:gd name="connsiteY2" fmla="*/ 12937 h 2894524"/>
              <a:gd name="connsiteX3" fmla="*/ 5300994 w 5569347"/>
              <a:gd name="connsiteY3" fmla="*/ 1667524 h 2894524"/>
              <a:gd name="connsiteX4" fmla="*/ 2265568 w 5569347"/>
              <a:gd name="connsiteY4" fmla="*/ 2751537 h 2894524"/>
              <a:gd name="connsiteX5" fmla="*/ 221690 w 5569347"/>
              <a:gd name="connsiteY5" fmla="*/ 2688395 h 2894524"/>
              <a:gd name="connsiteX6" fmla="*/ 71378 w 5569347"/>
              <a:gd name="connsiteY6" fmla="*/ 2819918 h 2894524"/>
              <a:gd name="connsiteX7" fmla="*/ 365739 w 5569347"/>
              <a:gd name="connsiteY7" fmla="*/ 2876285 h 2894524"/>
              <a:gd name="connsiteX0" fmla="*/ 1805579 w 5569347"/>
              <a:gd name="connsiteY0" fmla="*/ 949194 h 2894524"/>
              <a:gd name="connsiteX1" fmla="*/ 3985252 w 5569347"/>
              <a:gd name="connsiteY1" fmla="*/ 12937 h 2894524"/>
              <a:gd name="connsiteX2" fmla="*/ 5300994 w 5569347"/>
              <a:gd name="connsiteY2" fmla="*/ 1667524 h 2894524"/>
              <a:gd name="connsiteX3" fmla="*/ 2265568 w 5569347"/>
              <a:gd name="connsiteY3" fmla="*/ 2751537 h 2894524"/>
              <a:gd name="connsiteX4" fmla="*/ 221690 w 5569347"/>
              <a:gd name="connsiteY4" fmla="*/ 2688395 h 2894524"/>
              <a:gd name="connsiteX5" fmla="*/ 71378 w 5569347"/>
              <a:gd name="connsiteY5" fmla="*/ 2819918 h 2894524"/>
              <a:gd name="connsiteX6" fmla="*/ 365739 w 5569347"/>
              <a:gd name="connsiteY6" fmla="*/ 2876285 h 2894524"/>
              <a:gd name="connsiteX0" fmla="*/ 1826640 w 5590408"/>
              <a:gd name="connsiteY0" fmla="*/ 949194 h 2893201"/>
              <a:gd name="connsiteX1" fmla="*/ 4006313 w 5590408"/>
              <a:gd name="connsiteY1" fmla="*/ 12937 h 2893201"/>
              <a:gd name="connsiteX2" fmla="*/ 5322055 w 5590408"/>
              <a:gd name="connsiteY2" fmla="*/ 1667524 h 2893201"/>
              <a:gd name="connsiteX3" fmla="*/ 2286629 w 5590408"/>
              <a:gd name="connsiteY3" fmla="*/ 2751537 h 2893201"/>
              <a:gd name="connsiteX4" fmla="*/ 92439 w 5590408"/>
              <a:gd name="connsiteY4" fmla="*/ 2819918 h 2893201"/>
              <a:gd name="connsiteX5" fmla="*/ 386800 w 5590408"/>
              <a:gd name="connsiteY5" fmla="*/ 2876285 h 2893201"/>
              <a:gd name="connsiteX0" fmla="*/ 1886051 w 5649819"/>
              <a:gd name="connsiteY0" fmla="*/ 949194 h 2893201"/>
              <a:gd name="connsiteX1" fmla="*/ 4065724 w 5649819"/>
              <a:gd name="connsiteY1" fmla="*/ 12937 h 2893201"/>
              <a:gd name="connsiteX2" fmla="*/ 5381466 w 5649819"/>
              <a:gd name="connsiteY2" fmla="*/ 1667524 h 2893201"/>
              <a:gd name="connsiteX3" fmla="*/ 2346040 w 5649819"/>
              <a:gd name="connsiteY3" fmla="*/ 2751537 h 2893201"/>
              <a:gd name="connsiteX4" fmla="*/ 181802 w 5649819"/>
              <a:gd name="connsiteY4" fmla="*/ 2817369 h 2893201"/>
              <a:gd name="connsiteX5" fmla="*/ 151850 w 5649819"/>
              <a:gd name="connsiteY5" fmla="*/ 2819918 h 2893201"/>
              <a:gd name="connsiteX6" fmla="*/ 446211 w 5649819"/>
              <a:gd name="connsiteY6" fmla="*/ 2876285 h 2893201"/>
              <a:gd name="connsiteX0" fmla="*/ 1886052 w 5649820"/>
              <a:gd name="connsiteY0" fmla="*/ 949194 h 2854351"/>
              <a:gd name="connsiteX1" fmla="*/ 4065725 w 5649820"/>
              <a:gd name="connsiteY1" fmla="*/ 12937 h 2854351"/>
              <a:gd name="connsiteX2" fmla="*/ 5381467 w 5649820"/>
              <a:gd name="connsiteY2" fmla="*/ 1667524 h 2854351"/>
              <a:gd name="connsiteX3" fmla="*/ 2346041 w 5649820"/>
              <a:gd name="connsiteY3" fmla="*/ 2751537 h 2854351"/>
              <a:gd name="connsiteX4" fmla="*/ 181803 w 5649820"/>
              <a:gd name="connsiteY4" fmla="*/ 2817369 h 2854351"/>
              <a:gd name="connsiteX5" fmla="*/ 151851 w 5649820"/>
              <a:gd name="connsiteY5" fmla="*/ 2819918 h 2854351"/>
              <a:gd name="connsiteX0" fmla="*/ 1704249 w 5468017"/>
              <a:gd name="connsiteY0" fmla="*/ 949194 h 2854352"/>
              <a:gd name="connsiteX1" fmla="*/ 3883922 w 5468017"/>
              <a:gd name="connsiteY1" fmla="*/ 12937 h 2854352"/>
              <a:gd name="connsiteX2" fmla="*/ 5199664 w 5468017"/>
              <a:gd name="connsiteY2" fmla="*/ 1667524 h 2854352"/>
              <a:gd name="connsiteX3" fmla="*/ 2164238 w 5468017"/>
              <a:gd name="connsiteY3" fmla="*/ 2751537 h 2854352"/>
              <a:gd name="connsiteX4" fmla="*/ 0 w 5468017"/>
              <a:gd name="connsiteY4" fmla="*/ 2817369 h 2854352"/>
              <a:gd name="connsiteX0" fmla="*/ 0 w 3763768"/>
              <a:gd name="connsiteY0" fmla="*/ 949194 h 2751537"/>
              <a:gd name="connsiteX1" fmla="*/ 2179673 w 3763768"/>
              <a:gd name="connsiteY1" fmla="*/ 12937 h 2751537"/>
              <a:gd name="connsiteX2" fmla="*/ 3495415 w 3763768"/>
              <a:gd name="connsiteY2" fmla="*/ 1667524 h 2751537"/>
              <a:gd name="connsiteX3" fmla="*/ 459989 w 3763768"/>
              <a:gd name="connsiteY3" fmla="*/ 2751537 h 2751537"/>
              <a:gd name="connsiteX0" fmla="*/ 0 w 3763768"/>
              <a:gd name="connsiteY0" fmla="*/ 949194 h 1667524"/>
              <a:gd name="connsiteX1" fmla="*/ 2179673 w 3763768"/>
              <a:gd name="connsiteY1" fmla="*/ 12937 h 1667524"/>
              <a:gd name="connsiteX2" fmla="*/ 3495415 w 3763768"/>
              <a:gd name="connsiteY2" fmla="*/ 1667524 h 1667524"/>
              <a:gd name="connsiteX0" fmla="*/ 0 w 3495415"/>
              <a:gd name="connsiteY0" fmla="*/ 1046589 h 1764919"/>
              <a:gd name="connsiteX1" fmla="*/ 2179673 w 3495415"/>
              <a:gd name="connsiteY1" fmla="*/ 110332 h 1764919"/>
              <a:gd name="connsiteX2" fmla="*/ 3156703 w 3495415"/>
              <a:gd name="connsiteY2" fmla="*/ 203081 h 1764919"/>
              <a:gd name="connsiteX3" fmla="*/ 3495415 w 3495415"/>
              <a:gd name="connsiteY3" fmla="*/ 1764919 h 1764919"/>
              <a:gd name="connsiteX0" fmla="*/ 0 w 3495415"/>
              <a:gd name="connsiteY0" fmla="*/ 855835 h 1574165"/>
              <a:gd name="connsiteX1" fmla="*/ 3156703 w 3495415"/>
              <a:gd name="connsiteY1" fmla="*/ 12327 h 1574165"/>
              <a:gd name="connsiteX2" fmla="*/ 3495415 w 3495415"/>
              <a:gd name="connsiteY2" fmla="*/ 1574165 h 1574165"/>
              <a:gd name="connsiteX0" fmla="*/ -1 w 338711"/>
              <a:gd name="connsiteY0" fmla="*/ 0 h 1561838"/>
              <a:gd name="connsiteX1" fmla="*/ 338711 w 338711"/>
              <a:gd name="connsiteY1" fmla="*/ 1561838 h 1561838"/>
              <a:gd name="connsiteX0" fmla="*/ -1 w 546970"/>
              <a:gd name="connsiteY0" fmla="*/ 0 h 1561838"/>
              <a:gd name="connsiteX1" fmla="*/ 338711 w 546970"/>
              <a:gd name="connsiteY1" fmla="*/ 1561838 h 1561838"/>
              <a:gd name="connsiteX0" fmla="*/ -1 w 620599"/>
              <a:gd name="connsiteY0" fmla="*/ 0 h 1561838"/>
              <a:gd name="connsiteX1" fmla="*/ 338711 w 620599"/>
              <a:gd name="connsiteY1" fmla="*/ 1561838 h 1561838"/>
              <a:gd name="connsiteX0" fmla="*/ -1 w 586256"/>
              <a:gd name="connsiteY0" fmla="*/ 0 h 1528016"/>
              <a:gd name="connsiteX1" fmla="*/ 257948 w 586256"/>
              <a:gd name="connsiteY1" fmla="*/ 1528016 h 1528016"/>
              <a:gd name="connsiteX0" fmla="*/ -1 w 526885"/>
              <a:gd name="connsiteY0" fmla="*/ 0 h 1528016"/>
              <a:gd name="connsiteX1" fmla="*/ 257948 w 526885"/>
              <a:gd name="connsiteY1" fmla="*/ 1528016 h 1528016"/>
              <a:gd name="connsiteX0" fmla="*/ 860112 w 1127111"/>
              <a:gd name="connsiteY0" fmla="*/ 0 h 2187743"/>
              <a:gd name="connsiteX1" fmla="*/ 0 w 1127111"/>
              <a:gd name="connsiteY1" fmla="*/ 2187743 h 2187743"/>
              <a:gd name="connsiteX0" fmla="*/ 860112 w 1318238"/>
              <a:gd name="connsiteY0" fmla="*/ 0 h 2187743"/>
              <a:gd name="connsiteX1" fmla="*/ 0 w 1318238"/>
              <a:gd name="connsiteY1" fmla="*/ 2187743 h 2187743"/>
              <a:gd name="connsiteX0" fmla="*/ 860112 w 1331757"/>
              <a:gd name="connsiteY0" fmla="*/ 0 h 2187743"/>
              <a:gd name="connsiteX1" fmla="*/ 0 w 1331757"/>
              <a:gd name="connsiteY1" fmla="*/ 2187743 h 2187743"/>
            </a:gdLst>
            <a:ahLst/>
            <a:cxnLst>
              <a:cxn ang="0">
                <a:pos x="connsiteX0" y="connsiteY0"/>
              </a:cxn>
              <a:cxn ang="0">
                <a:pos x="connsiteX1" y="connsiteY1"/>
              </a:cxn>
            </a:cxnLst>
            <a:rect l="l" t="t" r="r" b="b"/>
            <a:pathLst>
              <a:path w="1331757" h="2187743">
                <a:moveTo>
                  <a:pt x="860112" y="0"/>
                </a:moveTo>
                <a:cubicBezTo>
                  <a:pt x="1742309" y="412894"/>
                  <a:pt x="1348407" y="1680846"/>
                  <a:pt x="0" y="2187743"/>
                </a:cubicBezTo>
              </a:path>
            </a:pathLst>
          </a:custGeom>
          <a:noFill/>
          <a:ln w="762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Inhaltsplatzhalter 2"/>
          <p:cNvSpPr txBox="1">
            <a:spLocks/>
          </p:cNvSpPr>
          <p:nvPr/>
        </p:nvSpPr>
        <p:spPr>
          <a:xfrm>
            <a:off x="6094908" y="2214576"/>
            <a:ext cx="2390897" cy="450492"/>
          </a:xfrm>
          <a:prstGeom prst="rect">
            <a:avLst/>
          </a:prstGeom>
        </p:spPr>
        <p:txBody>
          <a:bodyPr vert="horz" lIns="0" tIns="0" rIns="0" bIns="0" rtlCol="0">
            <a:noAutofit/>
          </a:bodyPr>
          <a:lstStyle>
            <a:lvl1pPr marL="0" indent="0" algn="ctr" defTabSz="1280160" rtl="0" eaLnBrk="1" latinLnBrk="0" hangingPunct="1">
              <a:spcBef>
                <a:spcPct val="20000"/>
              </a:spcBef>
              <a:buFont typeface="Arial" panose="020B0604020202020204" pitchFamily="34" charset="0"/>
              <a:buNone/>
              <a:defRPr sz="4500" kern="1200">
                <a:solidFill>
                  <a:schemeClr val="tx1">
                    <a:tint val="75000"/>
                  </a:schemeClr>
                </a:solidFill>
                <a:latin typeface="+mn-lt"/>
                <a:ea typeface="+mn-ea"/>
                <a:cs typeface="+mn-cs"/>
              </a:defRPr>
            </a:lvl1pPr>
            <a:lvl2pPr marL="640080" indent="0" algn="ctr" defTabSz="1280160" rtl="0" eaLnBrk="1" latinLnBrk="0" hangingPunct="1">
              <a:spcBef>
                <a:spcPct val="20000"/>
              </a:spcBef>
              <a:buFont typeface="Arial" panose="020B0604020202020204" pitchFamily="34" charset="0"/>
              <a:buNone/>
              <a:defRPr sz="3900" kern="1200">
                <a:solidFill>
                  <a:schemeClr val="tx1">
                    <a:tint val="75000"/>
                  </a:schemeClr>
                </a:solidFill>
                <a:latin typeface="+mn-lt"/>
                <a:ea typeface="+mn-ea"/>
                <a:cs typeface="+mn-cs"/>
              </a:defRPr>
            </a:lvl2pPr>
            <a:lvl3pPr marL="1280160" indent="0" algn="ctr" defTabSz="1280160" rtl="0" eaLnBrk="1" latinLnBrk="0" hangingPunct="1">
              <a:spcBef>
                <a:spcPct val="20000"/>
              </a:spcBef>
              <a:buFont typeface="Arial" panose="020B0604020202020204" pitchFamily="34" charset="0"/>
              <a:buNone/>
              <a:defRPr sz="3400" kern="1200">
                <a:solidFill>
                  <a:schemeClr val="tx1">
                    <a:tint val="75000"/>
                  </a:schemeClr>
                </a:solidFill>
                <a:latin typeface="+mn-lt"/>
                <a:ea typeface="+mn-ea"/>
                <a:cs typeface="+mn-cs"/>
              </a:defRPr>
            </a:lvl3pPr>
            <a:lvl4pPr marL="192024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4pPr>
            <a:lvl5pPr marL="256032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5pPr>
            <a:lvl6pPr marL="320040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6pPr>
            <a:lvl7pPr marL="384048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7pPr>
            <a:lvl8pPr marL="448056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8pPr>
            <a:lvl9pPr marL="512064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9pPr>
          </a:lstStyle>
          <a:p>
            <a:pPr algn="l"/>
            <a:r>
              <a:rPr lang="en-US" sz="2800" b="1" dirty="0" smtClean="0">
                <a:solidFill>
                  <a:schemeClr val="accent4"/>
                </a:solidFill>
                <a:latin typeface="Arial" panose="020B0604020202020204" pitchFamily="34" charset="0"/>
                <a:cs typeface="Arial" panose="020B0604020202020204" pitchFamily="34" charset="0"/>
              </a:rPr>
              <a:t>subscriptions</a:t>
            </a:r>
            <a:endParaRPr lang="de-DE" sz="4400" b="1" dirty="0">
              <a:solidFill>
                <a:schemeClr val="accent4"/>
              </a:solidFill>
              <a:latin typeface="Arial" panose="020B0604020202020204" pitchFamily="34" charset="0"/>
              <a:cs typeface="Arial" panose="020B0604020202020204" pitchFamily="34" charset="0"/>
            </a:endParaRPr>
          </a:p>
        </p:txBody>
      </p:sp>
      <p:sp>
        <p:nvSpPr>
          <p:cNvPr id="28" name="Inhaltsplatzhalter 2"/>
          <p:cNvSpPr txBox="1">
            <a:spLocks/>
          </p:cNvSpPr>
          <p:nvPr/>
        </p:nvSpPr>
        <p:spPr>
          <a:xfrm>
            <a:off x="7067248" y="2677850"/>
            <a:ext cx="2675974" cy="450492"/>
          </a:xfrm>
          <a:prstGeom prst="rect">
            <a:avLst/>
          </a:prstGeom>
        </p:spPr>
        <p:txBody>
          <a:bodyPr vert="horz" lIns="0" tIns="0" rIns="0" bIns="0" rtlCol="0">
            <a:noAutofit/>
          </a:bodyPr>
          <a:lstStyle>
            <a:lvl1pPr marL="0" indent="0" algn="ctr" defTabSz="1280160" rtl="0" eaLnBrk="1" latinLnBrk="0" hangingPunct="1">
              <a:spcBef>
                <a:spcPct val="20000"/>
              </a:spcBef>
              <a:buFont typeface="Arial" panose="020B0604020202020204" pitchFamily="34" charset="0"/>
              <a:buNone/>
              <a:defRPr sz="4500" kern="1200">
                <a:solidFill>
                  <a:schemeClr val="tx1">
                    <a:tint val="75000"/>
                  </a:schemeClr>
                </a:solidFill>
                <a:latin typeface="+mn-lt"/>
                <a:ea typeface="+mn-ea"/>
                <a:cs typeface="+mn-cs"/>
              </a:defRPr>
            </a:lvl1pPr>
            <a:lvl2pPr marL="640080" indent="0" algn="ctr" defTabSz="1280160" rtl="0" eaLnBrk="1" latinLnBrk="0" hangingPunct="1">
              <a:spcBef>
                <a:spcPct val="20000"/>
              </a:spcBef>
              <a:buFont typeface="Arial" panose="020B0604020202020204" pitchFamily="34" charset="0"/>
              <a:buNone/>
              <a:defRPr sz="3900" kern="1200">
                <a:solidFill>
                  <a:schemeClr val="tx1">
                    <a:tint val="75000"/>
                  </a:schemeClr>
                </a:solidFill>
                <a:latin typeface="+mn-lt"/>
                <a:ea typeface="+mn-ea"/>
                <a:cs typeface="+mn-cs"/>
              </a:defRPr>
            </a:lvl2pPr>
            <a:lvl3pPr marL="1280160" indent="0" algn="ctr" defTabSz="1280160" rtl="0" eaLnBrk="1" latinLnBrk="0" hangingPunct="1">
              <a:spcBef>
                <a:spcPct val="20000"/>
              </a:spcBef>
              <a:buFont typeface="Arial" panose="020B0604020202020204" pitchFamily="34" charset="0"/>
              <a:buNone/>
              <a:defRPr sz="3400" kern="1200">
                <a:solidFill>
                  <a:schemeClr val="tx1">
                    <a:tint val="75000"/>
                  </a:schemeClr>
                </a:solidFill>
                <a:latin typeface="+mn-lt"/>
                <a:ea typeface="+mn-ea"/>
                <a:cs typeface="+mn-cs"/>
              </a:defRPr>
            </a:lvl3pPr>
            <a:lvl4pPr marL="192024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4pPr>
            <a:lvl5pPr marL="256032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5pPr>
            <a:lvl6pPr marL="320040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6pPr>
            <a:lvl7pPr marL="384048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7pPr>
            <a:lvl8pPr marL="448056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8pPr>
            <a:lvl9pPr marL="512064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9pPr>
          </a:lstStyle>
          <a:p>
            <a:pPr algn="l"/>
            <a:r>
              <a:rPr lang="en-US" sz="2800" b="1" dirty="0" smtClean="0">
                <a:solidFill>
                  <a:schemeClr val="accent6"/>
                </a:solidFill>
                <a:latin typeface="Arial" panose="020B0604020202020204" pitchFamily="34" charset="0"/>
                <a:cs typeface="Arial" panose="020B0604020202020204" pitchFamily="34" charset="0"/>
              </a:rPr>
              <a:t>OA publishing</a:t>
            </a:r>
            <a:endParaRPr lang="de-DE" sz="4400" b="1" dirty="0">
              <a:solidFill>
                <a:schemeClr val="accent6"/>
              </a:solidFill>
              <a:latin typeface="Arial" panose="020B0604020202020204" pitchFamily="34" charset="0"/>
              <a:cs typeface="Arial" panose="020B0604020202020204" pitchFamily="34" charset="0"/>
            </a:endParaRPr>
          </a:p>
        </p:txBody>
      </p:sp>
      <p:sp>
        <p:nvSpPr>
          <p:cNvPr id="2" name="TextBox 1"/>
          <p:cNvSpPr txBox="1"/>
          <p:nvPr/>
        </p:nvSpPr>
        <p:spPr>
          <a:xfrm>
            <a:off x="331279" y="2067963"/>
            <a:ext cx="4786605" cy="1384995"/>
          </a:xfrm>
          <a:prstGeom prst="rect">
            <a:avLst/>
          </a:prstGeom>
          <a:noFill/>
        </p:spPr>
        <p:txBody>
          <a:bodyPr wrap="square" rtlCol="0">
            <a:spAutoFit/>
          </a:bodyPr>
          <a:lstStyle/>
          <a:p>
            <a:r>
              <a:rPr lang="en-US" sz="2800" dirty="0" smtClean="0">
                <a:solidFill>
                  <a:schemeClr val="tx2"/>
                </a:solidFill>
              </a:rPr>
              <a:t>To unlock the system, both</a:t>
            </a:r>
          </a:p>
          <a:p>
            <a:r>
              <a:rPr lang="en-US" sz="2800" dirty="0" smtClean="0">
                <a:solidFill>
                  <a:schemeClr val="tx2"/>
                </a:solidFill>
              </a:rPr>
              <a:t>money streams must be reined in.</a:t>
            </a:r>
            <a:endParaRPr lang="en-US" sz="2800" dirty="0">
              <a:solidFill>
                <a:schemeClr val="tx2"/>
              </a:solidFill>
            </a:endParaRPr>
          </a:p>
        </p:txBody>
      </p:sp>
    </p:spTree>
    <p:extLst>
      <p:ext uri="{BB962C8B-B14F-4D97-AF65-F5344CB8AC3E}">
        <p14:creationId xmlns:p14="http://schemas.microsoft.com/office/powerpoint/2010/main" val="184321664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platzhalter 2"/>
          <p:cNvSpPr txBox="1">
            <a:spLocks/>
          </p:cNvSpPr>
          <p:nvPr/>
        </p:nvSpPr>
        <p:spPr>
          <a:xfrm>
            <a:off x="231316" y="390768"/>
            <a:ext cx="9222419" cy="697671"/>
          </a:xfrm>
          <a:prstGeom prst="rect">
            <a:avLst/>
          </a:prstGeom>
        </p:spPr>
        <p:txBody>
          <a:bodyPr anchor="t" anchorCtr="0"/>
          <a:lstStyle>
            <a:lvl1pPr marL="0" indent="0" algn="l" defTabSz="914400" rtl="0" eaLnBrk="1" latinLnBrk="0" hangingPunct="1">
              <a:spcBef>
                <a:spcPts val="200"/>
              </a:spcBef>
              <a:buClr>
                <a:schemeClr val="tx2"/>
              </a:buClr>
              <a:buFont typeface="Wingdings" pitchFamily="2" charset="2"/>
              <a:buNone/>
              <a:defRPr sz="1600" kern="1200">
                <a:solidFill>
                  <a:schemeClr val="tx2"/>
                </a:solidFill>
                <a:latin typeface="+mn-lt"/>
                <a:ea typeface="+mn-ea"/>
                <a:cs typeface="+mn-cs"/>
              </a:defRPr>
            </a:lvl1pPr>
            <a:lvl2pPr marL="180975" indent="-180975" algn="l" defTabSz="914400" rtl="0" eaLnBrk="1" latinLnBrk="0" hangingPunct="1">
              <a:spcBef>
                <a:spcPts val="200"/>
              </a:spcBef>
              <a:buClr>
                <a:schemeClr val="tx2"/>
              </a:buClr>
              <a:buFont typeface="Wingdings" pitchFamily="2" charset="2"/>
              <a:buChar char="§"/>
              <a:defRPr sz="1600" kern="1200">
                <a:solidFill>
                  <a:schemeClr val="tx2"/>
                </a:solidFill>
                <a:latin typeface="+mn-lt"/>
                <a:ea typeface="+mn-ea"/>
                <a:cs typeface="+mn-cs"/>
              </a:defRPr>
            </a:lvl2pPr>
            <a:lvl3pPr marL="355600" indent="-174625"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3pPr>
            <a:lvl4pPr marL="538163" indent="-182563"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4pPr>
            <a:lvl5pPr marL="719138" indent="-180975" algn="l" defTabSz="914400" rtl="0" eaLnBrk="1" latinLnBrk="0" hangingPunct="1">
              <a:spcBef>
                <a:spcPts val="200"/>
              </a:spcBef>
              <a:buClr>
                <a:schemeClr val="tx2"/>
              </a:buClr>
              <a:buFont typeface="Symbol" pitchFamily="18" charset="2"/>
              <a:buChar char="-"/>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de-DE" sz="3600" dirty="0"/>
          </a:p>
        </p:txBody>
      </p:sp>
      <p:sp>
        <p:nvSpPr>
          <p:cNvPr id="10" name="Rechteck 2"/>
          <p:cNvSpPr/>
          <p:nvPr/>
        </p:nvSpPr>
        <p:spPr>
          <a:xfrm>
            <a:off x="706346" y="2081104"/>
            <a:ext cx="8437969" cy="496996"/>
          </a:xfrm>
          <a:prstGeom prst="rect">
            <a:avLst/>
          </a:prstGeom>
        </p:spPr>
        <p:txBody>
          <a:bodyPr wrap="square">
            <a:spAutoFit/>
          </a:bodyPr>
          <a:lstStyle/>
          <a:p>
            <a:pPr>
              <a:lnSpc>
                <a:spcPts val="3600"/>
              </a:lnSpc>
            </a:pPr>
            <a:endParaRPr lang="en-US" sz="2000" dirty="0" smtClean="0">
              <a:solidFill>
                <a:schemeClr val="accent2"/>
              </a:solidFill>
            </a:endParaRPr>
          </a:p>
        </p:txBody>
      </p:sp>
      <p:sp>
        <p:nvSpPr>
          <p:cNvPr id="11" name="Foliennummernplatzhalter 2"/>
          <p:cNvSpPr>
            <a:spLocks noGrp="1"/>
          </p:cNvSpPr>
          <p:nvPr>
            <p:ph type="sldNum" sz="quarter" idx="12"/>
          </p:nvPr>
        </p:nvSpPr>
        <p:spPr>
          <a:xfrm>
            <a:off x="8931442" y="6592861"/>
            <a:ext cx="773912" cy="167164"/>
          </a:xfrm>
        </p:spPr>
        <p:txBody>
          <a:bodyPr/>
          <a:lstStyle/>
          <a:p>
            <a:fld id="{4AD1E780-DE1C-4ECA-B5E5-863D0BC53287}" type="slidenum">
              <a:rPr lang="de-DE" smtClean="0"/>
              <a:pPr/>
              <a:t>13</a:t>
            </a:fld>
            <a:endParaRPr lang="de-DE" dirty="0"/>
          </a:p>
        </p:txBody>
      </p:sp>
      <p:sp>
        <p:nvSpPr>
          <p:cNvPr id="9" name="Textplatzhalter 2"/>
          <p:cNvSpPr txBox="1">
            <a:spLocks/>
          </p:cNvSpPr>
          <p:nvPr/>
        </p:nvSpPr>
        <p:spPr>
          <a:xfrm>
            <a:off x="226144" y="384718"/>
            <a:ext cx="9606013" cy="697671"/>
          </a:xfrm>
          <a:prstGeom prst="rect">
            <a:avLst/>
          </a:prstGeom>
        </p:spPr>
        <p:txBody>
          <a:bodyPr anchor="t" anchorCtr="0"/>
          <a:lstStyle>
            <a:lvl1pPr marL="0" indent="0" algn="l" defTabSz="914400" rtl="0" eaLnBrk="1" latinLnBrk="0" hangingPunct="1">
              <a:spcBef>
                <a:spcPts val="200"/>
              </a:spcBef>
              <a:buClr>
                <a:schemeClr val="tx2"/>
              </a:buClr>
              <a:buFont typeface="Wingdings" pitchFamily="2" charset="2"/>
              <a:buNone/>
              <a:defRPr sz="1600" kern="1200">
                <a:solidFill>
                  <a:schemeClr val="tx2"/>
                </a:solidFill>
                <a:latin typeface="+mn-lt"/>
                <a:ea typeface="+mn-ea"/>
                <a:cs typeface="+mn-cs"/>
              </a:defRPr>
            </a:lvl1pPr>
            <a:lvl2pPr marL="180975" indent="-180975" algn="l" defTabSz="914400" rtl="0" eaLnBrk="1" latinLnBrk="0" hangingPunct="1">
              <a:spcBef>
                <a:spcPts val="200"/>
              </a:spcBef>
              <a:buClr>
                <a:schemeClr val="tx2"/>
              </a:buClr>
              <a:buFont typeface="Wingdings" pitchFamily="2" charset="2"/>
              <a:buChar char="§"/>
              <a:defRPr sz="1600" kern="1200">
                <a:solidFill>
                  <a:schemeClr val="tx2"/>
                </a:solidFill>
                <a:latin typeface="+mn-lt"/>
                <a:ea typeface="+mn-ea"/>
                <a:cs typeface="+mn-cs"/>
              </a:defRPr>
            </a:lvl2pPr>
            <a:lvl3pPr marL="355600" indent="-174625"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3pPr>
            <a:lvl4pPr marL="538163" indent="-182563"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4pPr>
            <a:lvl5pPr marL="719138" indent="-180975" algn="l" defTabSz="914400" rtl="0" eaLnBrk="1" latinLnBrk="0" hangingPunct="1">
              <a:spcBef>
                <a:spcPts val="200"/>
              </a:spcBef>
              <a:buClr>
                <a:schemeClr val="tx2"/>
              </a:buClr>
              <a:buFont typeface="Symbol" pitchFamily="18" charset="2"/>
              <a:buChar char="-"/>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3600" b="1" dirty="0" smtClean="0">
                <a:solidFill>
                  <a:schemeClr val="accent6"/>
                </a:solidFill>
              </a:rPr>
              <a:t>Money must </a:t>
            </a:r>
            <a:r>
              <a:rPr lang="de-DE" sz="3600" b="1" dirty="0" err="1" smtClean="0">
                <a:solidFill>
                  <a:schemeClr val="accent6"/>
                </a:solidFill>
              </a:rPr>
              <a:t>be</a:t>
            </a:r>
            <a:r>
              <a:rPr lang="de-DE" sz="3600" b="1" dirty="0" smtClean="0">
                <a:solidFill>
                  <a:schemeClr val="accent6"/>
                </a:solidFill>
              </a:rPr>
              <a:t> </a:t>
            </a:r>
            <a:r>
              <a:rPr lang="de-DE" sz="3600" b="1" dirty="0" err="1" smtClean="0">
                <a:solidFill>
                  <a:schemeClr val="accent6"/>
                </a:solidFill>
              </a:rPr>
              <a:t>shifted</a:t>
            </a:r>
            <a:r>
              <a:rPr lang="de-DE" sz="3600" b="1" dirty="0" smtClean="0">
                <a:solidFill>
                  <a:schemeClr val="accent6"/>
                </a:solidFill>
              </a:rPr>
              <a:t> from </a:t>
            </a:r>
            <a:r>
              <a:rPr lang="de-DE" sz="3600" b="1" dirty="0" err="1" smtClean="0">
                <a:solidFill>
                  <a:schemeClr val="accent6"/>
                </a:solidFill>
              </a:rPr>
              <a:t>subscriptions</a:t>
            </a:r>
            <a:r>
              <a:rPr lang="de-DE" sz="3600" b="1" dirty="0" smtClean="0">
                <a:solidFill>
                  <a:schemeClr val="accent6"/>
                </a:solidFill>
              </a:rPr>
              <a:t> </a:t>
            </a:r>
            <a:r>
              <a:rPr lang="de-DE" sz="3600" b="1" dirty="0" err="1" smtClean="0">
                <a:solidFill>
                  <a:schemeClr val="accent6"/>
                </a:solidFill>
              </a:rPr>
              <a:t>to</a:t>
            </a:r>
            <a:r>
              <a:rPr lang="de-DE" sz="3600" b="1" dirty="0" smtClean="0">
                <a:solidFill>
                  <a:schemeClr val="accent6"/>
                </a:solidFill>
              </a:rPr>
              <a:t> open </a:t>
            </a:r>
            <a:r>
              <a:rPr lang="de-DE" sz="3600" b="1" dirty="0" err="1" smtClean="0">
                <a:solidFill>
                  <a:schemeClr val="accent6"/>
                </a:solidFill>
              </a:rPr>
              <a:t>access</a:t>
            </a:r>
            <a:r>
              <a:rPr lang="de-DE" sz="3600" b="1" dirty="0" smtClean="0">
                <a:solidFill>
                  <a:schemeClr val="accent6"/>
                </a:solidFill>
              </a:rPr>
              <a:t> </a:t>
            </a:r>
            <a:r>
              <a:rPr lang="de-DE" sz="3600" b="1" dirty="0" err="1" smtClean="0">
                <a:solidFill>
                  <a:schemeClr val="accent6"/>
                </a:solidFill>
              </a:rPr>
              <a:t>publishing</a:t>
            </a:r>
            <a:r>
              <a:rPr lang="de-DE" sz="3600" b="1" dirty="0" smtClean="0">
                <a:solidFill>
                  <a:schemeClr val="accent6"/>
                </a:solidFill>
              </a:rPr>
              <a:t> </a:t>
            </a:r>
            <a:r>
              <a:rPr lang="de-DE" sz="3600" b="1" dirty="0" err="1" smtClean="0">
                <a:solidFill>
                  <a:schemeClr val="accent6"/>
                </a:solidFill>
              </a:rPr>
              <a:t>services</a:t>
            </a:r>
            <a:endParaRPr lang="de-DE" sz="3600" dirty="0"/>
          </a:p>
        </p:txBody>
      </p:sp>
      <p:sp>
        <p:nvSpPr>
          <p:cNvPr id="12" name="Inhaltsplatzhalter 8"/>
          <p:cNvSpPr txBox="1">
            <a:spLocks/>
          </p:cNvSpPr>
          <p:nvPr/>
        </p:nvSpPr>
        <p:spPr>
          <a:xfrm>
            <a:off x="398724" y="2136615"/>
            <a:ext cx="3705225" cy="307777"/>
          </a:xfrm>
          <a:prstGeom prst="rect">
            <a:avLst/>
          </a:prstGeom>
        </p:spPr>
        <p:txBody>
          <a:bodyPr vert="horz" wrap="square" lIns="0" tIns="0" rIns="0" bIns="0" rtlCol="0">
            <a:spAutoFit/>
          </a:bodyPr>
          <a:lstStyle>
            <a:lvl1pPr marL="0" indent="0" algn="l" defTabSz="914400" rtl="0" eaLnBrk="1" latinLnBrk="0" hangingPunct="1">
              <a:spcBef>
                <a:spcPts val="200"/>
              </a:spcBef>
              <a:buClr>
                <a:schemeClr val="tx2"/>
              </a:buClr>
              <a:buFont typeface="Wingdings" pitchFamily="2" charset="2"/>
              <a:buNone/>
              <a:defRPr sz="1600" kern="1200">
                <a:solidFill>
                  <a:schemeClr val="tx2"/>
                </a:solidFill>
                <a:latin typeface="+mn-lt"/>
                <a:ea typeface="+mn-ea"/>
                <a:cs typeface="+mn-cs"/>
              </a:defRPr>
            </a:lvl1pPr>
            <a:lvl2pPr marL="180975" indent="-180975" algn="l" defTabSz="914400" rtl="0" eaLnBrk="1" latinLnBrk="0" hangingPunct="1">
              <a:spcBef>
                <a:spcPts val="200"/>
              </a:spcBef>
              <a:buClr>
                <a:schemeClr val="tx2"/>
              </a:buClr>
              <a:buFont typeface="Wingdings" pitchFamily="2" charset="2"/>
              <a:buChar char="§"/>
              <a:defRPr sz="1600" kern="1200">
                <a:solidFill>
                  <a:schemeClr val="tx2"/>
                </a:solidFill>
                <a:latin typeface="+mn-lt"/>
                <a:ea typeface="+mn-ea"/>
                <a:cs typeface="+mn-cs"/>
              </a:defRPr>
            </a:lvl2pPr>
            <a:lvl3pPr marL="355600" indent="-174625"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3pPr>
            <a:lvl4pPr marL="538163" indent="-182563"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4pPr>
            <a:lvl5pPr marL="719138" indent="-180975" algn="l" defTabSz="914400" rtl="0" eaLnBrk="1" latinLnBrk="0" hangingPunct="1">
              <a:spcBef>
                <a:spcPts val="200"/>
              </a:spcBef>
              <a:buClr>
                <a:schemeClr val="tx2"/>
              </a:buClr>
              <a:buFont typeface="Symbol" pitchFamily="18" charset="2"/>
              <a:buChar char="-"/>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000" b="1" dirty="0" smtClean="0"/>
              <a:t>Subscription system</a:t>
            </a:r>
            <a:endParaRPr lang="en-US" sz="2000" i="1" dirty="0" smtClean="0"/>
          </a:p>
        </p:txBody>
      </p:sp>
      <p:sp>
        <p:nvSpPr>
          <p:cNvPr id="13" name="Inhaltsplatzhalter 8"/>
          <p:cNvSpPr txBox="1">
            <a:spLocks/>
          </p:cNvSpPr>
          <p:nvPr/>
        </p:nvSpPr>
        <p:spPr>
          <a:xfrm>
            <a:off x="5279509" y="2152381"/>
            <a:ext cx="3705225" cy="307777"/>
          </a:xfrm>
          <a:prstGeom prst="rect">
            <a:avLst/>
          </a:prstGeom>
        </p:spPr>
        <p:txBody>
          <a:bodyPr vert="horz" wrap="square" lIns="0" tIns="0" rIns="0" bIns="0" rtlCol="0">
            <a:spAutoFit/>
          </a:bodyPr>
          <a:lstStyle>
            <a:lvl1pPr marL="0" indent="0" algn="l" defTabSz="914400" rtl="0" eaLnBrk="1" latinLnBrk="0" hangingPunct="1">
              <a:spcBef>
                <a:spcPts val="200"/>
              </a:spcBef>
              <a:buClr>
                <a:schemeClr val="tx2"/>
              </a:buClr>
              <a:buFont typeface="Wingdings" pitchFamily="2" charset="2"/>
              <a:buNone/>
              <a:defRPr sz="1600" kern="1200">
                <a:solidFill>
                  <a:schemeClr val="tx2"/>
                </a:solidFill>
                <a:latin typeface="+mn-lt"/>
                <a:ea typeface="+mn-ea"/>
                <a:cs typeface="+mn-cs"/>
              </a:defRPr>
            </a:lvl1pPr>
            <a:lvl2pPr marL="180975" indent="-180975" algn="l" defTabSz="914400" rtl="0" eaLnBrk="1" latinLnBrk="0" hangingPunct="1">
              <a:spcBef>
                <a:spcPts val="200"/>
              </a:spcBef>
              <a:buClr>
                <a:schemeClr val="tx2"/>
              </a:buClr>
              <a:buFont typeface="Wingdings" pitchFamily="2" charset="2"/>
              <a:buChar char="§"/>
              <a:defRPr sz="1600" kern="1200">
                <a:solidFill>
                  <a:schemeClr val="tx2"/>
                </a:solidFill>
                <a:latin typeface="+mn-lt"/>
                <a:ea typeface="+mn-ea"/>
                <a:cs typeface="+mn-cs"/>
              </a:defRPr>
            </a:lvl2pPr>
            <a:lvl3pPr marL="355600" indent="-174625"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3pPr>
            <a:lvl4pPr marL="538163" indent="-182563"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4pPr>
            <a:lvl5pPr marL="719138" indent="-180975" algn="l" defTabSz="914400" rtl="0" eaLnBrk="1" latinLnBrk="0" hangingPunct="1">
              <a:spcBef>
                <a:spcPts val="200"/>
              </a:spcBef>
              <a:buClr>
                <a:schemeClr val="tx2"/>
              </a:buClr>
              <a:buFont typeface="Symbol" pitchFamily="18" charset="2"/>
              <a:buChar char="-"/>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000" b="1" dirty="0" smtClean="0">
                <a:solidFill>
                  <a:schemeClr val="accent6"/>
                </a:solidFill>
              </a:rPr>
              <a:t>Open Access</a:t>
            </a:r>
            <a:endParaRPr lang="en-US" sz="2000" i="1" dirty="0" smtClean="0">
              <a:solidFill>
                <a:schemeClr val="accent6"/>
              </a:solidFill>
            </a:endParaRPr>
          </a:p>
        </p:txBody>
      </p:sp>
      <p:sp>
        <p:nvSpPr>
          <p:cNvPr id="16" name="Rechteck 50"/>
          <p:cNvSpPr/>
          <p:nvPr/>
        </p:nvSpPr>
        <p:spPr>
          <a:xfrm>
            <a:off x="4036929" y="3684043"/>
            <a:ext cx="1984442" cy="20521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17" name="Gleichschenkliges Dreieck 51"/>
          <p:cNvSpPr/>
          <p:nvPr/>
        </p:nvSpPr>
        <p:spPr>
          <a:xfrm>
            <a:off x="4761901" y="4129168"/>
            <a:ext cx="244509" cy="1399914"/>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grpSp>
        <p:nvGrpSpPr>
          <p:cNvPr id="18" name="Gruppieren 53"/>
          <p:cNvGrpSpPr/>
          <p:nvPr/>
        </p:nvGrpSpPr>
        <p:grpSpPr>
          <a:xfrm rot="21353659">
            <a:off x="2653121" y="3333416"/>
            <a:ext cx="4146461" cy="2088010"/>
            <a:chOff x="2666936" y="3282578"/>
            <a:chExt cx="3347884" cy="1685875"/>
          </a:xfrm>
        </p:grpSpPr>
        <p:cxnSp>
          <p:nvCxnSpPr>
            <p:cNvPr id="19" name="Gerade Verbindung 54"/>
            <p:cNvCxnSpPr/>
            <p:nvPr/>
          </p:nvCxnSpPr>
          <p:spPr>
            <a:xfrm flipV="1">
              <a:off x="2988427" y="3835535"/>
              <a:ext cx="2782214" cy="1102401"/>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20" name="Akkord 55"/>
            <p:cNvSpPr/>
            <p:nvPr/>
          </p:nvSpPr>
          <p:spPr>
            <a:xfrm rot="15021886">
              <a:off x="5411796" y="3269376"/>
              <a:ext cx="589822" cy="616226"/>
            </a:xfrm>
            <a:prstGeom prst="chord">
              <a:avLst>
                <a:gd name="adj1" fmla="val 5403391"/>
                <a:gd name="adj2" fmla="val 16200000"/>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21" name="Akkord 56"/>
            <p:cNvSpPr/>
            <p:nvPr/>
          </p:nvSpPr>
          <p:spPr>
            <a:xfrm rot="15021886">
              <a:off x="2680138" y="4365429"/>
              <a:ext cx="589822" cy="616226"/>
            </a:xfrm>
            <a:prstGeom prst="chord">
              <a:avLst>
                <a:gd name="adj1" fmla="val 5403391"/>
                <a:gd name="adj2" fmla="val 16200000"/>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grpSp>
      <p:sp>
        <p:nvSpPr>
          <p:cNvPr id="23" name="Ellipse 57"/>
          <p:cNvSpPr/>
          <p:nvPr/>
        </p:nvSpPr>
        <p:spPr>
          <a:xfrm>
            <a:off x="4770285" y="4522460"/>
            <a:ext cx="221578" cy="231698"/>
          </a:xfrm>
          <a:prstGeom prst="ellipse">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grpSp>
        <p:nvGrpSpPr>
          <p:cNvPr id="24" name="Gruppieren 58"/>
          <p:cNvGrpSpPr/>
          <p:nvPr/>
        </p:nvGrpSpPr>
        <p:grpSpPr>
          <a:xfrm>
            <a:off x="2271692" y="4230175"/>
            <a:ext cx="1632921" cy="1083600"/>
            <a:chOff x="491316" y="3557873"/>
            <a:chExt cx="1318433" cy="874907"/>
          </a:xfrm>
        </p:grpSpPr>
        <p:sp>
          <p:nvSpPr>
            <p:cNvPr id="25" name="Textfeld 59"/>
            <p:cNvSpPr txBox="1"/>
            <p:nvPr/>
          </p:nvSpPr>
          <p:spPr>
            <a:xfrm>
              <a:off x="491316" y="3557873"/>
              <a:ext cx="1318433" cy="584775"/>
            </a:xfrm>
            <a:prstGeom prst="rect">
              <a:avLst/>
            </a:prstGeom>
            <a:noFill/>
            <a:ln w="12700">
              <a:noFill/>
            </a:ln>
          </p:spPr>
          <p:txBody>
            <a:bodyPr wrap="square" rtlCol="0">
              <a:spAutoFit/>
            </a:bodyPr>
            <a:lstStyle/>
            <a:p>
              <a:r>
                <a:rPr lang="en-US" sz="1600" b="1" i="1" dirty="0" smtClean="0">
                  <a:solidFill>
                    <a:schemeClr val="accent6"/>
                  </a:solidFill>
                </a:rPr>
                <a:t>$10bn</a:t>
              </a:r>
            </a:p>
            <a:p>
              <a:r>
                <a:rPr lang="en-US" sz="1600" b="1" i="1" dirty="0" smtClean="0">
                  <a:solidFill>
                    <a:schemeClr val="accent6"/>
                  </a:solidFill>
                </a:rPr>
                <a:t>cash flow</a:t>
              </a:r>
              <a:endParaRPr lang="en-US" sz="1600" b="1" i="1" dirty="0">
                <a:solidFill>
                  <a:schemeClr val="accent6"/>
                </a:solidFill>
              </a:endParaRPr>
            </a:p>
          </p:txBody>
        </p:sp>
        <p:grpSp>
          <p:nvGrpSpPr>
            <p:cNvPr id="26" name="Gruppieren 60"/>
            <p:cNvGrpSpPr/>
            <p:nvPr/>
          </p:nvGrpSpPr>
          <p:grpSpPr>
            <a:xfrm>
              <a:off x="609494" y="4037196"/>
              <a:ext cx="1200254" cy="395584"/>
              <a:chOff x="4449687" y="4725634"/>
              <a:chExt cx="2083480" cy="800932"/>
            </a:xfrm>
          </p:grpSpPr>
          <p:pic>
            <p:nvPicPr>
              <p:cNvPr id="27" name="Grafik 6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154404" y="4725634"/>
                <a:ext cx="1378763" cy="730185"/>
              </a:xfrm>
              <a:prstGeom prst="rect">
                <a:avLst/>
              </a:prstGeom>
              <a:effectLst>
                <a:outerShdw blurRad="50800" dist="38100" dir="2700000" algn="tl" rotWithShape="0">
                  <a:prstClr val="black">
                    <a:alpha val="40000"/>
                  </a:prstClr>
                </a:outerShdw>
              </a:effectLst>
            </p:spPr>
          </p:pic>
          <p:pic>
            <p:nvPicPr>
              <p:cNvPr id="28" name="Grafik 6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rot="21072779">
                <a:off x="4449687" y="4796381"/>
                <a:ext cx="1378763" cy="730185"/>
              </a:xfrm>
              <a:prstGeom prst="rect">
                <a:avLst/>
              </a:prstGeom>
              <a:effectLst>
                <a:outerShdw blurRad="50800" dist="38100" dir="2700000" algn="tl" rotWithShape="0">
                  <a:prstClr val="black">
                    <a:alpha val="40000"/>
                  </a:prstClr>
                </a:outerShdw>
              </a:effectLst>
            </p:spPr>
          </p:pic>
        </p:grpSp>
      </p:grpSp>
      <p:cxnSp>
        <p:nvCxnSpPr>
          <p:cNvPr id="29" name="Gerade Verbindung 2"/>
          <p:cNvCxnSpPr/>
          <p:nvPr/>
        </p:nvCxnSpPr>
        <p:spPr>
          <a:xfrm>
            <a:off x="421759" y="2528838"/>
            <a:ext cx="3996515"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0" name="Gerade Verbindung 63"/>
          <p:cNvCxnSpPr/>
          <p:nvPr/>
        </p:nvCxnSpPr>
        <p:spPr>
          <a:xfrm>
            <a:off x="5279509" y="2500263"/>
            <a:ext cx="3996515"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pic>
        <p:nvPicPr>
          <p:cNvPr id="31" name="Grafik 44"/>
          <p:cNvPicPr>
            <a:picLocks noChangeAspect="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411371" y="2662965"/>
            <a:ext cx="837423" cy="837423"/>
          </a:xfrm>
          <a:prstGeom prst="rect">
            <a:avLst/>
          </a:prstGeom>
        </p:spPr>
      </p:pic>
      <p:pic>
        <p:nvPicPr>
          <p:cNvPr id="32" name="Grafik 3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59928" y="4233517"/>
            <a:ext cx="854204" cy="854204"/>
          </a:xfrm>
          <a:prstGeom prst="rect">
            <a:avLst/>
          </a:prstGeom>
        </p:spPr>
      </p:pic>
    </p:spTree>
    <p:extLst>
      <p:ext uri="{BB962C8B-B14F-4D97-AF65-F5344CB8AC3E}">
        <p14:creationId xmlns:p14="http://schemas.microsoft.com/office/powerpoint/2010/main" val="25763195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8" presetClass="emph" presetSubtype="0" fill="hold" nodeType="clickEffect">
                                  <p:stCondLst>
                                    <p:cond delay="200"/>
                                  </p:stCondLst>
                                  <p:childTnLst>
                                    <p:animRot by="3600000">
                                      <p:cBhvr>
                                        <p:cTn id="6" dur="3800" fill="hold"/>
                                        <p:tgtEl>
                                          <p:spTgt spid="18"/>
                                        </p:tgtEl>
                                        <p:attrNameLst>
                                          <p:attrName>r</p:attrName>
                                        </p:attrNameLst>
                                      </p:cBhvr>
                                    </p:animRot>
                                  </p:childTnLst>
                                </p:cTn>
                              </p:par>
                              <p:par>
                                <p:cTn id="7" presetID="37" presetClass="path" presetSubtype="0" accel="50000" decel="50000" fill="hold" nodeType="withEffect">
                                  <p:stCondLst>
                                    <p:cond delay="0"/>
                                  </p:stCondLst>
                                  <p:childTnLst>
                                    <p:animMotion origin="layout" path="M 5.55112E-17 4.44444E-6 L 0.06026 -0.10973 C 0.10689 -0.18612 0.15801 -0.19862 0.19359 -0.19862 C 0.23381 -0.19862 0.28798 -0.15973 0.32292 -0.09167 L 0.40481 0.05277 " pathEditMode="relative" rAng="0" ptsTypes="FffFF">
                                      <p:cBhvr>
                                        <p:cTn id="8" dur="4000" fill="hold"/>
                                        <p:tgtEl>
                                          <p:spTgt spid="24"/>
                                        </p:tgtEl>
                                        <p:attrNameLst>
                                          <p:attrName>ppt_x</p:attrName>
                                          <p:attrName>ppt_y</p:attrName>
                                        </p:attrNameLst>
                                      </p:cBhvr>
                                      <p:rCtr x="20240" y="-7292"/>
                                    </p:animMotion>
                                  </p:childTnLst>
                                </p:cTn>
                              </p:par>
                              <p:par>
                                <p:cTn id="9" presetID="42" presetClass="path" presetSubtype="0" accel="50000" decel="50000" fill="hold" nodeType="withEffect">
                                  <p:stCondLst>
                                    <p:cond delay="0"/>
                                  </p:stCondLst>
                                  <p:childTnLst>
                                    <p:animMotion origin="layout" path="M -3.58974E-6 -3.33333E-6 L 0.04295 0.00834 " pathEditMode="relative" rAng="0" ptsTypes="AA">
                                      <p:cBhvr>
                                        <p:cTn id="10" dur="3900" fill="hold"/>
                                        <p:tgtEl>
                                          <p:spTgt spid="18"/>
                                        </p:tgtEl>
                                        <p:attrNameLst>
                                          <p:attrName>ppt_x</p:attrName>
                                          <p:attrName>ppt_y</p:attrName>
                                        </p:attrNameLst>
                                      </p:cBhvr>
                                      <p:rCtr x="2147" y="417"/>
                                    </p:animMotion>
                                  </p:childTnLst>
                                </p:cTn>
                              </p:par>
                              <p:par>
                                <p:cTn id="11" presetID="37" presetClass="path" presetSubtype="0" accel="50000" decel="50000" fill="hold" nodeType="withEffect">
                                  <p:stCondLst>
                                    <p:cond delay="0"/>
                                  </p:stCondLst>
                                  <p:childTnLst>
                                    <p:animMotion origin="layout" path="M -0.00032 -0.00023 L 0.06811 -0.12824 C 0.08254 -0.15602 0.09504 -0.16806 0.1242 -0.19699 C 0.15706 -0.22963 0.23574 -0.23588 0.26363 -0.23171 L 0.34632 -0.23171 " pathEditMode="relative" rAng="0" ptsTypes="FffFF">
                                      <p:cBhvr>
                                        <p:cTn id="12" dur="2100" fill="hold"/>
                                        <p:tgtEl>
                                          <p:spTgt spid="32"/>
                                        </p:tgtEl>
                                        <p:attrNameLst>
                                          <p:attrName>ppt_x</p:attrName>
                                          <p:attrName>ppt_y</p:attrName>
                                        </p:attrNameLst>
                                      </p:cBhvr>
                                      <p:rCtr x="17324" y="-11782"/>
                                    </p:animMotion>
                                  </p:childTnLst>
                                </p:cTn>
                              </p:par>
                              <p:par>
                                <p:cTn id="13" presetID="10" presetClass="exit" presetSubtype="0" fill="hold" nodeType="withEffect">
                                  <p:stCondLst>
                                    <p:cond delay="1600"/>
                                  </p:stCondLst>
                                  <p:childTnLst>
                                    <p:animEffect transition="out" filter="fade">
                                      <p:cBhvr>
                                        <p:cTn id="14" dur="500"/>
                                        <p:tgtEl>
                                          <p:spTgt spid="32"/>
                                        </p:tgtEl>
                                      </p:cBhvr>
                                    </p:animEffect>
                                    <p:set>
                                      <p:cBhvr>
                                        <p:cTn id="15" dur="1" fill="hold">
                                          <p:stCondLst>
                                            <p:cond delay="499"/>
                                          </p:stCondLst>
                                        </p:cTn>
                                        <p:tgtEl>
                                          <p:spTgt spid="32"/>
                                        </p:tgtEl>
                                        <p:attrNameLst>
                                          <p:attrName>style.visibility</p:attrName>
                                        </p:attrNameLst>
                                      </p:cBhvr>
                                      <p:to>
                                        <p:strVal val="hidden"/>
                                      </p:to>
                                    </p:set>
                                  </p:childTnLst>
                                </p:cTn>
                              </p:par>
                              <p:par>
                                <p:cTn id="16" presetID="10" presetClass="entr" presetSubtype="0" fill="hold" nodeType="withEffect">
                                  <p:stCondLst>
                                    <p:cond delay="2100"/>
                                  </p:stCondLst>
                                  <p:childTnLst>
                                    <p:set>
                                      <p:cBhvr>
                                        <p:cTn id="17" dur="1" fill="hold">
                                          <p:stCondLst>
                                            <p:cond delay="0"/>
                                          </p:stCondLst>
                                        </p:cTn>
                                        <p:tgtEl>
                                          <p:spTgt spid="31"/>
                                        </p:tgtEl>
                                        <p:attrNameLst>
                                          <p:attrName>style.visibility</p:attrName>
                                        </p:attrNameLst>
                                      </p:cBhvr>
                                      <p:to>
                                        <p:strVal val="visible"/>
                                      </p:to>
                                    </p:set>
                                    <p:animEffect transition="in" filter="fade">
                                      <p:cBhvr>
                                        <p:cTn id="18" dur="500"/>
                                        <p:tgtEl>
                                          <p:spTgt spid="31"/>
                                        </p:tgtEl>
                                      </p:cBhvr>
                                    </p:animEffect>
                                  </p:childTnLst>
                                </p:cTn>
                              </p:par>
                              <p:par>
                                <p:cTn id="19" presetID="37" presetClass="path" presetSubtype="0" accel="50000" decel="50000" fill="hold" nodeType="withEffect">
                                  <p:stCondLst>
                                    <p:cond delay="2100"/>
                                  </p:stCondLst>
                                  <p:childTnLst>
                                    <p:animMotion origin="layout" path="M -0.00208 -0.00162 L 0.05657 -0.00024 C 0.11138 -0.00301 0.12709 -0.00024 0.15754 -0.00024 C 0.20754 0.00254 0.2633 0.06388 0.28254 0.08842 L 0.37484 0.19699 " pathEditMode="relative" rAng="0" ptsTypes="FffFF">
                                      <p:cBhvr>
                                        <p:cTn id="20" dur="1900" fill="hold"/>
                                        <p:tgtEl>
                                          <p:spTgt spid="31"/>
                                        </p:tgtEl>
                                        <p:attrNameLst>
                                          <p:attrName>ppt_x</p:attrName>
                                          <p:attrName>ppt_y</p:attrName>
                                        </p:attrNameLst>
                                      </p:cBhvr>
                                      <p:rCtr x="18846" y="986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Ellipse 7"/>
          <p:cNvSpPr/>
          <p:nvPr/>
        </p:nvSpPr>
        <p:spPr>
          <a:xfrm>
            <a:off x="1215025" y="3191298"/>
            <a:ext cx="7139835" cy="1258865"/>
          </a:xfrm>
          <a:prstGeom prst="ellipse">
            <a:avLst/>
          </a:prstGeom>
          <a:noFill/>
          <a:ln w="762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2" name="Foliennummernplatzhalter 1"/>
          <p:cNvSpPr>
            <a:spLocks noGrp="1"/>
          </p:cNvSpPr>
          <p:nvPr>
            <p:ph type="sldNum" sz="quarter" idx="12"/>
          </p:nvPr>
        </p:nvSpPr>
        <p:spPr/>
        <p:txBody>
          <a:bodyPr/>
          <a:lstStyle/>
          <a:p>
            <a:fld id="{4AD1E780-DE1C-4ECA-B5E5-863D0BC53287}" type="slidenum">
              <a:rPr lang="de-DE" smtClean="0"/>
              <a:pPr/>
              <a:t>14</a:t>
            </a:fld>
            <a:endParaRPr lang="de-DE" dirty="0"/>
          </a:p>
        </p:txBody>
      </p:sp>
      <p:sp>
        <p:nvSpPr>
          <p:cNvPr id="3" name="Textplatzhalter 2"/>
          <p:cNvSpPr>
            <a:spLocks noGrp="1"/>
          </p:cNvSpPr>
          <p:nvPr>
            <p:ph type="body" sz="quarter" idx="13"/>
          </p:nvPr>
        </p:nvSpPr>
        <p:spPr>
          <a:xfrm>
            <a:off x="337854" y="284232"/>
            <a:ext cx="9403012" cy="697671"/>
          </a:xfrm>
        </p:spPr>
        <p:txBody>
          <a:bodyPr/>
          <a:lstStyle/>
          <a:p>
            <a:r>
              <a:rPr lang="de-DE" sz="3600" b="1" dirty="0" smtClean="0">
                <a:solidFill>
                  <a:schemeClr val="accent6"/>
                </a:solidFill>
              </a:rPr>
              <a:t>Open Access 2020 Initiative</a:t>
            </a:r>
            <a:endParaRPr lang="de-DE" sz="3600" b="1" dirty="0">
              <a:solidFill>
                <a:schemeClr val="accent6"/>
              </a:solidFill>
            </a:endParaRPr>
          </a:p>
        </p:txBody>
      </p:sp>
      <p:pic>
        <p:nvPicPr>
          <p:cNvPr id="5" name="Grafik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5515" y="727650"/>
            <a:ext cx="8867690" cy="6119465"/>
          </a:xfrm>
          <a:prstGeom prst="rect">
            <a:avLst/>
          </a:prstGeom>
        </p:spPr>
      </p:pic>
      <p:sp>
        <p:nvSpPr>
          <p:cNvPr id="9" name="Ellipse 8"/>
          <p:cNvSpPr/>
          <p:nvPr/>
        </p:nvSpPr>
        <p:spPr>
          <a:xfrm>
            <a:off x="1215026" y="3820732"/>
            <a:ext cx="7139836" cy="629433"/>
          </a:xfrm>
          <a:custGeom>
            <a:avLst/>
            <a:gdLst>
              <a:gd name="connsiteX0" fmla="*/ 0 w 7139835"/>
              <a:gd name="connsiteY0" fmla="*/ 629433 h 1258865"/>
              <a:gd name="connsiteX1" fmla="*/ 3569918 w 7139835"/>
              <a:gd name="connsiteY1" fmla="*/ 0 h 1258865"/>
              <a:gd name="connsiteX2" fmla="*/ 7139836 w 7139835"/>
              <a:gd name="connsiteY2" fmla="*/ 629433 h 1258865"/>
              <a:gd name="connsiteX3" fmla="*/ 3569918 w 7139835"/>
              <a:gd name="connsiteY3" fmla="*/ 1258866 h 1258865"/>
              <a:gd name="connsiteX4" fmla="*/ 0 w 7139835"/>
              <a:gd name="connsiteY4" fmla="*/ 629433 h 1258865"/>
              <a:gd name="connsiteX0" fmla="*/ 3569918 w 7139836"/>
              <a:gd name="connsiteY0" fmla="*/ 0 h 1258866"/>
              <a:gd name="connsiteX1" fmla="*/ 7139836 w 7139836"/>
              <a:gd name="connsiteY1" fmla="*/ 629433 h 1258866"/>
              <a:gd name="connsiteX2" fmla="*/ 3569918 w 7139836"/>
              <a:gd name="connsiteY2" fmla="*/ 1258866 h 1258866"/>
              <a:gd name="connsiteX3" fmla="*/ 0 w 7139836"/>
              <a:gd name="connsiteY3" fmla="*/ 629433 h 1258866"/>
              <a:gd name="connsiteX4" fmla="*/ 3661358 w 7139836"/>
              <a:gd name="connsiteY4" fmla="*/ 91440 h 1258866"/>
              <a:gd name="connsiteX0" fmla="*/ 3569918 w 7139836"/>
              <a:gd name="connsiteY0" fmla="*/ 0 h 1258866"/>
              <a:gd name="connsiteX1" fmla="*/ 7139836 w 7139836"/>
              <a:gd name="connsiteY1" fmla="*/ 629433 h 1258866"/>
              <a:gd name="connsiteX2" fmla="*/ 3569918 w 7139836"/>
              <a:gd name="connsiteY2" fmla="*/ 1258866 h 1258866"/>
              <a:gd name="connsiteX3" fmla="*/ 0 w 7139836"/>
              <a:gd name="connsiteY3" fmla="*/ 629433 h 1258866"/>
              <a:gd name="connsiteX0" fmla="*/ 7139836 w 7139836"/>
              <a:gd name="connsiteY0" fmla="*/ 0 h 629433"/>
              <a:gd name="connsiteX1" fmla="*/ 3569918 w 7139836"/>
              <a:gd name="connsiteY1" fmla="*/ 629433 h 629433"/>
              <a:gd name="connsiteX2" fmla="*/ 0 w 7139836"/>
              <a:gd name="connsiteY2" fmla="*/ 0 h 629433"/>
            </a:gdLst>
            <a:ahLst/>
            <a:cxnLst>
              <a:cxn ang="0">
                <a:pos x="connsiteX0" y="connsiteY0"/>
              </a:cxn>
              <a:cxn ang="0">
                <a:pos x="connsiteX1" y="connsiteY1"/>
              </a:cxn>
              <a:cxn ang="0">
                <a:pos x="connsiteX2" y="connsiteY2"/>
              </a:cxn>
            </a:cxnLst>
            <a:rect l="l" t="t" r="r" b="b"/>
            <a:pathLst>
              <a:path w="7139836" h="629433">
                <a:moveTo>
                  <a:pt x="7139836" y="0"/>
                </a:moveTo>
                <a:cubicBezTo>
                  <a:pt x="7139836" y="347626"/>
                  <a:pt x="5541529" y="629433"/>
                  <a:pt x="3569918" y="629433"/>
                </a:cubicBezTo>
                <a:cubicBezTo>
                  <a:pt x="1598307" y="629433"/>
                  <a:pt x="0" y="347626"/>
                  <a:pt x="0" y="0"/>
                </a:cubicBezTo>
              </a:path>
            </a:pathLst>
          </a:custGeom>
          <a:noFill/>
          <a:ln w="76200">
            <a:solidFill>
              <a:schemeClr val="accent4"/>
            </a:solidFill>
          </a:ln>
          <a:effectLst>
            <a:outerShdw blurRad="2159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4" name="TextBox 3"/>
          <p:cNvSpPr txBox="1"/>
          <p:nvPr/>
        </p:nvSpPr>
        <p:spPr>
          <a:xfrm>
            <a:off x="605515" y="6290226"/>
            <a:ext cx="2965268" cy="369332"/>
          </a:xfrm>
          <a:prstGeom prst="rect">
            <a:avLst/>
          </a:prstGeom>
          <a:noFill/>
        </p:spPr>
        <p:txBody>
          <a:bodyPr wrap="square" rtlCol="0">
            <a:spAutoFit/>
          </a:bodyPr>
          <a:lstStyle/>
          <a:p>
            <a:r>
              <a:rPr lang="en-GB" dirty="0">
                <a:hlinkClick r:id="rId4"/>
              </a:rPr>
              <a:t>https://oa2020.org</a:t>
            </a:r>
            <a:r>
              <a:rPr lang="en-GB" dirty="0" smtClean="0">
                <a:hlinkClick r:id="rId4"/>
              </a:rPr>
              <a:t>/</a:t>
            </a:r>
            <a:r>
              <a:rPr lang="en-GB" dirty="0" smtClean="0"/>
              <a:t> </a:t>
            </a:r>
            <a:endParaRPr lang="en-GB" dirty="0"/>
          </a:p>
        </p:txBody>
      </p:sp>
    </p:spTree>
    <p:extLst>
      <p:ext uri="{BB962C8B-B14F-4D97-AF65-F5344CB8AC3E}">
        <p14:creationId xmlns:p14="http://schemas.microsoft.com/office/powerpoint/2010/main" val="40378464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p:cNvSpPr>
            <a:spLocks noGrp="1"/>
          </p:cNvSpPr>
          <p:nvPr>
            <p:ph type="sldNum" sz="quarter" idx="12"/>
          </p:nvPr>
        </p:nvSpPr>
        <p:spPr/>
        <p:txBody>
          <a:bodyPr/>
          <a:lstStyle/>
          <a:p>
            <a:fld id="{4AD1E780-DE1C-4ECA-B5E5-863D0BC53287}" type="slidenum">
              <a:rPr lang="de-DE" smtClean="0"/>
              <a:pPr/>
              <a:t>15</a:t>
            </a:fld>
            <a:endParaRPr lang="de-DE" dirty="0"/>
          </a:p>
        </p:txBody>
      </p:sp>
      <p:sp>
        <p:nvSpPr>
          <p:cNvPr id="3" name="Textplatzhalter 2"/>
          <p:cNvSpPr>
            <a:spLocks noGrp="1"/>
          </p:cNvSpPr>
          <p:nvPr>
            <p:ph type="body" sz="quarter" idx="13"/>
          </p:nvPr>
        </p:nvSpPr>
        <p:spPr>
          <a:xfrm>
            <a:off x="356256" y="358547"/>
            <a:ext cx="8885499" cy="697671"/>
          </a:xfrm>
        </p:spPr>
        <p:txBody>
          <a:bodyPr anchor="t" anchorCtr="0"/>
          <a:lstStyle/>
          <a:p>
            <a:r>
              <a:rPr lang="de-DE" sz="3600" b="1" dirty="0" err="1" smtClean="0">
                <a:solidFill>
                  <a:schemeClr val="accent6"/>
                </a:solidFill>
              </a:rPr>
              <a:t>We</a:t>
            </a:r>
            <a:r>
              <a:rPr lang="de-DE" sz="3600" b="1" dirty="0" smtClean="0">
                <a:solidFill>
                  <a:schemeClr val="accent6"/>
                </a:solidFill>
              </a:rPr>
              <a:t> </a:t>
            </a:r>
            <a:r>
              <a:rPr lang="de-DE" sz="3600" b="1" dirty="0" err="1" smtClean="0">
                <a:solidFill>
                  <a:schemeClr val="accent6"/>
                </a:solidFill>
              </a:rPr>
              <a:t>need</a:t>
            </a:r>
            <a:r>
              <a:rPr lang="de-DE" sz="3600" b="1" dirty="0" smtClean="0">
                <a:solidFill>
                  <a:schemeClr val="accent6"/>
                </a:solidFill>
              </a:rPr>
              <a:t> </a:t>
            </a:r>
            <a:r>
              <a:rPr lang="de-DE" sz="3600" b="1" dirty="0" err="1" smtClean="0">
                <a:solidFill>
                  <a:schemeClr val="accent6"/>
                </a:solidFill>
              </a:rPr>
              <a:t>to</a:t>
            </a:r>
            <a:r>
              <a:rPr lang="de-DE" sz="3600" b="1" dirty="0" smtClean="0">
                <a:solidFill>
                  <a:schemeClr val="accent6"/>
                </a:solidFill>
              </a:rPr>
              <a:t> </a:t>
            </a:r>
            <a:r>
              <a:rPr lang="de-DE" sz="3600" b="1" dirty="0" err="1" smtClean="0">
                <a:solidFill>
                  <a:schemeClr val="accent6"/>
                </a:solidFill>
              </a:rPr>
              <a:t>face</a:t>
            </a:r>
            <a:r>
              <a:rPr lang="de-DE" sz="3600" b="1" dirty="0" smtClean="0">
                <a:solidFill>
                  <a:schemeClr val="accent6"/>
                </a:solidFill>
              </a:rPr>
              <a:t> </a:t>
            </a:r>
            <a:r>
              <a:rPr lang="de-DE" sz="3600" b="1" dirty="0" err="1" smtClean="0">
                <a:solidFill>
                  <a:schemeClr val="accent6"/>
                </a:solidFill>
              </a:rPr>
              <a:t>publishers</a:t>
            </a:r>
            <a:r>
              <a:rPr lang="de-DE" sz="3600" b="1" dirty="0" smtClean="0">
                <a:solidFill>
                  <a:schemeClr val="accent6"/>
                </a:solidFill>
              </a:rPr>
              <a:t> at </a:t>
            </a:r>
            <a:r>
              <a:rPr lang="de-DE" sz="3600" b="1" dirty="0" err="1" smtClean="0">
                <a:solidFill>
                  <a:schemeClr val="accent6"/>
                </a:solidFill>
              </a:rPr>
              <a:t>eye</a:t>
            </a:r>
            <a:r>
              <a:rPr lang="de-DE" sz="3600" b="1" dirty="0" smtClean="0">
                <a:solidFill>
                  <a:schemeClr val="accent6"/>
                </a:solidFill>
              </a:rPr>
              <a:t> </a:t>
            </a:r>
            <a:r>
              <a:rPr lang="de-DE" sz="3600" b="1" dirty="0" err="1" smtClean="0">
                <a:solidFill>
                  <a:schemeClr val="accent6"/>
                </a:solidFill>
              </a:rPr>
              <a:t>level</a:t>
            </a:r>
            <a:endParaRPr lang="de-DE" sz="3600" b="1" dirty="0" smtClean="0">
              <a:solidFill>
                <a:schemeClr val="accent6"/>
              </a:solidFill>
            </a:endParaRPr>
          </a:p>
          <a:p>
            <a:endParaRPr lang="de-DE" sz="3600" dirty="0" smtClean="0"/>
          </a:p>
        </p:txBody>
      </p:sp>
      <p:pic>
        <p:nvPicPr>
          <p:cNvPr id="8" name="Content Placeholder 4"/>
          <p:cNvPicPr>
            <a:picLocks noGrp="1" noChangeAspect="1"/>
          </p:cNvPicPr>
          <p:nvPr>
            <p:ph idx="1"/>
          </p:nvPr>
        </p:nvPicPr>
        <p:blipFill>
          <a:blip r:embed="rId3"/>
          <a:stretch>
            <a:fillRect/>
          </a:stretch>
        </p:blipFill>
        <p:spPr>
          <a:xfrm>
            <a:off x="306530" y="1716071"/>
            <a:ext cx="9426832" cy="3476817"/>
          </a:xfrm>
          <a:prstGeom prst="rect">
            <a:avLst/>
          </a:prstGeom>
        </p:spPr>
      </p:pic>
      <p:sp>
        <p:nvSpPr>
          <p:cNvPr id="9" name="TextBox 8"/>
          <p:cNvSpPr txBox="1"/>
          <p:nvPr/>
        </p:nvSpPr>
        <p:spPr>
          <a:xfrm>
            <a:off x="302342" y="5937956"/>
            <a:ext cx="4481689" cy="369332"/>
          </a:xfrm>
          <a:prstGeom prst="rect">
            <a:avLst/>
          </a:prstGeom>
          <a:noFill/>
        </p:spPr>
        <p:txBody>
          <a:bodyPr wrap="square" rtlCol="0">
            <a:spAutoFit/>
          </a:bodyPr>
          <a:lstStyle/>
          <a:p>
            <a:r>
              <a:rPr lang="en-GB" dirty="0">
                <a:hlinkClick r:id="rId4"/>
              </a:rPr>
              <a:t>https://oa2020.org/b14-conference</a:t>
            </a:r>
            <a:r>
              <a:rPr lang="en-GB" dirty="0" smtClean="0">
                <a:hlinkClick r:id="rId4"/>
              </a:rPr>
              <a:t>/</a:t>
            </a:r>
            <a:r>
              <a:rPr lang="en-GB" dirty="0" smtClean="0"/>
              <a:t> </a:t>
            </a:r>
            <a:endParaRPr lang="en-GB" dirty="0"/>
          </a:p>
        </p:txBody>
      </p:sp>
    </p:spTree>
    <p:extLst>
      <p:ext uri="{BB962C8B-B14F-4D97-AF65-F5344CB8AC3E}">
        <p14:creationId xmlns:p14="http://schemas.microsoft.com/office/powerpoint/2010/main" val="3907886268"/>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hteck 21"/>
          <p:cNvSpPr/>
          <p:nvPr/>
        </p:nvSpPr>
        <p:spPr>
          <a:xfrm>
            <a:off x="961289" y="4981256"/>
            <a:ext cx="3474720" cy="340532"/>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14" name="Freihandform 13"/>
          <p:cNvSpPr/>
          <p:nvPr/>
        </p:nvSpPr>
        <p:spPr>
          <a:xfrm>
            <a:off x="967593" y="2020556"/>
            <a:ext cx="5215233" cy="2963917"/>
          </a:xfrm>
          <a:custGeom>
            <a:avLst/>
            <a:gdLst>
              <a:gd name="connsiteX0" fmla="*/ 0 w 5410725"/>
              <a:gd name="connsiteY0" fmla="*/ 0 h 2963917"/>
              <a:gd name="connsiteX1" fmla="*/ 0 w 5410725"/>
              <a:gd name="connsiteY1" fmla="*/ 0 h 2963917"/>
              <a:gd name="connsiteX2" fmla="*/ 56756 w 5410725"/>
              <a:gd name="connsiteY2" fmla="*/ 63062 h 2963917"/>
              <a:gd name="connsiteX3" fmla="*/ 151349 w 5410725"/>
              <a:gd name="connsiteY3" fmla="*/ 151349 h 2963917"/>
              <a:gd name="connsiteX4" fmla="*/ 252248 w 5410725"/>
              <a:gd name="connsiteY4" fmla="*/ 302698 h 2963917"/>
              <a:gd name="connsiteX5" fmla="*/ 315310 w 5410725"/>
              <a:gd name="connsiteY5" fmla="*/ 403597 h 2963917"/>
              <a:gd name="connsiteX6" fmla="*/ 372066 w 5410725"/>
              <a:gd name="connsiteY6" fmla="*/ 485578 h 2963917"/>
              <a:gd name="connsiteX7" fmla="*/ 428822 w 5410725"/>
              <a:gd name="connsiteY7" fmla="*/ 573865 h 2963917"/>
              <a:gd name="connsiteX8" fmla="*/ 510802 w 5410725"/>
              <a:gd name="connsiteY8" fmla="*/ 712601 h 2963917"/>
              <a:gd name="connsiteX9" fmla="*/ 536027 w 5410725"/>
              <a:gd name="connsiteY9" fmla="*/ 725214 h 2963917"/>
              <a:gd name="connsiteX10" fmla="*/ 775663 w 5410725"/>
              <a:gd name="connsiteY10" fmla="*/ 1053137 h 2963917"/>
              <a:gd name="connsiteX11" fmla="*/ 920706 w 5410725"/>
              <a:gd name="connsiteY11" fmla="*/ 1191873 h 2963917"/>
              <a:gd name="connsiteX12" fmla="*/ 1090974 w 5410725"/>
              <a:gd name="connsiteY12" fmla="*/ 1374753 h 2963917"/>
              <a:gd name="connsiteX13" fmla="*/ 1179260 w 5410725"/>
              <a:gd name="connsiteY13" fmla="*/ 1481959 h 2963917"/>
              <a:gd name="connsiteX14" fmla="*/ 1198179 w 5410725"/>
              <a:gd name="connsiteY14" fmla="*/ 1500877 h 2963917"/>
              <a:gd name="connsiteX15" fmla="*/ 1261241 w 5410725"/>
              <a:gd name="connsiteY15" fmla="*/ 1582858 h 2963917"/>
              <a:gd name="connsiteX16" fmla="*/ 1305385 w 5410725"/>
              <a:gd name="connsiteY16" fmla="*/ 1627001 h 2963917"/>
              <a:gd name="connsiteX17" fmla="*/ 1450427 w 5410725"/>
              <a:gd name="connsiteY17" fmla="*/ 1790963 h 2963917"/>
              <a:gd name="connsiteX18" fmla="*/ 1727900 w 5410725"/>
              <a:gd name="connsiteY18" fmla="*/ 1942312 h 2963917"/>
              <a:gd name="connsiteX19" fmla="*/ 1809881 w 5410725"/>
              <a:gd name="connsiteY19" fmla="*/ 1986455 h 2963917"/>
              <a:gd name="connsiteX20" fmla="*/ 1872943 w 5410725"/>
              <a:gd name="connsiteY20" fmla="*/ 2055823 h 2963917"/>
              <a:gd name="connsiteX21" fmla="*/ 1917087 w 5410725"/>
              <a:gd name="connsiteY21" fmla="*/ 2118886 h 2963917"/>
              <a:gd name="connsiteX22" fmla="*/ 2282847 w 5410725"/>
              <a:gd name="connsiteY22" fmla="*/ 2358521 h 2963917"/>
              <a:gd name="connsiteX23" fmla="*/ 2408971 w 5410725"/>
              <a:gd name="connsiteY23" fmla="*/ 2396359 h 2963917"/>
              <a:gd name="connsiteX24" fmla="*/ 2724281 w 5410725"/>
              <a:gd name="connsiteY24" fmla="*/ 2453114 h 2963917"/>
              <a:gd name="connsiteX25" fmla="*/ 3165716 w 5410725"/>
              <a:gd name="connsiteY25" fmla="*/ 2610770 h 2963917"/>
              <a:gd name="connsiteX26" fmla="*/ 3506251 w 5410725"/>
              <a:gd name="connsiteY26" fmla="*/ 2724281 h 2963917"/>
              <a:gd name="connsiteX27" fmla="*/ 3846786 w 5410725"/>
              <a:gd name="connsiteY27" fmla="*/ 2768425 h 2963917"/>
              <a:gd name="connsiteX28" fmla="*/ 4073809 w 5410725"/>
              <a:gd name="connsiteY28" fmla="*/ 2799956 h 2963917"/>
              <a:gd name="connsiteX29" fmla="*/ 4237771 w 5410725"/>
              <a:gd name="connsiteY29" fmla="*/ 2806262 h 2963917"/>
              <a:gd name="connsiteX30" fmla="*/ 4647674 w 5410725"/>
              <a:gd name="connsiteY30" fmla="*/ 2818874 h 2963917"/>
              <a:gd name="connsiteX31" fmla="*/ 5183702 w 5410725"/>
              <a:gd name="connsiteY31" fmla="*/ 2900855 h 2963917"/>
              <a:gd name="connsiteX32" fmla="*/ 5410725 w 5410725"/>
              <a:gd name="connsiteY32" fmla="*/ 2944999 h 2963917"/>
              <a:gd name="connsiteX33" fmla="*/ 5215233 w 5410725"/>
              <a:gd name="connsiteY33" fmla="*/ 2963917 h 2963917"/>
              <a:gd name="connsiteX34" fmla="*/ 0 w 5410725"/>
              <a:gd name="connsiteY34" fmla="*/ 2963917 h 2963917"/>
              <a:gd name="connsiteX35" fmla="*/ 0 w 5410725"/>
              <a:gd name="connsiteY35" fmla="*/ 0 h 2963917"/>
              <a:gd name="connsiteX0" fmla="*/ 0 w 5410725"/>
              <a:gd name="connsiteY0" fmla="*/ 0 h 2963917"/>
              <a:gd name="connsiteX1" fmla="*/ 0 w 5410725"/>
              <a:gd name="connsiteY1" fmla="*/ 0 h 2963917"/>
              <a:gd name="connsiteX2" fmla="*/ 56756 w 5410725"/>
              <a:gd name="connsiteY2" fmla="*/ 63062 h 2963917"/>
              <a:gd name="connsiteX3" fmla="*/ 151349 w 5410725"/>
              <a:gd name="connsiteY3" fmla="*/ 151349 h 2963917"/>
              <a:gd name="connsiteX4" fmla="*/ 252248 w 5410725"/>
              <a:gd name="connsiteY4" fmla="*/ 302698 h 2963917"/>
              <a:gd name="connsiteX5" fmla="*/ 315310 w 5410725"/>
              <a:gd name="connsiteY5" fmla="*/ 403597 h 2963917"/>
              <a:gd name="connsiteX6" fmla="*/ 372066 w 5410725"/>
              <a:gd name="connsiteY6" fmla="*/ 485578 h 2963917"/>
              <a:gd name="connsiteX7" fmla="*/ 428822 w 5410725"/>
              <a:gd name="connsiteY7" fmla="*/ 573865 h 2963917"/>
              <a:gd name="connsiteX8" fmla="*/ 510802 w 5410725"/>
              <a:gd name="connsiteY8" fmla="*/ 712601 h 2963917"/>
              <a:gd name="connsiteX9" fmla="*/ 536027 w 5410725"/>
              <a:gd name="connsiteY9" fmla="*/ 725214 h 2963917"/>
              <a:gd name="connsiteX10" fmla="*/ 775663 w 5410725"/>
              <a:gd name="connsiteY10" fmla="*/ 1053137 h 2963917"/>
              <a:gd name="connsiteX11" fmla="*/ 920706 w 5410725"/>
              <a:gd name="connsiteY11" fmla="*/ 1191873 h 2963917"/>
              <a:gd name="connsiteX12" fmla="*/ 1090974 w 5410725"/>
              <a:gd name="connsiteY12" fmla="*/ 1374753 h 2963917"/>
              <a:gd name="connsiteX13" fmla="*/ 1179260 w 5410725"/>
              <a:gd name="connsiteY13" fmla="*/ 1481959 h 2963917"/>
              <a:gd name="connsiteX14" fmla="*/ 1198179 w 5410725"/>
              <a:gd name="connsiteY14" fmla="*/ 1500877 h 2963917"/>
              <a:gd name="connsiteX15" fmla="*/ 1305385 w 5410725"/>
              <a:gd name="connsiteY15" fmla="*/ 1627001 h 2963917"/>
              <a:gd name="connsiteX16" fmla="*/ 1450427 w 5410725"/>
              <a:gd name="connsiteY16" fmla="*/ 1790963 h 2963917"/>
              <a:gd name="connsiteX17" fmla="*/ 1727900 w 5410725"/>
              <a:gd name="connsiteY17" fmla="*/ 1942312 h 2963917"/>
              <a:gd name="connsiteX18" fmla="*/ 1809881 w 5410725"/>
              <a:gd name="connsiteY18" fmla="*/ 1986455 h 2963917"/>
              <a:gd name="connsiteX19" fmla="*/ 1872943 w 5410725"/>
              <a:gd name="connsiteY19" fmla="*/ 2055823 h 2963917"/>
              <a:gd name="connsiteX20" fmla="*/ 1917087 w 5410725"/>
              <a:gd name="connsiteY20" fmla="*/ 2118886 h 2963917"/>
              <a:gd name="connsiteX21" fmla="*/ 2282847 w 5410725"/>
              <a:gd name="connsiteY21" fmla="*/ 2358521 h 2963917"/>
              <a:gd name="connsiteX22" fmla="*/ 2408971 w 5410725"/>
              <a:gd name="connsiteY22" fmla="*/ 2396359 h 2963917"/>
              <a:gd name="connsiteX23" fmla="*/ 2724281 w 5410725"/>
              <a:gd name="connsiteY23" fmla="*/ 2453114 h 2963917"/>
              <a:gd name="connsiteX24" fmla="*/ 3165716 w 5410725"/>
              <a:gd name="connsiteY24" fmla="*/ 2610770 h 2963917"/>
              <a:gd name="connsiteX25" fmla="*/ 3506251 w 5410725"/>
              <a:gd name="connsiteY25" fmla="*/ 2724281 h 2963917"/>
              <a:gd name="connsiteX26" fmla="*/ 3846786 w 5410725"/>
              <a:gd name="connsiteY26" fmla="*/ 2768425 h 2963917"/>
              <a:gd name="connsiteX27" fmla="*/ 4073809 w 5410725"/>
              <a:gd name="connsiteY27" fmla="*/ 2799956 h 2963917"/>
              <a:gd name="connsiteX28" fmla="*/ 4237771 w 5410725"/>
              <a:gd name="connsiteY28" fmla="*/ 2806262 h 2963917"/>
              <a:gd name="connsiteX29" fmla="*/ 4647674 w 5410725"/>
              <a:gd name="connsiteY29" fmla="*/ 2818874 h 2963917"/>
              <a:gd name="connsiteX30" fmla="*/ 5183702 w 5410725"/>
              <a:gd name="connsiteY30" fmla="*/ 2900855 h 2963917"/>
              <a:gd name="connsiteX31" fmla="*/ 5410725 w 5410725"/>
              <a:gd name="connsiteY31" fmla="*/ 2944999 h 2963917"/>
              <a:gd name="connsiteX32" fmla="*/ 5215233 w 5410725"/>
              <a:gd name="connsiteY32" fmla="*/ 2963917 h 2963917"/>
              <a:gd name="connsiteX33" fmla="*/ 0 w 5410725"/>
              <a:gd name="connsiteY33" fmla="*/ 2963917 h 2963917"/>
              <a:gd name="connsiteX34" fmla="*/ 0 w 5410725"/>
              <a:gd name="connsiteY34" fmla="*/ 0 h 2963917"/>
              <a:gd name="connsiteX0" fmla="*/ 0 w 5410725"/>
              <a:gd name="connsiteY0" fmla="*/ 0 h 2963917"/>
              <a:gd name="connsiteX1" fmla="*/ 0 w 5410725"/>
              <a:gd name="connsiteY1" fmla="*/ 0 h 2963917"/>
              <a:gd name="connsiteX2" fmla="*/ 56756 w 5410725"/>
              <a:gd name="connsiteY2" fmla="*/ 63062 h 2963917"/>
              <a:gd name="connsiteX3" fmla="*/ 151349 w 5410725"/>
              <a:gd name="connsiteY3" fmla="*/ 151349 h 2963917"/>
              <a:gd name="connsiteX4" fmla="*/ 252248 w 5410725"/>
              <a:gd name="connsiteY4" fmla="*/ 302698 h 2963917"/>
              <a:gd name="connsiteX5" fmla="*/ 315310 w 5410725"/>
              <a:gd name="connsiteY5" fmla="*/ 403597 h 2963917"/>
              <a:gd name="connsiteX6" fmla="*/ 372066 w 5410725"/>
              <a:gd name="connsiteY6" fmla="*/ 485578 h 2963917"/>
              <a:gd name="connsiteX7" fmla="*/ 428822 w 5410725"/>
              <a:gd name="connsiteY7" fmla="*/ 573865 h 2963917"/>
              <a:gd name="connsiteX8" fmla="*/ 510802 w 5410725"/>
              <a:gd name="connsiteY8" fmla="*/ 712601 h 2963917"/>
              <a:gd name="connsiteX9" fmla="*/ 536027 w 5410725"/>
              <a:gd name="connsiteY9" fmla="*/ 725214 h 2963917"/>
              <a:gd name="connsiteX10" fmla="*/ 775663 w 5410725"/>
              <a:gd name="connsiteY10" fmla="*/ 1053137 h 2963917"/>
              <a:gd name="connsiteX11" fmla="*/ 920706 w 5410725"/>
              <a:gd name="connsiteY11" fmla="*/ 1191873 h 2963917"/>
              <a:gd name="connsiteX12" fmla="*/ 1090974 w 5410725"/>
              <a:gd name="connsiteY12" fmla="*/ 1374753 h 2963917"/>
              <a:gd name="connsiteX13" fmla="*/ 1179260 w 5410725"/>
              <a:gd name="connsiteY13" fmla="*/ 1481959 h 2963917"/>
              <a:gd name="connsiteX14" fmla="*/ 1198179 w 5410725"/>
              <a:gd name="connsiteY14" fmla="*/ 1500877 h 2963917"/>
              <a:gd name="connsiteX15" fmla="*/ 1450427 w 5410725"/>
              <a:gd name="connsiteY15" fmla="*/ 1790963 h 2963917"/>
              <a:gd name="connsiteX16" fmla="*/ 1727900 w 5410725"/>
              <a:gd name="connsiteY16" fmla="*/ 1942312 h 2963917"/>
              <a:gd name="connsiteX17" fmla="*/ 1809881 w 5410725"/>
              <a:gd name="connsiteY17" fmla="*/ 1986455 h 2963917"/>
              <a:gd name="connsiteX18" fmla="*/ 1872943 w 5410725"/>
              <a:gd name="connsiteY18" fmla="*/ 2055823 h 2963917"/>
              <a:gd name="connsiteX19" fmla="*/ 1917087 w 5410725"/>
              <a:gd name="connsiteY19" fmla="*/ 2118886 h 2963917"/>
              <a:gd name="connsiteX20" fmla="*/ 2282847 w 5410725"/>
              <a:gd name="connsiteY20" fmla="*/ 2358521 h 2963917"/>
              <a:gd name="connsiteX21" fmla="*/ 2408971 w 5410725"/>
              <a:gd name="connsiteY21" fmla="*/ 2396359 h 2963917"/>
              <a:gd name="connsiteX22" fmla="*/ 2724281 w 5410725"/>
              <a:gd name="connsiteY22" fmla="*/ 2453114 h 2963917"/>
              <a:gd name="connsiteX23" fmla="*/ 3165716 w 5410725"/>
              <a:gd name="connsiteY23" fmla="*/ 2610770 h 2963917"/>
              <a:gd name="connsiteX24" fmla="*/ 3506251 w 5410725"/>
              <a:gd name="connsiteY24" fmla="*/ 2724281 h 2963917"/>
              <a:gd name="connsiteX25" fmla="*/ 3846786 w 5410725"/>
              <a:gd name="connsiteY25" fmla="*/ 2768425 h 2963917"/>
              <a:gd name="connsiteX26" fmla="*/ 4073809 w 5410725"/>
              <a:gd name="connsiteY26" fmla="*/ 2799956 h 2963917"/>
              <a:gd name="connsiteX27" fmla="*/ 4237771 w 5410725"/>
              <a:gd name="connsiteY27" fmla="*/ 2806262 h 2963917"/>
              <a:gd name="connsiteX28" fmla="*/ 4647674 w 5410725"/>
              <a:gd name="connsiteY28" fmla="*/ 2818874 h 2963917"/>
              <a:gd name="connsiteX29" fmla="*/ 5183702 w 5410725"/>
              <a:gd name="connsiteY29" fmla="*/ 2900855 h 2963917"/>
              <a:gd name="connsiteX30" fmla="*/ 5410725 w 5410725"/>
              <a:gd name="connsiteY30" fmla="*/ 2944999 h 2963917"/>
              <a:gd name="connsiteX31" fmla="*/ 5215233 w 5410725"/>
              <a:gd name="connsiteY31" fmla="*/ 2963917 h 2963917"/>
              <a:gd name="connsiteX32" fmla="*/ 0 w 5410725"/>
              <a:gd name="connsiteY32" fmla="*/ 2963917 h 2963917"/>
              <a:gd name="connsiteX33" fmla="*/ 0 w 5410725"/>
              <a:gd name="connsiteY33" fmla="*/ 0 h 2963917"/>
              <a:gd name="connsiteX0" fmla="*/ 0 w 5410725"/>
              <a:gd name="connsiteY0" fmla="*/ 0 h 2963917"/>
              <a:gd name="connsiteX1" fmla="*/ 0 w 5410725"/>
              <a:gd name="connsiteY1" fmla="*/ 0 h 2963917"/>
              <a:gd name="connsiteX2" fmla="*/ 56756 w 5410725"/>
              <a:gd name="connsiteY2" fmla="*/ 63062 h 2963917"/>
              <a:gd name="connsiteX3" fmla="*/ 151349 w 5410725"/>
              <a:gd name="connsiteY3" fmla="*/ 151349 h 2963917"/>
              <a:gd name="connsiteX4" fmla="*/ 252248 w 5410725"/>
              <a:gd name="connsiteY4" fmla="*/ 302698 h 2963917"/>
              <a:gd name="connsiteX5" fmla="*/ 315310 w 5410725"/>
              <a:gd name="connsiteY5" fmla="*/ 403597 h 2963917"/>
              <a:gd name="connsiteX6" fmla="*/ 372066 w 5410725"/>
              <a:gd name="connsiteY6" fmla="*/ 485578 h 2963917"/>
              <a:gd name="connsiteX7" fmla="*/ 428822 w 5410725"/>
              <a:gd name="connsiteY7" fmla="*/ 573865 h 2963917"/>
              <a:gd name="connsiteX8" fmla="*/ 510802 w 5410725"/>
              <a:gd name="connsiteY8" fmla="*/ 712601 h 2963917"/>
              <a:gd name="connsiteX9" fmla="*/ 536027 w 5410725"/>
              <a:gd name="connsiteY9" fmla="*/ 725214 h 2963917"/>
              <a:gd name="connsiteX10" fmla="*/ 775663 w 5410725"/>
              <a:gd name="connsiteY10" fmla="*/ 1053137 h 2963917"/>
              <a:gd name="connsiteX11" fmla="*/ 920706 w 5410725"/>
              <a:gd name="connsiteY11" fmla="*/ 1191873 h 2963917"/>
              <a:gd name="connsiteX12" fmla="*/ 1090974 w 5410725"/>
              <a:gd name="connsiteY12" fmla="*/ 1374753 h 2963917"/>
              <a:gd name="connsiteX13" fmla="*/ 1179260 w 5410725"/>
              <a:gd name="connsiteY13" fmla="*/ 1481959 h 2963917"/>
              <a:gd name="connsiteX14" fmla="*/ 1198179 w 5410725"/>
              <a:gd name="connsiteY14" fmla="*/ 1500877 h 2963917"/>
              <a:gd name="connsiteX15" fmla="*/ 1727900 w 5410725"/>
              <a:gd name="connsiteY15" fmla="*/ 1942312 h 2963917"/>
              <a:gd name="connsiteX16" fmla="*/ 1809881 w 5410725"/>
              <a:gd name="connsiteY16" fmla="*/ 1986455 h 2963917"/>
              <a:gd name="connsiteX17" fmla="*/ 1872943 w 5410725"/>
              <a:gd name="connsiteY17" fmla="*/ 2055823 h 2963917"/>
              <a:gd name="connsiteX18" fmla="*/ 1917087 w 5410725"/>
              <a:gd name="connsiteY18" fmla="*/ 2118886 h 2963917"/>
              <a:gd name="connsiteX19" fmla="*/ 2282847 w 5410725"/>
              <a:gd name="connsiteY19" fmla="*/ 2358521 h 2963917"/>
              <a:gd name="connsiteX20" fmla="*/ 2408971 w 5410725"/>
              <a:gd name="connsiteY20" fmla="*/ 2396359 h 2963917"/>
              <a:gd name="connsiteX21" fmla="*/ 2724281 w 5410725"/>
              <a:gd name="connsiteY21" fmla="*/ 2453114 h 2963917"/>
              <a:gd name="connsiteX22" fmla="*/ 3165716 w 5410725"/>
              <a:gd name="connsiteY22" fmla="*/ 2610770 h 2963917"/>
              <a:gd name="connsiteX23" fmla="*/ 3506251 w 5410725"/>
              <a:gd name="connsiteY23" fmla="*/ 2724281 h 2963917"/>
              <a:gd name="connsiteX24" fmla="*/ 3846786 w 5410725"/>
              <a:gd name="connsiteY24" fmla="*/ 2768425 h 2963917"/>
              <a:gd name="connsiteX25" fmla="*/ 4073809 w 5410725"/>
              <a:gd name="connsiteY25" fmla="*/ 2799956 h 2963917"/>
              <a:gd name="connsiteX26" fmla="*/ 4237771 w 5410725"/>
              <a:gd name="connsiteY26" fmla="*/ 2806262 h 2963917"/>
              <a:gd name="connsiteX27" fmla="*/ 4647674 w 5410725"/>
              <a:gd name="connsiteY27" fmla="*/ 2818874 h 2963917"/>
              <a:gd name="connsiteX28" fmla="*/ 5183702 w 5410725"/>
              <a:gd name="connsiteY28" fmla="*/ 2900855 h 2963917"/>
              <a:gd name="connsiteX29" fmla="*/ 5410725 w 5410725"/>
              <a:gd name="connsiteY29" fmla="*/ 2944999 h 2963917"/>
              <a:gd name="connsiteX30" fmla="*/ 5215233 w 5410725"/>
              <a:gd name="connsiteY30" fmla="*/ 2963917 h 2963917"/>
              <a:gd name="connsiteX31" fmla="*/ 0 w 5410725"/>
              <a:gd name="connsiteY31" fmla="*/ 2963917 h 2963917"/>
              <a:gd name="connsiteX32" fmla="*/ 0 w 5410725"/>
              <a:gd name="connsiteY32" fmla="*/ 0 h 2963917"/>
              <a:gd name="connsiteX0" fmla="*/ 0 w 5410725"/>
              <a:gd name="connsiteY0" fmla="*/ 0 h 2963917"/>
              <a:gd name="connsiteX1" fmla="*/ 0 w 5410725"/>
              <a:gd name="connsiteY1" fmla="*/ 0 h 2963917"/>
              <a:gd name="connsiteX2" fmla="*/ 56756 w 5410725"/>
              <a:gd name="connsiteY2" fmla="*/ 63062 h 2963917"/>
              <a:gd name="connsiteX3" fmla="*/ 151349 w 5410725"/>
              <a:gd name="connsiteY3" fmla="*/ 151349 h 2963917"/>
              <a:gd name="connsiteX4" fmla="*/ 252248 w 5410725"/>
              <a:gd name="connsiteY4" fmla="*/ 302698 h 2963917"/>
              <a:gd name="connsiteX5" fmla="*/ 315310 w 5410725"/>
              <a:gd name="connsiteY5" fmla="*/ 403597 h 2963917"/>
              <a:gd name="connsiteX6" fmla="*/ 372066 w 5410725"/>
              <a:gd name="connsiteY6" fmla="*/ 485578 h 2963917"/>
              <a:gd name="connsiteX7" fmla="*/ 428822 w 5410725"/>
              <a:gd name="connsiteY7" fmla="*/ 573865 h 2963917"/>
              <a:gd name="connsiteX8" fmla="*/ 510802 w 5410725"/>
              <a:gd name="connsiteY8" fmla="*/ 712601 h 2963917"/>
              <a:gd name="connsiteX9" fmla="*/ 536027 w 5410725"/>
              <a:gd name="connsiteY9" fmla="*/ 725214 h 2963917"/>
              <a:gd name="connsiteX10" fmla="*/ 775663 w 5410725"/>
              <a:gd name="connsiteY10" fmla="*/ 1053137 h 2963917"/>
              <a:gd name="connsiteX11" fmla="*/ 920706 w 5410725"/>
              <a:gd name="connsiteY11" fmla="*/ 1191873 h 2963917"/>
              <a:gd name="connsiteX12" fmla="*/ 1090974 w 5410725"/>
              <a:gd name="connsiteY12" fmla="*/ 1374753 h 2963917"/>
              <a:gd name="connsiteX13" fmla="*/ 1179260 w 5410725"/>
              <a:gd name="connsiteY13" fmla="*/ 1481959 h 2963917"/>
              <a:gd name="connsiteX14" fmla="*/ 1727900 w 5410725"/>
              <a:gd name="connsiteY14" fmla="*/ 1942312 h 2963917"/>
              <a:gd name="connsiteX15" fmla="*/ 1809881 w 5410725"/>
              <a:gd name="connsiteY15" fmla="*/ 1986455 h 2963917"/>
              <a:gd name="connsiteX16" fmla="*/ 1872943 w 5410725"/>
              <a:gd name="connsiteY16" fmla="*/ 2055823 h 2963917"/>
              <a:gd name="connsiteX17" fmla="*/ 1917087 w 5410725"/>
              <a:gd name="connsiteY17" fmla="*/ 2118886 h 2963917"/>
              <a:gd name="connsiteX18" fmla="*/ 2282847 w 5410725"/>
              <a:gd name="connsiteY18" fmla="*/ 2358521 h 2963917"/>
              <a:gd name="connsiteX19" fmla="*/ 2408971 w 5410725"/>
              <a:gd name="connsiteY19" fmla="*/ 2396359 h 2963917"/>
              <a:gd name="connsiteX20" fmla="*/ 2724281 w 5410725"/>
              <a:gd name="connsiteY20" fmla="*/ 2453114 h 2963917"/>
              <a:gd name="connsiteX21" fmla="*/ 3165716 w 5410725"/>
              <a:gd name="connsiteY21" fmla="*/ 2610770 h 2963917"/>
              <a:gd name="connsiteX22" fmla="*/ 3506251 w 5410725"/>
              <a:gd name="connsiteY22" fmla="*/ 2724281 h 2963917"/>
              <a:gd name="connsiteX23" fmla="*/ 3846786 w 5410725"/>
              <a:gd name="connsiteY23" fmla="*/ 2768425 h 2963917"/>
              <a:gd name="connsiteX24" fmla="*/ 4073809 w 5410725"/>
              <a:gd name="connsiteY24" fmla="*/ 2799956 h 2963917"/>
              <a:gd name="connsiteX25" fmla="*/ 4237771 w 5410725"/>
              <a:gd name="connsiteY25" fmla="*/ 2806262 h 2963917"/>
              <a:gd name="connsiteX26" fmla="*/ 4647674 w 5410725"/>
              <a:gd name="connsiteY26" fmla="*/ 2818874 h 2963917"/>
              <a:gd name="connsiteX27" fmla="*/ 5183702 w 5410725"/>
              <a:gd name="connsiteY27" fmla="*/ 2900855 h 2963917"/>
              <a:gd name="connsiteX28" fmla="*/ 5410725 w 5410725"/>
              <a:gd name="connsiteY28" fmla="*/ 2944999 h 2963917"/>
              <a:gd name="connsiteX29" fmla="*/ 5215233 w 5410725"/>
              <a:gd name="connsiteY29" fmla="*/ 2963917 h 2963917"/>
              <a:gd name="connsiteX30" fmla="*/ 0 w 5410725"/>
              <a:gd name="connsiteY30" fmla="*/ 2963917 h 2963917"/>
              <a:gd name="connsiteX31" fmla="*/ 0 w 5410725"/>
              <a:gd name="connsiteY31" fmla="*/ 0 h 2963917"/>
              <a:gd name="connsiteX0" fmla="*/ 0 w 5410725"/>
              <a:gd name="connsiteY0" fmla="*/ 0 h 2963917"/>
              <a:gd name="connsiteX1" fmla="*/ 0 w 5410725"/>
              <a:gd name="connsiteY1" fmla="*/ 0 h 2963917"/>
              <a:gd name="connsiteX2" fmla="*/ 56756 w 5410725"/>
              <a:gd name="connsiteY2" fmla="*/ 63062 h 2963917"/>
              <a:gd name="connsiteX3" fmla="*/ 151349 w 5410725"/>
              <a:gd name="connsiteY3" fmla="*/ 151349 h 2963917"/>
              <a:gd name="connsiteX4" fmla="*/ 252248 w 5410725"/>
              <a:gd name="connsiteY4" fmla="*/ 302698 h 2963917"/>
              <a:gd name="connsiteX5" fmla="*/ 315310 w 5410725"/>
              <a:gd name="connsiteY5" fmla="*/ 403597 h 2963917"/>
              <a:gd name="connsiteX6" fmla="*/ 372066 w 5410725"/>
              <a:gd name="connsiteY6" fmla="*/ 485578 h 2963917"/>
              <a:gd name="connsiteX7" fmla="*/ 428822 w 5410725"/>
              <a:gd name="connsiteY7" fmla="*/ 573865 h 2963917"/>
              <a:gd name="connsiteX8" fmla="*/ 510802 w 5410725"/>
              <a:gd name="connsiteY8" fmla="*/ 712601 h 2963917"/>
              <a:gd name="connsiteX9" fmla="*/ 536027 w 5410725"/>
              <a:gd name="connsiteY9" fmla="*/ 725214 h 2963917"/>
              <a:gd name="connsiteX10" fmla="*/ 775663 w 5410725"/>
              <a:gd name="connsiteY10" fmla="*/ 1053137 h 2963917"/>
              <a:gd name="connsiteX11" fmla="*/ 920706 w 5410725"/>
              <a:gd name="connsiteY11" fmla="*/ 1191873 h 2963917"/>
              <a:gd name="connsiteX12" fmla="*/ 1090974 w 5410725"/>
              <a:gd name="connsiteY12" fmla="*/ 1374753 h 2963917"/>
              <a:gd name="connsiteX13" fmla="*/ 1727900 w 5410725"/>
              <a:gd name="connsiteY13" fmla="*/ 1942312 h 2963917"/>
              <a:gd name="connsiteX14" fmla="*/ 1809881 w 5410725"/>
              <a:gd name="connsiteY14" fmla="*/ 1986455 h 2963917"/>
              <a:gd name="connsiteX15" fmla="*/ 1872943 w 5410725"/>
              <a:gd name="connsiteY15" fmla="*/ 2055823 h 2963917"/>
              <a:gd name="connsiteX16" fmla="*/ 1917087 w 5410725"/>
              <a:gd name="connsiteY16" fmla="*/ 2118886 h 2963917"/>
              <a:gd name="connsiteX17" fmla="*/ 2282847 w 5410725"/>
              <a:gd name="connsiteY17" fmla="*/ 2358521 h 2963917"/>
              <a:gd name="connsiteX18" fmla="*/ 2408971 w 5410725"/>
              <a:gd name="connsiteY18" fmla="*/ 2396359 h 2963917"/>
              <a:gd name="connsiteX19" fmla="*/ 2724281 w 5410725"/>
              <a:gd name="connsiteY19" fmla="*/ 2453114 h 2963917"/>
              <a:gd name="connsiteX20" fmla="*/ 3165716 w 5410725"/>
              <a:gd name="connsiteY20" fmla="*/ 2610770 h 2963917"/>
              <a:gd name="connsiteX21" fmla="*/ 3506251 w 5410725"/>
              <a:gd name="connsiteY21" fmla="*/ 2724281 h 2963917"/>
              <a:gd name="connsiteX22" fmla="*/ 3846786 w 5410725"/>
              <a:gd name="connsiteY22" fmla="*/ 2768425 h 2963917"/>
              <a:gd name="connsiteX23" fmla="*/ 4073809 w 5410725"/>
              <a:gd name="connsiteY23" fmla="*/ 2799956 h 2963917"/>
              <a:gd name="connsiteX24" fmla="*/ 4237771 w 5410725"/>
              <a:gd name="connsiteY24" fmla="*/ 2806262 h 2963917"/>
              <a:gd name="connsiteX25" fmla="*/ 4647674 w 5410725"/>
              <a:gd name="connsiteY25" fmla="*/ 2818874 h 2963917"/>
              <a:gd name="connsiteX26" fmla="*/ 5183702 w 5410725"/>
              <a:gd name="connsiteY26" fmla="*/ 2900855 h 2963917"/>
              <a:gd name="connsiteX27" fmla="*/ 5410725 w 5410725"/>
              <a:gd name="connsiteY27" fmla="*/ 2944999 h 2963917"/>
              <a:gd name="connsiteX28" fmla="*/ 5215233 w 5410725"/>
              <a:gd name="connsiteY28" fmla="*/ 2963917 h 2963917"/>
              <a:gd name="connsiteX29" fmla="*/ 0 w 5410725"/>
              <a:gd name="connsiteY29" fmla="*/ 2963917 h 2963917"/>
              <a:gd name="connsiteX30" fmla="*/ 0 w 5410725"/>
              <a:gd name="connsiteY30" fmla="*/ 0 h 2963917"/>
              <a:gd name="connsiteX0" fmla="*/ 0 w 5410725"/>
              <a:gd name="connsiteY0" fmla="*/ 0 h 2963917"/>
              <a:gd name="connsiteX1" fmla="*/ 0 w 5410725"/>
              <a:gd name="connsiteY1" fmla="*/ 0 h 2963917"/>
              <a:gd name="connsiteX2" fmla="*/ 56756 w 5410725"/>
              <a:gd name="connsiteY2" fmla="*/ 63062 h 2963917"/>
              <a:gd name="connsiteX3" fmla="*/ 151349 w 5410725"/>
              <a:gd name="connsiteY3" fmla="*/ 151349 h 2963917"/>
              <a:gd name="connsiteX4" fmla="*/ 252248 w 5410725"/>
              <a:gd name="connsiteY4" fmla="*/ 302698 h 2963917"/>
              <a:gd name="connsiteX5" fmla="*/ 315310 w 5410725"/>
              <a:gd name="connsiteY5" fmla="*/ 403597 h 2963917"/>
              <a:gd name="connsiteX6" fmla="*/ 372066 w 5410725"/>
              <a:gd name="connsiteY6" fmla="*/ 485578 h 2963917"/>
              <a:gd name="connsiteX7" fmla="*/ 428822 w 5410725"/>
              <a:gd name="connsiteY7" fmla="*/ 573865 h 2963917"/>
              <a:gd name="connsiteX8" fmla="*/ 510802 w 5410725"/>
              <a:gd name="connsiteY8" fmla="*/ 712601 h 2963917"/>
              <a:gd name="connsiteX9" fmla="*/ 536027 w 5410725"/>
              <a:gd name="connsiteY9" fmla="*/ 725214 h 2963917"/>
              <a:gd name="connsiteX10" fmla="*/ 775663 w 5410725"/>
              <a:gd name="connsiteY10" fmla="*/ 1053137 h 2963917"/>
              <a:gd name="connsiteX11" fmla="*/ 920706 w 5410725"/>
              <a:gd name="connsiteY11" fmla="*/ 1191873 h 2963917"/>
              <a:gd name="connsiteX12" fmla="*/ 1727900 w 5410725"/>
              <a:gd name="connsiteY12" fmla="*/ 1942312 h 2963917"/>
              <a:gd name="connsiteX13" fmla="*/ 1809881 w 5410725"/>
              <a:gd name="connsiteY13" fmla="*/ 1986455 h 2963917"/>
              <a:gd name="connsiteX14" fmla="*/ 1872943 w 5410725"/>
              <a:gd name="connsiteY14" fmla="*/ 2055823 h 2963917"/>
              <a:gd name="connsiteX15" fmla="*/ 1917087 w 5410725"/>
              <a:gd name="connsiteY15" fmla="*/ 2118886 h 2963917"/>
              <a:gd name="connsiteX16" fmla="*/ 2282847 w 5410725"/>
              <a:gd name="connsiteY16" fmla="*/ 2358521 h 2963917"/>
              <a:gd name="connsiteX17" fmla="*/ 2408971 w 5410725"/>
              <a:gd name="connsiteY17" fmla="*/ 2396359 h 2963917"/>
              <a:gd name="connsiteX18" fmla="*/ 2724281 w 5410725"/>
              <a:gd name="connsiteY18" fmla="*/ 2453114 h 2963917"/>
              <a:gd name="connsiteX19" fmla="*/ 3165716 w 5410725"/>
              <a:gd name="connsiteY19" fmla="*/ 2610770 h 2963917"/>
              <a:gd name="connsiteX20" fmla="*/ 3506251 w 5410725"/>
              <a:gd name="connsiteY20" fmla="*/ 2724281 h 2963917"/>
              <a:gd name="connsiteX21" fmla="*/ 3846786 w 5410725"/>
              <a:gd name="connsiteY21" fmla="*/ 2768425 h 2963917"/>
              <a:gd name="connsiteX22" fmla="*/ 4073809 w 5410725"/>
              <a:gd name="connsiteY22" fmla="*/ 2799956 h 2963917"/>
              <a:gd name="connsiteX23" fmla="*/ 4237771 w 5410725"/>
              <a:gd name="connsiteY23" fmla="*/ 2806262 h 2963917"/>
              <a:gd name="connsiteX24" fmla="*/ 4647674 w 5410725"/>
              <a:gd name="connsiteY24" fmla="*/ 2818874 h 2963917"/>
              <a:gd name="connsiteX25" fmla="*/ 5183702 w 5410725"/>
              <a:gd name="connsiteY25" fmla="*/ 2900855 h 2963917"/>
              <a:gd name="connsiteX26" fmla="*/ 5410725 w 5410725"/>
              <a:gd name="connsiteY26" fmla="*/ 2944999 h 2963917"/>
              <a:gd name="connsiteX27" fmla="*/ 5215233 w 5410725"/>
              <a:gd name="connsiteY27" fmla="*/ 2963917 h 2963917"/>
              <a:gd name="connsiteX28" fmla="*/ 0 w 5410725"/>
              <a:gd name="connsiteY28" fmla="*/ 2963917 h 2963917"/>
              <a:gd name="connsiteX29" fmla="*/ 0 w 5410725"/>
              <a:gd name="connsiteY29" fmla="*/ 0 h 2963917"/>
              <a:gd name="connsiteX0" fmla="*/ 0 w 5410725"/>
              <a:gd name="connsiteY0" fmla="*/ 0 h 2963917"/>
              <a:gd name="connsiteX1" fmla="*/ 0 w 5410725"/>
              <a:gd name="connsiteY1" fmla="*/ 0 h 2963917"/>
              <a:gd name="connsiteX2" fmla="*/ 56756 w 5410725"/>
              <a:gd name="connsiteY2" fmla="*/ 63062 h 2963917"/>
              <a:gd name="connsiteX3" fmla="*/ 151349 w 5410725"/>
              <a:gd name="connsiteY3" fmla="*/ 151349 h 2963917"/>
              <a:gd name="connsiteX4" fmla="*/ 252248 w 5410725"/>
              <a:gd name="connsiteY4" fmla="*/ 302698 h 2963917"/>
              <a:gd name="connsiteX5" fmla="*/ 315310 w 5410725"/>
              <a:gd name="connsiteY5" fmla="*/ 403597 h 2963917"/>
              <a:gd name="connsiteX6" fmla="*/ 372066 w 5410725"/>
              <a:gd name="connsiteY6" fmla="*/ 485578 h 2963917"/>
              <a:gd name="connsiteX7" fmla="*/ 428822 w 5410725"/>
              <a:gd name="connsiteY7" fmla="*/ 573865 h 2963917"/>
              <a:gd name="connsiteX8" fmla="*/ 510802 w 5410725"/>
              <a:gd name="connsiteY8" fmla="*/ 712601 h 2963917"/>
              <a:gd name="connsiteX9" fmla="*/ 536027 w 5410725"/>
              <a:gd name="connsiteY9" fmla="*/ 725214 h 2963917"/>
              <a:gd name="connsiteX10" fmla="*/ 775663 w 5410725"/>
              <a:gd name="connsiteY10" fmla="*/ 1053137 h 2963917"/>
              <a:gd name="connsiteX11" fmla="*/ 1727900 w 5410725"/>
              <a:gd name="connsiteY11" fmla="*/ 1942312 h 2963917"/>
              <a:gd name="connsiteX12" fmla="*/ 1809881 w 5410725"/>
              <a:gd name="connsiteY12" fmla="*/ 1986455 h 2963917"/>
              <a:gd name="connsiteX13" fmla="*/ 1872943 w 5410725"/>
              <a:gd name="connsiteY13" fmla="*/ 2055823 h 2963917"/>
              <a:gd name="connsiteX14" fmla="*/ 1917087 w 5410725"/>
              <a:gd name="connsiteY14" fmla="*/ 2118886 h 2963917"/>
              <a:gd name="connsiteX15" fmla="*/ 2282847 w 5410725"/>
              <a:gd name="connsiteY15" fmla="*/ 2358521 h 2963917"/>
              <a:gd name="connsiteX16" fmla="*/ 2408971 w 5410725"/>
              <a:gd name="connsiteY16" fmla="*/ 2396359 h 2963917"/>
              <a:gd name="connsiteX17" fmla="*/ 2724281 w 5410725"/>
              <a:gd name="connsiteY17" fmla="*/ 2453114 h 2963917"/>
              <a:gd name="connsiteX18" fmla="*/ 3165716 w 5410725"/>
              <a:gd name="connsiteY18" fmla="*/ 2610770 h 2963917"/>
              <a:gd name="connsiteX19" fmla="*/ 3506251 w 5410725"/>
              <a:gd name="connsiteY19" fmla="*/ 2724281 h 2963917"/>
              <a:gd name="connsiteX20" fmla="*/ 3846786 w 5410725"/>
              <a:gd name="connsiteY20" fmla="*/ 2768425 h 2963917"/>
              <a:gd name="connsiteX21" fmla="*/ 4073809 w 5410725"/>
              <a:gd name="connsiteY21" fmla="*/ 2799956 h 2963917"/>
              <a:gd name="connsiteX22" fmla="*/ 4237771 w 5410725"/>
              <a:gd name="connsiteY22" fmla="*/ 2806262 h 2963917"/>
              <a:gd name="connsiteX23" fmla="*/ 4647674 w 5410725"/>
              <a:gd name="connsiteY23" fmla="*/ 2818874 h 2963917"/>
              <a:gd name="connsiteX24" fmla="*/ 5183702 w 5410725"/>
              <a:gd name="connsiteY24" fmla="*/ 2900855 h 2963917"/>
              <a:gd name="connsiteX25" fmla="*/ 5410725 w 5410725"/>
              <a:gd name="connsiteY25" fmla="*/ 2944999 h 2963917"/>
              <a:gd name="connsiteX26" fmla="*/ 5215233 w 5410725"/>
              <a:gd name="connsiteY26" fmla="*/ 2963917 h 2963917"/>
              <a:gd name="connsiteX27" fmla="*/ 0 w 5410725"/>
              <a:gd name="connsiteY27" fmla="*/ 2963917 h 2963917"/>
              <a:gd name="connsiteX28" fmla="*/ 0 w 5410725"/>
              <a:gd name="connsiteY28" fmla="*/ 0 h 2963917"/>
              <a:gd name="connsiteX0" fmla="*/ 0 w 5410725"/>
              <a:gd name="connsiteY0" fmla="*/ 0 h 2963917"/>
              <a:gd name="connsiteX1" fmla="*/ 0 w 5410725"/>
              <a:gd name="connsiteY1" fmla="*/ 0 h 2963917"/>
              <a:gd name="connsiteX2" fmla="*/ 56756 w 5410725"/>
              <a:gd name="connsiteY2" fmla="*/ 63062 h 2963917"/>
              <a:gd name="connsiteX3" fmla="*/ 151349 w 5410725"/>
              <a:gd name="connsiteY3" fmla="*/ 151349 h 2963917"/>
              <a:gd name="connsiteX4" fmla="*/ 252248 w 5410725"/>
              <a:gd name="connsiteY4" fmla="*/ 302698 h 2963917"/>
              <a:gd name="connsiteX5" fmla="*/ 315310 w 5410725"/>
              <a:gd name="connsiteY5" fmla="*/ 403597 h 2963917"/>
              <a:gd name="connsiteX6" fmla="*/ 372066 w 5410725"/>
              <a:gd name="connsiteY6" fmla="*/ 485578 h 2963917"/>
              <a:gd name="connsiteX7" fmla="*/ 428822 w 5410725"/>
              <a:gd name="connsiteY7" fmla="*/ 573865 h 2963917"/>
              <a:gd name="connsiteX8" fmla="*/ 510802 w 5410725"/>
              <a:gd name="connsiteY8" fmla="*/ 712601 h 2963917"/>
              <a:gd name="connsiteX9" fmla="*/ 536027 w 5410725"/>
              <a:gd name="connsiteY9" fmla="*/ 725214 h 2963917"/>
              <a:gd name="connsiteX10" fmla="*/ 1727900 w 5410725"/>
              <a:gd name="connsiteY10" fmla="*/ 1942312 h 2963917"/>
              <a:gd name="connsiteX11" fmla="*/ 1809881 w 5410725"/>
              <a:gd name="connsiteY11" fmla="*/ 1986455 h 2963917"/>
              <a:gd name="connsiteX12" fmla="*/ 1872943 w 5410725"/>
              <a:gd name="connsiteY12" fmla="*/ 2055823 h 2963917"/>
              <a:gd name="connsiteX13" fmla="*/ 1917087 w 5410725"/>
              <a:gd name="connsiteY13" fmla="*/ 2118886 h 2963917"/>
              <a:gd name="connsiteX14" fmla="*/ 2282847 w 5410725"/>
              <a:gd name="connsiteY14" fmla="*/ 2358521 h 2963917"/>
              <a:gd name="connsiteX15" fmla="*/ 2408971 w 5410725"/>
              <a:gd name="connsiteY15" fmla="*/ 2396359 h 2963917"/>
              <a:gd name="connsiteX16" fmla="*/ 2724281 w 5410725"/>
              <a:gd name="connsiteY16" fmla="*/ 2453114 h 2963917"/>
              <a:gd name="connsiteX17" fmla="*/ 3165716 w 5410725"/>
              <a:gd name="connsiteY17" fmla="*/ 2610770 h 2963917"/>
              <a:gd name="connsiteX18" fmla="*/ 3506251 w 5410725"/>
              <a:gd name="connsiteY18" fmla="*/ 2724281 h 2963917"/>
              <a:gd name="connsiteX19" fmla="*/ 3846786 w 5410725"/>
              <a:gd name="connsiteY19" fmla="*/ 2768425 h 2963917"/>
              <a:gd name="connsiteX20" fmla="*/ 4073809 w 5410725"/>
              <a:gd name="connsiteY20" fmla="*/ 2799956 h 2963917"/>
              <a:gd name="connsiteX21" fmla="*/ 4237771 w 5410725"/>
              <a:gd name="connsiteY21" fmla="*/ 2806262 h 2963917"/>
              <a:gd name="connsiteX22" fmla="*/ 4647674 w 5410725"/>
              <a:gd name="connsiteY22" fmla="*/ 2818874 h 2963917"/>
              <a:gd name="connsiteX23" fmla="*/ 5183702 w 5410725"/>
              <a:gd name="connsiteY23" fmla="*/ 2900855 h 2963917"/>
              <a:gd name="connsiteX24" fmla="*/ 5410725 w 5410725"/>
              <a:gd name="connsiteY24" fmla="*/ 2944999 h 2963917"/>
              <a:gd name="connsiteX25" fmla="*/ 5215233 w 5410725"/>
              <a:gd name="connsiteY25" fmla="*/ 2963917 h 2963917"/>
              <a:gd name="connsiteX26" fmla="*/ 0 w 5410725"/>
              <a:gd name="connsiteY26" fmla="*/ 2963917 h 2963917"/>
              <a:gd name="connsiteX27" fmla="*/ 0 w 5410725"/>
              <a:gd name="connsiteY27" fmla="*/ 0 h 2963917"/>
              <a:gd name="connsiteX0" fmla="*/ 0 w 5410725"/>
              <a:gd name="connsiteY0" fmla="*/ 0 h 2963917"/>
              <a:gd name="connsiteX1" fmla="*/ 0 w 5410725"/>
              <a:gd name="connsiteY1" fmla="*/ 0 h 2963917"/>
              <a:gd name="connsiteX2" fmla="*/ 56756 w 5410725"/>
              <a:gd name="connsiteY2" fmla="*/ 63062 h 2963917"/>
              <a:gd name="connsiteX3" fmla="*/ 151349 w 5410725"/>
              <a:gd name="connsiteY3" fmla="*/ 151349 h 2963917"/>
              <a:gd name="connsiteX4" fmla="*/ 252248 w 5410725"/>
              <a:gd name="connsiteY4" fmla="*/ 302698 h 2963917"/>
              <a:gd name="connsiteX5" fmla="*/ 315310 w 5410725"/>
              <a:gd name="connsiteY5" fmla="*/ 403597 h 2963917"/>
              <a:gd name="connsiteX6" fmla="*/ 372066 w 5410725"/>
              <a:gd name="connsiteY6" fmla="*/ 485578 h 2963917"/>
              <a:gd name="connsiteX7" fmla="*/ 428822 w 5410725"/>
              <a:gd name="connsiteY7" fmla="*/ 573865 h 2963917"/>
              <a:gd name="connsiteX8" fmla="*/ 510802 w 5410725"/>
              <a:gd name="connsiteY8" fmla="*/ 712601 h 2963917"/>
              <a:gd name="connsiteX9" fmla="*/ 1727900 w 5410725"/>
              <a:gd name="connsiteY9" fmla="*/ 1942312 h 2963917"/>
              <a:gd name="connsiteX10" fmla="*/ 1809881 w 5410725"/>
              <a:gd name="connsiteY10" fmla="*/ 1986455 h 2963917"/>
              <a:gd name="connsiteX11" fmla="*/ 1872943 w 5410725"/>
              <a:gd name="connsiteY11" fmla="*/ 2055823 h 2963917"/>
              <a:gd name="connsiteX12" fmla="*/ 1917087 w 5410725"/>
              <a:gd name="connsiteY12" fmla="*/ 2118886 h 2963917"/>
              <a:gd name="connsiteX13" fmla="*/ 2282847 w 5410725"/>
              <a:gd name="connsiteY13" fmla="*/ 2358521 h 2963917"/>
              <a:gd name="connsiteX14" fmla="*/ 2408971 w 5410725"/>
              <a:gd name="connsiteY14" fmla="*/ 2396359 h 2963917"/>
              <a:gd name="connsiteX15" fmla="*/ 2724281 w 5410725"/>
              <a:gd name="connsiteY15" fmla="*/ 2453114 h 2963917"/>
              <a:gd name="connsiteX16" fmla="*/ 3165716 w 5410725"/>
              <a:gd name="connsiteY16" fmla="*/ 2610770 h 2963917"/>
              <a:gd name="connsiteX17" fmla="*/ 3506251 w 5410725"/>
              <a:gd name="connsiteY17" fmla="*/ 2724281 h 2963917"/>
              <a:gd name="connsiteX18" fmla="*/ 3846786 w 5410725"/>
              <a:gd name="connsiteY18" fmla="*/ 2768425 h 2963917"/>
              <a:gd name="connsiteX19" fmla="*/ 4073809 w 5410725"/>
              <a:gd name="connsiteY19" fmla="*/ 2799956 h 2963917"/>
              <a:gd name="connsiteX20" fmla="*/ 4237771 w 5410725"/>
              <a:gd name="connsiteY20" fmla="*/ 2806262 h 2963917"/>
              <a:gd name="connsiteX21" fmla="*/ 4647674 w 5410725"/>
              <a:gd name="connsiteY21" fmla="*/ 2818874 h 2963917"/>
              <a:gd name="connsiteX22" fmla="*/ 5183702 w 5410725"/>
              <a:gd name="connsiteY22" fmla="*/ 2900855 h 2963917"/>
              <a:gd name="connsiteX23" fmla="*/ 5410725 w 5410725"/>
              <a:gd name="connsiteY23" fmla="*/ 2944999 h 2963917"/>
              <a:gd name="connsiteX24" fmla="*/ 5215233 w 5410725"/>
              <a:gd name="connsiteY24" fmla="*/ 2963917 h 2963917"/>
              <a:gd name="connsiteX25" fmla="*/ 0 w 5410725"/>
              <a:gd name="connsiteY25" fmla="*/ 2963917 h 2963917"/>
              <a:gd name="connsiteX26" fmla="*/ 0 w 5410725"/>
              <a:gd name="connsiteY26" fmla="*/ 0 h 2963917"/>
              <a:gd name="connsiteX0" fmla="*/ 0 w 5410725"/>
              <a:gd name="connsiteY0" fmla="*/ 0 h 2963917"/>
              <a:gd name="connsiteX1" fmla="*/ 0 w 5410725"/>
              <a:gd name="connsiteY1" fmla="*/ 0 h 2963917"/>
              <a:gd name="connsiteX2" fmla="*/ 56756 w 5410725"/>
              <a:gd name="connsiteY2" fmla="*/ 63062 h 2963917"/>
              <a:gd name="connsiteX3" fmla="*/ 151349 w 5410725"/>
              <a:gd name="connsiteY3" fmla="*/ 151349 h 2963917"/>
              <a:gd name="connsiteX4" fmla="*/ 252248 w 5410725"/>
              <a:gd name="connsiteY4" fmla="*/ 302698 h 2963917"/>
              <a:gd name="connsiteX5" fmla="*/ 315310 w 5410725"/>
              <a:gd name="connsiteY5" fmla="*/ 403597 h 2963917"/>
              <a:gd name="connsiteX6" fmla="*/ 372066 w 5410725"/>
              <a:gd name="connsiteY6" fmla="*/ 485578 h 2963917"/>
              <a:gd name="connsiteX7" fmla="*/ 428822 w 5410725"/>
              <a:gd name="connsiteY7" fmla="*/ 573865 h 2963917"/>
              <a:gd name="connsiteX8" fmla="*/ 1727900 w 5410725"/>
              <a:gd name="connsiteY8" fmla="*/ 1942312 h 2963917"/>
              <a:gd name="connsiteX9" fmla="*/ 1809881 w 5410725"/>
              <a:gd name="connsiteY9" fmla="*/ 1986455 h 2963917"/>
              <a:gd name="connsiteX10" fmla="*/ 1872943 w 5410725"/>
              <a:gd name="connsiteY10" fmla="*/ 2055823 h 2963917"/>
              <a:gd name="connsiteX11" fmla="*/ 1917087 w 5410725"/>
              <a:gd name="connsiteY11" fmla="*/ 2118886 h 2963917"/>
              <a:gd name="connsiteX12" fmla="*/ 2282847 w 5410725"/>
              <a:gd name="connsiteY12" fmla="*/ 2358521 h 2963917"/>
              <a:gd name="connsiteX13" fmla="*/ 2408971 w 5410725"/>
              <a:gd name="connsiteY13" fmla="*/ 2396359 h 2963917"/>
              <a:gd name="connsiteX14" fmla="*/ 2724281 w 5410725"/>
              <a:gd name="connsiteY14" fmla="*/ 2453114 h 2963917"/>
              <a:gd name="connsiteX15" fmla="*/ 3165716 w 5410725"/>
              <a:gd name="connsiteY15" fmla="*/ 2610770 h 2963917"/>
              <a:gd name="connsiteX16" fmla="*/ 3506251 w 5410725"/>
              <a:gd name="connsiteY16" fmla="*/ 2724281 h 2963917"/>
              <a:gd name="connsiteX17" fmla="*/ 3846786 w 5410725"/>
              <a:gd name="connsiteY17" fmla="*/ 2768425 h 2963917"/>
              <a:gd name="connsiteX18" fmla="*/ 4073809 w 5410725"/>
              <a:gd name="connsiteY18" fmla="*/ 2799956 h 2963917"/>
              <a:gd name="connsiteX19" fmla="*/ 4237771 w 5410725"/>
              <a:gd name="connsiteY19" fmla="*/ 2806262 h 2963917"/>
              <a:gd name="connsiteX20" fmla="*/ 4647674 w 5410725"/>
              <a:gd name="connsiteY20" fmla="*/ 2818874 h 2963917"/>
              <a:gd name="connsiteX21" fmla="*/ 5183702 w 5410725"/>
              <a:gd name="connsiteY21" fmla="*/ 2900855 h 2963917"/>
              <a:gd name="connsiteX22" fmla="*/ 5410725 w 5410725"/>
              <a:gd name="connsiteY22" fmla="*/ 2944999 h 2963917"/>
              <a:gd name="connsiteX23" fmla="*/ 5215233 w 5410725"/>
              <a:gd name="connsiteY23" fmla="*/ 2963917 h 2963917"/>
              <a:gd name="connsiteX24" fmla="*/ 0 w 5410725"/>
              <a:gd name="connsiteY24" fmla="*/ 2963917 h 2963917"/>
              <a:gd name="connsiteX25" fmla="*/ 0 w 5410725"/>
              <a:gd name="connsiteY25" fmla="*/ 0 h 2963917"/>
              <a:gd name="connsiteX0" fmla="*/ 0 w 5410725"/>
              <a:gd name="connsiteY0" fmla="*/ 0 h 2963917"/>
              <a:gd name="connsiteX1" fmla="*/ 0 w 5410725"/>
              <a:gd name="connsiteY1" fmla="*/ 0 h 2963917"/>
              <a:gd name="connsiteX2" fmla="*/ 56756 w 5410725"/>
              <a:gd name="connsiteY2" fmla="*/ 63062 h 2963917"/>
              <a:gd name="connsiteX3" fmla="*/ 151349 w 5410725"/>
              <a:gd name="connsiteY3" fmla="*/ 151349 h 2963917"/>
              <a:gd name="connsiteX4" fmla="*/ 252248 w 5410725"/>
              <a:gd name="connsiteY4" fmla="*/ 302698 h 2963917"/>
              <a:gd name="connsiteX5" fmla="*/ 315310 w 5410725"/>
              <a:gd name="connsiteY5" fmla="*/ 403597 h 2963917"/>
              <a:gd name="connsiteX6" fmla="*/ 428822 w 5410725"/>
              <a:gd name="connsiteY6" fmla="*/ 573865 h 2963917"/>
              <a:gd name="connsiteX7" fmla="*/ 1727900 w 5410725"/>
              <a:gd name="connsiteY7" fmla="*/ 1942312 h 2963917"/>
              <a:gd name="connsiteX8" fmla="*/ 1809881 w 5410725"/>
              <a:gd name="connsiteY8" fmla="*/ 1986455 h 2963917"/>
              <a:gd name="connsiteX9" fmla="*/ 1872943 w 5410725"/>
              <a:gd name="connsiteY9" fmla="*/ 2055823 h 2963917"/>
              <a:gd name="connsiteX10" fmla="*/ 1917087 w 5410725"/>
              <a:gd name="connsiteY10" fmla="*/ 2118886 h 2963917"/>
              <a:gd name="connsiteX11" fmla="*/ 2282847 w 5410725"/>
              <a:gd name="connsiteY11" fmla="*/ 2358521 h 2963917"/>
              <a:gd name="connsiteX12" fmla="*/ 2408971 w 5410725"/>
              <a:gd name="connsiteY12" fmla="*/ 2396359 h 2963917"/>
              <a:gd name="connsiteX13" fmla="*/ 2724281 w 5410725"/>
              <a:gd name="connsiteY13" fmla="*/ 2453114 h 2963917"/>
              <a:gd name="connsiteX14" fmla="*/ 3165716 w 5410725"/>
              <a:gd name="connsiteY14" fmla="*/ 2610770 h 2963917"/>
              <a:gd name="connsiteX15" fmla="*/ 3506251 w 5410725"/>
              <a:gd name="connsiteY15" fmla="*/ 2724281 h 2963917"/>
              <a:gd name="connsiteX16" fmla="*/ 3846786 w 5410725"/>
              <a:gd name="connsiteY16" fmla="*/ 2768425 h 2963917"/>
              <a:gd name="connsiteX17" fmla="*/ 4073809 w 5410725"/>
              <a:gd name="connsiteY17" fmla="*/ 2799956 h 2963917"/>
              <a:gd name="connsiteX18" fmla="*/ 4237771 w 5410725"/>
              <a:gd name="connsiteY18" fmla="*/ 2806262 h 2963917"/>
              <a:gd name="connsiteX19" fmla="*/ 4647674 w 5410725"/>
              <a:gd name="connsiteY19" fmla="*/ 2818874 h 2963917"/>
              <a:gd name="connsiteX20" fmla="*/ 5183702 w 5410725"/>
              <a:gd name="connsiteY20" fmla="*/ 2900855 h 2963917"/>
              <a:gd name="connsiteX21" fmla="*/ 5410725 w 5410725"/>
              <a:gd name="connsiteY21" fmla="*/ 2944999 h 2963917"/>
              <a:gd name="connsiteX22" fmla="*/ 5215233 w 5410725"/>
              <a:gd name="connsiteY22" fmla="*/ 2963917 h 2963917"/>
              <a:gd name="connsiteX23" fmla="*/ 0 w 5410725"/>
              <a:gd name="connsiteY23" fmla="*/ 2963917 h 2963917"/>
              <a:gd name="connsiteX24" fmla="*/ 0 w 5410725"/>
              <a:gd name="connsiteY24" fmla="*/ 0 h 2963917"/>
              <a:gd name="connsiteX0" fmla="*/ 0 w 5410725"/>
              <a:gd name="connsiteY0" fmla="*/ 0 h 2963917"/>
              <a:gd name="connsiteX1" fmla="*/ 0 w 5410725"/>
              <a:gd name="connsiteY1" fmla="*/ 0 h 2963917"/>
              <a:gd name="connsiteX2" fmla="*/ 56756 w 5410725"/>
              <a:gd name="connsiteY2" fmla="*/ 63062 h 2963917"/>
              <a:gd name="connsiteX3" fmla="*/ 151349 w 5410725"/>
              <a:gd name="connsiteY3" fmla="*/ 151349 h 2963917"/>
              <a:gd name="connsiteX4" fmla="*/ 252248 w 5410725"/>
              <a:gd name="connsiteY4" fmla="*/ 302698 h 2963917"/>
              <a:gd name="connsiteX5" fmla="*/ 315310 w 5410725"/>
              <a:gd name="connsiteY5" fmla="*/ 403597 h 2963917"/>
              <a:gd name="connsiteX6" fmla="*/ 1727900 w 5410725"/>
              <a:gd name="connsiteY6" fmla="*/ 1942312 h 2963917"/>
              <a:gd name="connsiteX7" fmla="*/ 1809881 w 5410725"/>
              <a:gd name="connsiteY7" fmla="*/ 1986455 h 2963917"/>
              <a:gd name="connsiteX8" fmla="*/ 1872943 w 5410725"/>
              <a:gd name="connsiteY8" fmla="*/ 2055823 h 2963917"/>
              <a:gd name="connsiteX9" fmla="*/ 1917087 w 5410725"/>
              <a:gd name="connsiteY9" fmla="*/ 2118886 h 2963917"/>
              <a:gd name="connsiteX10" fmla="*/ 2282847 w 5410725"/>
              <a:gd name="connsiteY10" fmla="*/ 2358521 h 2963917"/>
              <a:gd name="connsiteX11" fmla="*/ 2408971 w 5410725"/>
              <a:gd name="connsiteY11" fmla="*/ 2396359 h 2963917"/>
              <a:gd name="connsiteX12" fmla="*/ 2724281 w 5410725"/>
              <a:gd name="connsiteY12" fmla="*/ 2453114 h 2963917"/>
              <a:gd name="connsiteX13" fmla="*/ 3165716 w 5410725"/>
              <a:gd name="connsiteY13" fmla="*/ 2610770 h 2963917"/>
              <a:gd name="connsiteX14" fmla="*/ 3506251 w 5410725"/>
              <a:gd name="connsiteY14" fmla="*/ 2724281 h 2963917"/>
              <a:gd name="connsiteX15" fmla="*/ 3846786 w 5410725"/>
              <a:gd name="connsiteY15" fmla="*/ 2768425 h 2963917"/>
              <a:gd name="connsiteX16" fmla="*/ 4073809 w 5410725"/>
              <a:gd name="connsiteY16" fmla="*/ 2799956 h 2963917"/>
              <a:gd name="connsiteX17" fmla="*/ 4237771 w 5410725"/>
              <a:gd name="connsiteY17" fmla="*/ 2806262 h 2963917"/>
              <a:gd name="connsiteX18" fmla="*/ 4647674 w 5410725"/>
              <a:gd name="connsiteY18" fmla="*/ 2818874 h 2963917"/>
              <a:gd name="connsiteX19" fmla="*/ 5183702 w 5410725"/>
              <a:gd name="connsiteY19" fmla="*/ 2900855 h 2963917"/>
              <a:gd name="connsiteX20" fmla="*/ 5410725 w 5410725"/>
              <a:gd name="connsiteY20" fmla="*/ 2944999 h 2963917"/>
              <a:gd name="connsiteX21" fmla="*/ 5215233 w 5410725"/>
              <a:gd name="connsiteY21" fmla="*/ 2963917 h 2963917"/>
              <a:gd name="connsiteX22" fmla="*/ 0 w 5410725"/>
              <a:gd name="connsiteY22" fmla="*/ 2963917 h 2963917"/>
              <a:gd name="connsiteX23" fmla="*/ 0 w 5410725"/>
              <a:gd name="connsiteY23" fmla="*/ 0 h 2963917"/>
              <a:gd name="connsiteX0" fmla="*/ 0 w 5410725"/>
              <a:gd name="connsiteY0" fmla="*/ 0 h 2963917"/>
              <a:gd name="connsiteX1" fmla="*/ 0 w 5410725"/>
              <a:gd name="connsiteY1" fmla="*/ 0 h 2963917"/>
              <a:gd name="connsiteX2" fmla="*/ 56756 w 5410725"/>
              <a:gd name="connsiteY2" fmla="*/ 63062 h 2963917"/>
              <a:gd name="connsiteX3" fmla="*/ 151349 w 5410725"/>
              <a:gd name="connsiteY3" fmla="*/ 151349 h 2963917"/>
              <a:gd name="connsiteX4" fmla="*/ 315310 w 5410725"/>
              <a:gd name="connsiteY4" fmla="*/ 403597 h 2963917"/>
              <a:gd name="connsiteX5" fmla="*/ 1727900 w 5410725"/>
              <a:gd name="connsiteY5" fmla="*/ 1942312 h 2963917"/>
              <a:gd name="connsiteX6" fmla="*/ 1809881 w 5410725"/>
              <a:gd name="connsiteY6" fmla="*/ 1986455 h 2963917"/>
              <a:gd name="connsiteX7" fmla="*/ 1872943 w 5410725"/>
              <a:gd name="connsiteY7" fmla="*/ 2055823 h 2963917"/>
              <a:gd name="connsiteX8" fmla="*/ 1917087 w 5410725"/>
              <a:gd name="connsiteY8" fmla="*/ 2118886 h 2963917"/>
              <a:gd name="connsiteX9" fmla="*/ 2282847 w 5410725"/>
              <a:gd name="connsiteY9" fmla="*/ 2358521 h 2963917"/>
              <a:gd name="connsiteX10" fmla="*/ 2408971 w 5410725"/>
              <a:gd name="connsiteY10" fmla="*/ 2396359 h 2963917"/>
              <a:gd name="connsiteX11" fmla="*/ 2724281 w 5410725"/>
              <a:gd name="connsiteY11" fmla="*/ 2453114 h 2963917"/>
              <a:gd name="connsiteX12" fmla="*/ 3165716 w 5410725"/>
              <a:gd name="connsiteY12" fmla="*/ 2610770 h 2963917"/>
              <a:gd name="connsiteX13" fmla="*/ 3506251 w 5410725"/>
              <a:gd name="connsiteY13" fmla="*/ 2724281 h 2963917"/>
              <a:gd name="connsiteX14" fmla="*/ 3846786 w 5410725"/>
              <a:gd name="connsiteY14" fmla="*/ 2768425 h 2963917"/>
              <a:gd name="connsiteX15" fmla="*/ 4073809 w 5410725"/>
              <a:gd name="connsiteY15" fmla="*/ 2799956 h 2963917"/>
              <a:gd name="connsiteX16" fmla="*/ 4237771 w 5410725"/>
              <a:gd name="connsiteY16" fmla="*/ 2806262 h 2963917"/>
              <a:gd name="connsiteX17" fmla="*/ 4647674 w 5410725"/>
              <a:gd name="connsiteY17" fmla="*/ 2818874 h 2963917"/>
              <a:gd name="connsiteX18" fmla="*/ 5183702 w 5410725"/>
              <a:gd name="connsiteY18" fmla="*/ 2900855 h 2963917"/>
              <a:gd name="connsiteX19" fmla="*/ 5410725 w 5410725"/>
              <a:gd name="connsiteY19" fmla="*/ 2944999 h 2963917"/>
              <a:gd name="connsiteX20" fmla="*/ 5215233 w 5410725"/>
              <a:gd name="connsiteY20" fmla="*/ 2963917 h 2963917"/>
              <a:gd name="connsiteX21" fmla="*/ 0 w 5410725"/>
              <a:gd name="connsiteY21" fmla="*/ 2963917 h 2963917"/>
              <a:gd name="connsiteX22" fmla="*/ 0 w 5410725"/>
              <a:gd name="connsiteY22" fmla="*/ 0 h 2963917"/>
              <a:gd name="connsiteX0" fmla="*/ 0 w 5410725"/>
              <a:gd name="connsiteY0" fmla="*/ 0 h 2963917"/>
              <a:gd name="connsiteX1" fmla="*/ 0 w 5410725"/>
              <a:gd name="connsiteY1" fmla="*/ 0 h 2963917"/>
              <a:gd name="connsiteX2" fmla="*/ 56756 w 5410725"/>
              <a:gd name="connsiteY2" fmla="*/ 63062 h 2963917"/>
              <a:gd name="connsiteX3" fmla="*/ 315310 w 5410725"/>
              <a:gd name="connsiteY3" fmla="*/ 403597 h 2963917"/>
              <a:gd name="connsiteX4" fmla="*/ 1727900 w 5410725"/>
              <a:gd name="connsiteY4" fmla="*/ 1942312 h 2963917"/>
              <a:gd name="connsiteX5" fmla="*/ 1809881 w 5410725"/>
              <a:gd name="connsiteY5" fmla="*/ 1986455 h 2963917"/>
              <a:gd name="connsiteX6" fmla="*/ 1872943 w 5410725"/>
              <a:gd name="connsiteY6" fmla="*/ 2055823 h 2963917"/>
              <a:gd name="connsiteX7" fmla="*/ 1917087 w 5410725"/>
              <a:gd name="connsiteY7" fmla="*/ 2118886 h 2963917"/>
              <a:gd name="connsiteX8" fmla="*/ 2282847 w 5410725"/>
              <a:gd name="connsiteY8" fmla="*/ 2358521 h 2963917"/>
              <a:gd name="connsiteX9" fmla="*/ 2408971 w 5410725"/>
              <a:gd name="connsiteY9" fmla="*/ 2396359 h 2963917"/>
              <a:gd name="connsiteX10" fmla="*/ 2724281 w 5410725"/>
              <a:gd name="connsiteY10" fmla="*/ 2453114 h 2963917"/>
              <a:gd name="connsiteX11" fmla="*/ 3165716 w 5410725"/>
              <a:gd name="connsiteY11" fmla="*/ 2610770 h 2963917"/>
              <a:gd name="connsiteX12" fmla="*/ 3506251 w 5410725"/>
              <a:gd name="connsiteY12" fmla="*/ 2724281 h 2963917"/>
              <a:gd name="connsiteX13" fmla="*/ 3846786 w 5410725"/>
              <a:gd name="connsiteY13" fmla="*/ 2768425 h 2963917"/>
              <a:gd name="connsiteX14" fmla="*/ 4073809 w 5410725"/>
              <a:gd name="connsiteY14" fmla="*/ 2799956 h 2963917"/>
              <a:gd name="connsiteX15" fmla="*/ 4237771 w 5410725"/>
              <a:gd name="connsiteY15" fmla="*/ 2806262 h 2963917"/>
              <a:gd name="connsiteX16" fmla="*/ 4647674 w 5410725"/>
              <a:gd name="connsiteY16" fmla="*/ 2818874 h 2963917"/>
              <a:gd name="connsiteX17" fmla="*/ 5183702 w 5410725"/>
              <a:gd name="connsiteY17" fmla="*/ 2900855 h 2963917"/>
              <a:gd name="connsiteX18" fmla="*/ 5410725 w 5410725"/>
              <a:gd name="connsiteY18" fmla="*/ 2944999 h 2963917"/>
              <a:gd name="connsiteX19" fmla="*/ 5215233 w 5410725"/>
              <a:gd name="connsiteY19" fmla="*/ 2963917 h 2963917"/>
              <a:gd name="connsiteX20" fmla="*/ 0 w 5410725"/>
              <a:gd name="connsiteY20" fmla="*/ 2963917 h 2963917"/>
              <a:gd name="connsiteX21" fmla="*/ 0 w 5410725"/>
              <a:gd name="connsiteY21" fmla="*/ 0 h 2963917"/>
              <a:gd name="connsiteX0" fmla="*/ 0 w 5410725"/>
              <a:gd name="connsiteY0" fmla="*/ 0 h 2963917"/>
              <a:gd name="connsiteX1" fmla="*/ 0 w 5410725"/>
              <a:gd name="connsiteY1" fmla="*/ 0 h 2963917"/>
              <a:gd name="connsiteX2" fmla="*/ 315310 w 5410725"/>
              <a:gd name="connsiteY2" fmla="*/ 403597 h 2963917"/>
              <a:gd name="connsiteX3" fmla="*/ 1727900 w 5410725"/>
              <a:gd name="connsiteY3" fmla="*/ 1942312 h 2963917"/>
              <a:gd name="connsiteX4" fmla="*/ 1809881 w 5410725"/>
              <a:gd name="connsiteY4" fmla="*/ 1986455 h 2963917"/>
              <a:gd name="connsiteX5" fmla="*/ 1872943 w 5410725"/>
              <a:gd name="connsiteY5" fmla="*/ 2055823 h 2963917"/>
              <a:gd name="connsiteX6" fmla="*/ 1917087 w 5410725"/>
              <a:gd name="connsiteY6" fmla="*/ 2118886 h 2963917"/>
              <a:gd name="connsiteX7" fmla="*/ 2282847 w 5410725"/>
              <a:gd name="connsiteY7" fmla="*/ 2358521 h 2963917"/>
              <a:gd name="connsiteX8" fmla="*/ 2408971 w 5410725"/>
              <a:gd name="connsiteY8" fmla="*/ 2396359 h 2963917"/>
              <a:gd name="connsiteX9" fmla="*/ 2724281 w 5410725"/>
              <a:gd name="connsiteY9" fmla="*/ 2453114 h 2963917"/>
              <a:gd name="connsiteX10" fmla="*/ 3165716 w 5410725"/>
              <a:gd name="connsiteY10" fmla="*/ 2610770 h 2963917"/>
              <a:gd name="connsiteX11" fmla="*/ 3506251 w 5410725"/>
              <a:gd name="connsiteY11" fmla="*/ 2724281 h 2963917"/>
              <a:gd name="connsiteX12" fmla="*/ 3846786 w 5410725"/>
              <a:gd name="connsiteY12" fmla="*/ 2768425 h 2963917"/>
              <a:gd name="connsiteX13" fmla="*/ 4073809 w 5410725"/>
              <a:gd name="connsiteY13" fmla="*/ 2799956 h 2963917"/>
              <a:gd name="connsiteX14" fmla="*/ 4237771 w 5410725"/>
              <a:gd name="connsiteY14" fmla="*/ 2806262 h 2963917"/>
              <a:gd name="connsiteX15" fmla="*/ 4647674 w 5410725"/>
              <a:gd name="connsiteY15" fmla="*/ 2818874 h 2963917"/>
              <a:gd name="connsiteX16" fmla="*/ 5183702 w 5410725"/>
              <a:gd name="connsiteY16" fmla="*/ 2900855 h 2963917"/>
              <a:gd name="connsiteX17" fmla="*/ 5410725 w 5410725"/>
              <a:gd name="connsiteY17" fmla="*/ 2944999 h 2963917"/>
              <a:gd name="connsiteX18" fmla="*/ 5215233 w 5410725"/>
              <a:gd name="connsiteY18" fmla="*/ 2963917 h 2963917"/>
              <a:gd name="connsiteX19" fmla="*/ 0 w 5410725"/>
              <a:gd name="connsiteY19" fmla="*/ 2963917 h 2963917"/>
              <a:gd name="connsiteX20" fmla="*/ 0 w 5410725"/>
              <a:gd name="connsiteY20" fmla="*/ 0 h 2963917"/>
              <a:gd name="connsiteX0" fmla="*/ 0 w 5410725"/>
              <a:gd name="connsiteY0" fmla="*/ 0 h 2963917"/>
              <a:gd name="connsiteX1" fmla="*/ 0 w 5410725"/>
              <a:gd name="connsiteY1" fmla="*/ 0 h 2963917"/>
              <a:gd name="connsiteX2" fmla="*/ 1727900 w 5410725"/>
              <a:gd name="connsiteY2" fmla="*/ 1942312 h 2963917"/>
              <a:gd name="connsiteX3" fmla="*/ 1809881 w 5410725"/>
              <a:gd name="connsiteY3" fmla="*/ 1986455 h 2963917"/>
              <a:gd name="connsiteX4" fmla="*/ 1872943 w 5410725"/>
              <a:gd name="connsiteY4" fmla="*/ 2055823 h 2963917"/>
              <a:gd name="connsiteX5" fmla="*/ 1917087 w 5410725"/>
              <a:gd name="connsiteY5" fmla="*/ 2118886 h 2963917"/>
              <a:gd name="connsiteX6" fmla="*/ 2282847 w 5410725"/>
              <a:gd name="connsiteY6" fmla="*/ 2358521 h 2963917"/>
              <a:gd name="connsiteX7" fmla="*/ 2408971 w 5410725"/>
              <a:gd name="connsiteY7" fmla="*/ 2396359 h 2963917"/>
              <a:gd name="connsiteX8" fmla="*/ 2724281 w 5410725"/>
              <a:gd name="connsiteY8" fmla="*/ 2453114 h 2963917"/>
              <a:gd name="connsiteX9" fmla="*/ 3165716 w 5410725"/>
              <a:gd name="connsiteY9" fmla="*/ 2610770 h 2963917"/>
              <a:gd name="connsiteX10" fmla="*/ 3506251 w 5410725"/>
              <a:gd name="connsiteY10" fmla="*/ 2724281 h 2963917"/>
              <a:gd name="connsiteX11" fmla="*/ 3846786 w 5410725"/>
              <a:gd name="connsiteY11" fmla="*/ 2768425 h 2963917"/>
              <a:gd name="connsiteX12" fmla="*/ 4073809 w 5410725"/>
              <a:gd name="connsiteY12" fmla="*/ 2799956 h 2963917"/>
              <a:gd name="connsiteX13" fmla="*/ 4237771 w 5410725"/>
              <a:gd name="connsiteY13" fmla="*/ 2806262 h 2963917"/>
              <a:gd name="connsiteX14" fmla="*/ 4647674 w 5410725"/>
              <a:gd name="connsiteY14" fmla="*/ 2818874 h 2963917"/>
              <a:gd name="connsiteX15" fmla="*/ 5183702 w 5410725"/>
              <a:gd name="connsiteY15" fmla="*/ 2900855 h 2963917"/>
              <a:gd name="connsiteX16" fmla="*/ 5410725 w 5410725"/>
              <a:gd name="connsiteY16" fmla="*/ 2944999 h 2963917"/>
              <a:gd name="connsiteX17" fmla="*/ 5215233 w 5410725"/>
              <a:gd name="connsiteY17" fmla="*/ 2963917 h 2963917"/>
              <a:gd name="connsiteX18" fmla="*/ 0 w 5410725"/>
              <a:gd name="connsiteY18" fmla="*/ 2963917 h 2963917"/>
              <a:gd name="connsiteX19" fmla="*/ 0 w 5410725"/>
              <a:gd name="connsiteY19" fmla="*/ 0 h 2963917"/>
              <a:gd name="connsiteX0" fmla="*/ 0 w 5410725"/>
              <a:gd name="connsiteY0" fmla="*/ 0 h 2963917"/>
              <a:gd name="connsiteX1" fmla="*/ 0 w 5410725"/>
              <a:gd name="connsiteY1" fmla="*/ 0 h 2963917"/>
              <a:gd name="connsiteX2" fmla="*/ 1727900 w 5410725"/>
              <a:gd name="connsiteY2" fmla="*/ 1942312 h 2963917"/>
              <a:gd name="connsiteX3" fmla="*/ 1872943 w 5410725"/>
              <a:gd name="connsiteY3" fmla="*/ 2055823 h 2963917"/>
              <a:gd name="connsiteX4" fmla="*/ 1917087 w 5410725"/>
              <a:gd name="connsiteY4" fmla="*/ 2118886 h 2963917"/>
              <a:gd name="connsiteX5" fmla="*/ 2282847 w 5410725"/>
              <a:gd name="connsiteY5" fmla="*/ 2358521 h 2963917"/>
              <a:gd name="connsiteX6" fmla="*/ 2408971 w 5410725"/>
              <a:gd name="connsiteY6" fmla="*/ 2396359 h 2963917"/>
              <a:gd name="connsiteX7" fmla="*/ 2724281 w 5410725"/>
              <a:gd name="connsiteY7" fmla="*/ 2453114 h 2963917"/>
              <a:gd name="connsiteX8" fmla="*/ 3165716 w 5410725"/>
              <a:gd name="connsiteY8" fmla="*/ 2610770 h 2963917"/>
              <a:gd name="connsiteX9" fmla="*/ 3506251 w 5410725"/>
              <a:gd name="connsiteY9" fmla="*/ 2724281 h 2963917"/>
              <a:gd name="connsiteX10" fmla="*/ 3846786 w 5410725"/>
              <a:gd name="connsiteY10" fmla="*/ 2768425 h 2963917"/>
              <a:gd name="connsiteX11" fmla="*/ 4073809 w 5410725"/>
              <a:gd name="connsiteY11" fmla="*/ 2799956 h 2963917"/>
              <a:gd name="connsiteX12" fmla="*/ 4237771 w 5410725"/>
              <a:gd name="connsiteY12" fmla="*/ 2806262 h 2963917"/>
              <a:gd name="connsiteX13" fmla="*/ 4647674 w 5410725"/>
              <a:gd name="connsiteY13" fmla="*/ 2818874 h 2963917"/>
              <a:gd name="connsiteX14" fmla="*/ 5183702 w 5410725"/>
              <a:gd name="connsiteY14" fmla="*/ 2900855 h 2963917"/>
              <a:gd name="connsiteX15" fmla="*/ 5410725 w 5410725"/>
              <a:gd name="connsiteY15" fmla="*/ 2944999 h 2963917"/>
              <a:gd name="connsiteX16" fmla="*/ 5215233 w 5410725"/>
              <a:gd name="connsiteY16" fmla="*/ 2963917 h 2963917"/>
              <a:gd name="connsiteX17" fmla="*/ 0 w 5410725"/>
              <a:gd name="connsiteY17" fmla="*/ 2963917 h 2963917"/>
              <a:gd name="connsiteX18" fmla="*/ 0 w 5410725"/>
              <a:gd name="connsiteY18" fmla="*/ 0 h 2963917"/>
              <a:gd name="connsiteX0" fmla="*/ 0 w 5410725"/>
              <a:gd name="connsiteY0" fmla="*/ 0 h 2963917"/>
              <a:gd name="connsiteX1" fmla="*/ 0 w 5410725"/>
              <a:gd name="connsiteY1" fmla="*/ 0 h 2963917"/>
              <a:gd name="connsiteX2" fmla="*/ 1727900 w 5410725"/>
              <a:gd name="connsiteY2" fmla="*/ 1942312 h 2963917"/>
              <a:gd name="connsiteX3" fmla="*/ 1917087 w 5410725"/>
              <a:gd name="connsiteY3" fmla="*/ 2118886 h 2963917"/>
              <a:gd name="connsiteX4" fmla="*/ 2282847 w 5410725"/>
              <a:gd name="connsiteY4" fmla="*/ 2358521 h 2963917"/>
              <a:gd name="connsiteX5" fmla="*/ 2408971 w 5410725"/>
              <a:gd name="connsiteY5" fmla="*/ 2396359 h 2963917"/>
              <a:gd name="connsiteX6" fmla="*/ 2724281 w 5410725"/>
              <a:gd name="connsiteY6" fmla="*/ 2453114 h 2963917"/>
              <a:gd name="connsiteX7" fmla="*/ 3165716 w 5410725"/>
              <a:gd name="connsiteY7" fmla="*/ 2610770 h 2963917"/>
              <a:gd name="connsiteX8" fmla="*/ 3506251 w 5410725"/>
              <a:gd name="connsiteY8" fmla="*/ 2724281 h 2963917"/>
              <a:gd name="connsiteX9" fmla="*/ 3846786 w 5410725"/>
              <a:gd name="connsiteY9" fmla="*/ 2768425 h 2963917"/>
              <a:gd name="connsiteX10" fmla="*/ 4073809 w 5410725"/>
              <a:gd name="connsiteY10" fmla="*/ 2799956 h 2963917"/>
              <a:gd name="connsiteX11" fmla="*/ 4237771 w 5410725"/>
              <a:gd name="connsiteY11" fmla="*/ 2806262 h 2963917"/>
              <a:gd name="connsiteX12" fmla="*/ 4647674 w 5410725"/>
              <a:gd name="connsiteY12" fmla="*/ 2818874 h 2963917"/>
              <a:gd name="connsiteX13" fmla="*/ 5183702 w 5410725"/>
              <a:gd name="connsiteY13" fmla="*/ 2900855 h 2963917"/>
              <a:gd name="connsiteX14" fmla="*/ 5410725 w 5410725"/>
              <a:gd name="connsiteY14" fmla="*/ 2944999 h 2963917"/>
              <a:gd name="connsiteX15" fmla="*/ 5215233 w 5410725"/>
              <a:gd name="connsiteY15" fmla="*/ 2963917 h 2963917"/>
              <a:gd name="connsiteX16" fmla="*/ 0 w 5410725"/>
              <a:gd name="connsiteY16" fmla="*/ 2963917 h 2963917"/>
              <a:gd name="connsiteX17" fmla="*/ 0 w 5410725"/>
              <a:gd name="connsiteY17" fmla="*/ 0 h 2963917"/>
              <a:gd name="connsiteX0" fmla="*/ 0 w 5410725"/>
              <a:gd name="connsiteY0" fmla="*/ 0 h 2963917"/>
              <a:gd name="connsiteX1" fmla="*/ 0 w 5410725"/>
              <a:gd name="connsiteY1" fmla="*/ 0 h 2963917"/>
              <a:gd name="connsiteX2" fmla="*/ 1727900 w 5410725"/>
              <a:gd name="connsiteY2" fmla="*/ 1942312 h 2963917"/>
              <a:gd name="connsiteX3" fmla="*/ 2282847 w 5410725"/>
              <a:gd name="connsiteY3" fmla="*/ 2358521 h 2963917"/>
              <a:gd name="connsiteX4" fmla="*/ 2408971 w 5410725"/>
              <a:gd name="connsiteY4" fmla="*/ 2396359 h 2963917"/>
              <a:gd name="connsiteX5" fmla="*/ 2724281 w 5410725"/>
              <a:gd name="connsiteY5" fmla="*/ 2453114 h 2963917"/>
              <a:gd name="connsiteX6" fmla="*/ 3165716 w 5410725"/>
              <a:gd name="connsiteY6" fmla="*/ 2610770 h 2963917"/>
              <a:gd name="connsiteX7" fmla="*/ 3506251 w 5410725"/>
              <a:gd name="connsiteY7" fmla="*/ 2724281 h 2963917"/>
              <a:gd name="connsiteX8" fmla="*/ 3846786 w 5410725"/>
              <a:gd name="connsiteY8" fmla="*/ 2768425 h 2963917"/>
              <a:gd name="connsiteX9" fmla="*/ 4073809 w 5410725"/>
              <a:gd name="connsiteY9" fmla="*/ 2799956 h 2963917"/>
              <a:gd name="connsiteX10" fmla="*/ 4237771 w 5410725"/>
              <a:gd name="connsiteY10" fmla="*/ 2806262 h 2963917"/>
              <a:gd name="connsiteX11" fmla="*/ 4647674 w 5410725"/>
              <a:gd name="connsiteY11" fmla="*/ 2818874 h 2963917"/>
              <a:gd name="connsiteX12" fmla="*/ 5183702 w 5410725"/>
              <a:gd name="connsiteY12" fmla="*/ 2900855 h 2963917"/>
              <a:gd name="connsiteX13" fmla="*/ 5410725 w 5410725"/>
              <a:gd name="connsiteY13" fmla="*/ 2944999 h 2963917"/>
              <a:gd name="connsiteX14" fmla="*/ 5215233 w 5410725"/>
              <a:gd name="connsiteY14" fmla="*/ 2963917 h 2963917"/>
              <a:gd name="connsiteX15" fmla="*/ 0 w 5410725"/>
              <a:gd name="connsiteY15" fmla="*/ 2963917 h 2963917"/>
              <a:gd name="connsiteX16" fmla="*/ 0 w 5410725"/>
              <a:gd name="connsiteY16" fmla="*/ 0 h 2963917"/>
              <a:gd name="connsiteX0" fmla="*/ 0 w 5612322"/>
              <a:gd name="connsiteY0" fmla="*/ 0 h 2963917"/>
              <a:gd name="connsiteX1" fmla="*/ 0 w 5612322"/>
              <a:gd name="connsiteY1" fmla="*/ 0 h 2963917"/>
              <a:gd name="connsiteX2" fmla="*/ 1727900 w 5612322"/>
              <a:gd name="connsiteY2" fmla="*/ 1942312 h 2963917"/>
              <a:gd name="connsiteX3" fmla="*/ 2282847 w 5612322"/>
              <a:gd name="connsiteY3" fmla="*/ 2358521 h 2963917"/>
              <a:gd name="connsiteX4" fmla="*/ 2408971 w 5612322"/>
              <a:gd name="connsiteY4" fmla="*/ 2396359 h 2963917"/>
              <a:gd name="connsiteX5" fmla="*/ 2724281 w 5612322"/>
              <a:gd name="connsiteY5" fmla="*/ 2453114 h 2963917"/>
              <a:gd name="connsiteX6" fmla="*/ 3165716 w 5612322"/>
              <a:gd name="connsiteY6" fmla="*/ 2610770 h 2963917"/>
              <a:gd name="connsiteX7" fmla="*/ 3506251 w 5612322"/>
              <a:gd name="connsiteY7" fmla="*/ 2724281 h 2963917"/>
              <a:gd name="connsiteX8" fmla="*/ 3846786 w 5612322"/>
              <a:gd name="connsiteY8" fmla="*/ 2768425 h 2963917"/>
              <a:gd name="connsiteX9" fmla="*/ 4073809 w 5612322"/>
              <a:gd name="connsiteY9" fmla="*/ 2799956 h 2963917"/>
              <a:gd name="connsiteX10" fmla="*/ 4237771 w 5612322"/>
              <a:gd name="connsiteY10" fmla="*/ 2806262 h 2963917"/>
              <a:gd name="connsiteX11" fmla="*/ 4647674 w 5612322"/>
              <a:gd name="connsiteY11" fmla="*/ 2818874 h 2963917"/>
              <a:gd name="connsiteX12" fmla="*/ 5183702 w 5612322"/>
              <a:gd name="connsiteY12" fmla="*/ 2900855 h 2963917"/>
              <a:gd name="connsiteX13" fmla="*/ 5215233 w 5612322"/>
              <a:gd name="connsiteY13" fmla="*/ 2963917 h 2963917"/>
              <a:gd name="connsiteX14" fmla="*/ 0 w 5612322"/>
              <a:gd name="connsiteY14" fmla="*/ 2963917 h 2963917"/>
              <a:gd name="connsiteX15" fmla="*/ 0 w 5612322"/>
              <a:gd name="connsiteY15" fmla="*/ 0 h 2963917"/>
              <a:gd name="connsiteX0" fmla="*/ 0 w 5476421"/>
              <a:gd name="connsiteY0" fmla="*/ 0 h 2963917"/>
              <a:gd name="connsiteX1" fmla="*/ 0 w 5476421"/>
              <a:gd name="connsiteY1" fmla="*/ 0 h 2963917"/>
              <a:gd name="connsiteX2" fmla="*/ 1727900 w 5476421"/>
              <a:gd name="connsiteY2" fmla="*/ 1942312 h 2963917"/>
              <a:gd name="connsiteX3" fmla="*/ 2282847 w 5476421"/>
              <a:gd name="connsiteY3" fmla="*/ 2358521 h 2963917"/>
              <a:gd name="connsiteX4" fmla="*/ 2408971 w 5476421"/>
              <a:gd name="connsiteY4" fmla="*/ 2396359 h 2963917"/>
              <a:gd name="connsiteX5" fmla="*/ 2724281 w 5476421"/>
              <a:gd name="connsiteY5" fmla="*/ 2453114 h 2963917"/>
              <a:gd name="connsiteX6" fmla="*/ 3165716 w 5476421"/>
              <a:gd name="connsiteY6" fmla="*/ 2610770 h 2963917"/>
              <a:gd name="connsiteX7" fmla="*/ 3506251 w 5476421"/>
              <a:gd name="connsiteY7" fmla="*/ 2724281 h 2963917"/>
              <a:gd name="connsiteX8" fmla="*/ 3846786 w 5476421"/>
              <a:gd name="connsiteY8" fmla="*/ 2768425 h 2963917"/>
              <a:gd name="connsiteX9" fmla="*/ 4073809 w 5476421"/>
              <a:gd name="connsiteY9" fmla="*/ 2799956 h 2963917"/>
              <a:gd name="connsiteX10" fmla="*/ 4237771 w 5476421"/>
              <a:gd name="connsiteY10" fmla="*/ 2806262 h 2963917"/>
              <a:gd name="connsiteX11" fmla="*/ 4647674 w 5476421"/>
              <a:gd name="connsiteY11" fmla="*/ 2818874 h 2963917"/>
              <a:gd name="connsiteX12" fmla="*/ 5215233 w 5476421"/>
              <a:gd name="connsiteY12" fmla="*/ 2963917 h 2963917"/>
              <a:gd name="connsiteX13" fmla="*/ 0 w 5476421"/>
              <a:gd name="connsiteY13" fmla="*/ 2963917 h 2963917"/>
              <a:gd name="connsiteX14" fmla="*/ 0 w 5476421"/>
              <a:gd name="connsiteY14" fmla="*/ 0 h 2963917"/>
              <a:gd name="connsiteX0" fmla="*/ 0 w 5215233"/>
              <a:gd name="connsiteY0" fmla="*/ 0 h 2963917"/>
              <a:gd name="connsiteX1" fmla="*/ 0 w 5215233"/>
              <a:gd name="connsiteY1" fmla="*/ 0 h 2963917"/>
              <a:gd name="connsiteX2" fmla="*/ 1727900 w 5215233"/>
              <a:gd name="connsiteY2" fmla="*/ 1942312 h 2963917"/>
              <a:gd name="connsiteX3" fmla="*/ 2282847 w 5215233"/>
              <a:gd name="connsiteY3" fmla="*/ 2358521 h 2963917"/>
              <a:gd name="connsiteX4" fmla="*/ 2408971 w 5215233"/>
              <a:gd name="connsiteY4" fmla="*/ 2396359 h 2963917"/>
              <a:gd name="connsiteX5" fmla="*/ 2724281 w 5215233"/>
              <a:gd name="connsiteY5" fmla="*/ 2453114 h 2963917"/>
              <a:gd name="connsiteX6" fmla="*/ 3165716 w 5215233"/>
              <a:gd name="connsiteY6" fmla="*/ 2610770 h 2963917"/>
              <a:gd name="connsiteX7" fmla="*/ 3506251 w 5215233"/>
              <a:gd name="connsiteY7" fmla="*/ 2724281 h 2963917"/>
              <a:gd name="connsiteX8" fmla="*/ 3846786 w 5215233"/>
              <a:gd name="connsiteY8" fmla="*/ 2768425 h 2963917"/>
              <a:gd name="connsiteX9" fmla="*/ 4073809 w 5215233"/>
              <a:gd name="connsiteY9" fmla="*/ 2799956 h 2963917"/>
              <a:gd name="connsiteX10" fmla="*/ 4237771 w 5215233"/>
              <a:gd name="connsiteY10" fmla="*/ 2806262 h 2963917"/>
              <a:gd name="connsiteX11" fmla="*/ 5215233 w 5215233"/>
              <a:gd name="connsiteY11" fmla="*/ 2963917 h 2963917"/>
              <a:gd name="connsiteX12" fmla="*/ 0 w 5215233"/>
              <a:gd name="connsiteY12" fmla="*/ 2963917 h 2963917"/>
              <a:gd name="connsiteX13" fmla="*/ 0 w 5215233"/>
              <a:gd name="connsiteY13" fmla="*/ 0 h 2963917"/>
              <a:gd name="connsiteX0" fmla="*/ 0 w 5382510"/>
              <a:gd name="connsiteY0" fmla="*/ 0 h 2963917"/>
              <a:gd name="connsiteX1" fmla="*/ 0 w 5382510"/>
              <a:gd name="connsiteY1" fmla="*/ 0 h 2963917"/>
              <a:gd name="connsiteX2" fmla="*/ 1727900 w 5382510"/>
              <a:gd name="connsiteY2" fmla="*/ 1942312 h 2963917"/>
              <a:gd name="connsiteX3" fmla="*/ 2282847 w 5382510"/>
              <a:gd name="connsiteY3" fmla="*/ 2358521 h 2963917"/>
              <a:gd name="connsiteX4" fmla="*/ 2408971 w 5382510"/>
              <a:gd name="connsiteY4" fmla="*/ 2396359 h 2963917"/>
              <a:gd name="connsiteX5" fmla="*/ 2724281 w 5382510"/>
              <a:gd name="connsiteY5" fmla="*/ 2453114 h 2963917"/>
              <a:gd name="connsiteX6" fmla="*/ 3165716 w 5382510"/>
              <a:gd name="connsiteY6" fmla="*/ 2610770 h 2963917"/>
              <a:gd name="connsiteX7" fmla="*/ 3506251 w 5382510"/>
              <a:gd name="connsiteY7" fmla="*/ 2724281 h 2963917"/>
              <a:gd name="connsiteX8" fmla="*/ 3846786 w 5382510"/>
              <a:gd name="connsiteY8" fmla="*/ 2768425 h 2963917"/>
              <a:gd name="connsiteX9" fmla="*/ 4073809 w 5382510"/>
              <a:gd name="connsiteY9" fmla="*/ 2799956 h 2963917"/>
              <a:gd name="connsiteX10" fmla="*/ 5215233 w 5382510"/>
              <a:gd name="connsiteY10" fmla="*/ 2963917 h 2963917"/>
              <a:gd name="connsiteX11" fmla="*/ 0 w 5382510"/>
              <a:gd name="connsiteY11" fmla="*/ 2963917 h 2963917"/>
              <a:gd name="connsiteX12" fmla="*/ 0 w 5382510"/>
              <a:gd name="connsiteY12" fmla="*/ 0 h 2963917"/>
              <a:gd name="connsiteX0" fmla="*/ 0 w 5357010"/>
              <a:gd name="connsiteY0" fmla="*/ 0 h 2963917"/>
              <a:gd name="connsiteX1" fmla="*/ 0 w 5357010"/>
              <a:gd name="connsiteY1" fmla="*/ 0 h 2963917"/>
              <a:gd name="connsiteX2" fmla="*/ 1727900 w 5357010"/>
              <a:gd name="connsiteY2" fmla="*/ 1942312 h 2963917"/>
              <a:gd name="connsiteX3" fmla="*/ 2282847 w 5357010"/>
              <a:gd name="connsiteY3" fmla="*/ 2358521 h 2963917"/>
              <a:gd name="connsiteX4" fmla="*/ 2408971 w 5357010"/>
              <a:gd name="connsiteY4" fmla="*/ 2396359 h 2963917"/>
              <a:gd name="connsiteX5" fmla="*/ 2724281 w 5357010"/>
              <a:gd name="connsiteY5" fmla="*/ 2453114 h 2963917"/>
              <a:gd name="connsiteX6" fmla="*/ 3165716 w 5357010"/>
              <a:gd name="connsiteY6" fmla="*/ 2610770 h 2963917"/>
              <a:gd name="connsiteX7" fmla="*/ 3506251 w 5357010"/>
              <a:gd name="connsiteY7" fmla="*/ 2724281 h 2963917"/>
              <a:gd name="connsiteX8" fmla="*/ 3846786 w 5357010"/>
              <a:gd name="connsiteY8" fmla="*/ 2768425 h 2963917"/>
              <a:gd name="connsiteX9" fmla="*/ 5215233 w 5357010"/>
              <a:gd name="connsiteY9" fmla="*/ 2963917 h 2963917"/>
              <a:gd name="connsiteX10" fmla="*/ 0 w 5357010"/>
              <a:gd name="connsiteY10" fmla="*/ 2963917 h 2963917"/>
              <a:gd name="connsiteX11" fmla="*/ 0 w 5357010"/>
              <a:gd name="connsiteY11" fmla="*/ 0 h 2963917"/>
              <a:gd name="connsiteX0" fmla="*/ 0 w 5323675"/>
              <a:gd name="connsiteY0" fmla="*/ 0 h 2963917"/>
              <a:gd name="connsiteX1" fmla="*/ 0 w 5323675"/>
              <a:gd name="connsiteY1" fmla="*/ 0 h 2963917"/>
              <a:gd name="connsiteX2" fmla="*/ 1727900 w 5323675"/>
              <a:gd name="connsiteY2" fmla="*/ 1942312 h 2963917"/>
              <a:gd name="connsiteX3" fmla="*/ 2282847 w 5323675"/>
              <a:gd name="connsiteY3" fmla="*/ 2358521 h 2963917"/>
              <a:gd name="connsiteX4" fmla="*/ 2408971 w 5323675"/>
              <a:gd name="connsiteY4" fmla="*/ 2396359 h 2963917"/>
              <a:gd name="connsiteX5" fmla="*/ 2724281 w 5323675"/>
              <a:gd name="connsiteY5" fmla="*/ 2453114 h 2963917"/>
              <a:gd name="connsiteX6" fmla="*/ 3165716 w 5323675"/>
              <a:gd name="connsiteY6" fmla="*/ 2610770 h 2963917"/>
              <a:gd name="connsiteX7" fmla="*/ 3506251 w 5323675"/>
              <a:gd name="connsiteY7" fmla="*/ 2724281 h 2963917"/>
              <a:gd name="connsiteX8" fmla="*/ 5215233 w 5323675"/>
              <a:gd name="connsiteY8" fmla="*/ 2963917 h 2963917"/>
              <a:gd name="connsiteX9" fmla="*/ 0 w 5323675"/>
              <a:gd name="connsiteY9" fmla="*/ 2963917 h 2963917"/>
              <a:gd name="connsiteX10" fmla="*/ 0 w 5323675"/>
              <a:gd name="connsiteY10" fmla="*/ 0 h 2963917"/>
              <a:gd name="connsiteX0" fmla="*/ 0 w 5297656"/>
              <a:gd name="connsiteY0" fmla="*/ 0 h 2963917"/>
              <a:gd name="connsiteX1" fmla="*/ 0 w 5297656"/>
              <a:gd name="connsiteY1" fmla="*/ 0 h 2963917"/>
              <a:gd name="connsiteX2" fmla="*/ 1727900 w 5297656"/>
              <a:gd name="connsiteY2" fmla="*/ 1942312 h 2963917"/>
              <a:gd name="connsiteX3" fmla="*/ 2282847 w 5297656"/>
              <a:gd name="connsiteY3" fmla="*/ 2358521 h 2963917"/>
              <a:gd name="connsiteX4" fmla="*/ 2408971 w 5297656"/>
              <a:gd name="connsiteY4" fmla="*/ 2396359 h 2963917"/>
              <a:gd name="connsiteX5" fmla="*/ 2724281 w 5297656"/>
              <a:gd name="connsiteY5" fmla="*/ 2453114 h 2963917"/>
              <a:gd name="connsiteX6" fmla="*/ 3165716 w 5297656"/>
              <a:gd name="connsiteY6" fmla="*/ 2610770 h 2963917"/>
              <a:gd name="connsiteX7" fmla="*/ 5215233 w 5297656"/>
              <a:gd name="connsiteY7" fmla="*/ 2963917 h 2963917"/>
              <a:gd name="connsiteX8" fmla="*/ 0 w 5297656"/>
              <a:gd name="connsiteY8" fmla="*/ 2963917 h 2963917"/>
              <a:gd name="connsiteX9" fmla="*/ 0 w 5297656"/>
              <a:gd name="connsiteY9" fmla="*/ 0 h 2963917"/>
              <a:gd name="connsiteX0" fmla="*/ 0 w 5270534"/>
              <a:gd name="connsiteY0" fmla="*/ 0 h 2963917"/>
              <a:gd name="connsiteX1" fmla="*/ 0 w 5270534"/>
              <a:gd name="connsiteY1" fmla="*/ 0 h 2963917"/>
              <a:gd name="connsiteX2" fmla="*/ 1727900 w 5270534"/>
              <a:gd name="connsiteY2" fmla="*/ 1942312 h 2963917"/>
              <a:gd name="connsiteX3" fmla="*/ 2282847 w 5270534"/>
              <a:gd name="connsiteY3" fmla="*/ 2358521 h 2963917"/>
              <a:gd name="connsiteX4" fmla="*/ 2408971 w 5270534"/>
              <a:gd name="connsiteY4" fmla="*/ 2396359 h 2963917"/>
              <a:gd name="connsiteX5" fmla="*/ 2724281 w 5270534"/>
              <a:gd name="connsiteY5" fmla="*/ 2453114 h 2963917"/>
              <a:gd name="connsiteX6" fmla="*/ 5215233 w 5270534"/>
              <a:gd name="connsiteY6" fmla="*/ 2963917 h 2963917"/>
              <a:gd name="connsiteX7" fmla="*/ 0 w 5270534"/>
              <a:gd name="connsiteY7" fmla="*/ 2963917 h 2963917"/>
              <a:gd name="connsiteX8" fmla="*/ 0 w 5270534"/>
              <a:gd name="connsiteY8" fmla="*/ 0 h 2963917"/>
              <a:gd name="connsiteX0" fmla="*/ 0 w 5255533"/>
              <a:gd name="connsiteY0" fmla="*/ 0 h 2963917"/>
              <a:gd name="connsiteX1" fmla="*/ 0 w 5255533"/>
              <a:gd name="connsiteY1" fmla="*/ 0 h 2963917"/>
              <a:gd name="connsiteX2" fmla="*/ 1727900 w 5255533"/>
              <a:gd name="connsiteY2" fmla="*/ 1942312 h 2963917"/>
              <a:gd name="connsiteX3" fmla="*/ 2282847 w 5255533"/>
              <a:gd name="connsiteY3" fmla="*/ 2358521 h 2963917"/>
              <a:gd name="connsiteX4" fmla="*/ 2408971 w 5255533"/>
              <a:gd name="connsiteY4" fmla="*/ 2396359 h 2963917"/>
              <a:gd name="connsiteX5" fmla="*/ 5215233 w 5255533"/>
              <a:gd name="connsiteY5" fmla="*/ 2963917 h 2963917"/>
              <a:gd name="connsiteX6" fmla="*/ 0 w 5255533"/>
              <a:gd name="connsiteY6" fmla="*/ 2963917 h 2963917"/>
              <a:gd name="connsiteX7" fmla="*/ 0 w 5255533"/>
              <a:gd name="connsiteY7" fmla="*/ 0 h 2963917"/>
              <a:gd name="connsiteX0" fmla="*/ 0 w 5251425"/>
              <a:gd name="connsiteY0" fmla="*/ 0 h 2963917"/>
              <a:gd name="connsiteX1" fmla="*/ 0 w 5251425"/>
              <a:gd name="connsiteY1" fmla="*/ 0 h 2963917"/>
              <a:gd name="connsiteX2" fmla="*/ 1727900 w 5251425"/>
              <a:gd name="connsiteY2" fmla="*/ 1942312 h 2963917"/>
              <a:gd name="connsiteX3" fmla="*/ 2282847 w 5251425"/>
              <a:gd name="connsiteY3" fmla="*/ 2358521 h 2963917"/>
              <a:gd name="connsiteX4" fmla="*/ 5215233 w 5251425"/>
              <a:gd name="connsiteY4" fmla="*/ 2963917 h 2963917"/>
              <a:gd name="connsiteX5" fmla="*/ 0 w 5251425"/>
              <a:gd name="connsiteY5" fmla="*/ 2963917 h 2963917"/>
              <a:gd name="connsiteX6" fmla="*/ 0 w 5251425"/>
              <a:gd name="connsiteY6" fmla="*/ 0 h 2963917"/>
              <a:gd name="connsiteX0" fmla="*/ 0 w 5235214"/>
              <a:gd name="connsiteY0" fmla="*/ 0 h 2963917"/>
              <a:gd name="connsiteX1" fmla="*/ 0 w 5235214"/>
              <a:gd name="connsiteY1" fmla="*/ 0 h 2963917"/>
              <a:gd name="connsiteX2" fmla="*/ 1727900 w 5235214"/>
              <a:gd name="connsiteY2" fmla="*/ 1942312 h 2963917"/>
              <a:gd name="connsiteX3" fmla="*/ 5215233 w 5235214"/>
              <a:gd name="connsiteY3" fmla="*/ 2963917 h 2963917"/>
              <a:gd name="connsiteX4" fmla="*/ 0 w 5235214"/>
              <a:gd name="connsiteY4" fmla="*/ 2963917 h 2963917"/>
              <a:gd name="connsiteX5" fmla="*/ 0 w 5235214"/>
              <a:gd name="connsiteY5" fmla="*/ 0 h 2963917"/>
              <a:gd name="connsiteX0" fmla="*/ 0 w 5215233"/>
              <a:gd name="connsiteY0" fmla="*/ 0 h 2963917"/>
              <a:gd name="connsiteX1" fmla="*/ 0 w 5215233"/>
              <a:gd name="connsiteY1" fmla="*/ 0 h 2963917"/>
              <a:gd name="connsiteX2" fmla="*/ 1727900 w 5215233"/>
              <a:gd name="connsiteY2" fmla="*/ 1942312 h 2963917"/>
              <a:gd name="connsiteX3" fmla="*/ 5215233 w 5215233"/>
              <a:gd name="connsiteY3" fmla="*/ 2963917 h 2963917"/>
              <a:gd name="connsiteX4" fmla="*/ 0 w 5215233"/>
              <a:gd name="connsiteY4" fmla="*/ 2963917 h 2963917"/>
              <a:gd name="connsiteX5" fmla="*/ 0 w 5215233"/>
              <a:gd name="connsiteY5" fmla="*/ 0 h 2963917"/>
              <a:gd name="connsiteX0" fmla="*/ 0 w 5215233"/>
              <a:gd name="connsiteY0" fmla="*/ 0 h 2963917"/>
              <a:gd name="connsiteX1" fmla="*/ 0 w 5215233"/>
              <a:gd name="connsiteY1" fmla="*/ 0 h 2963917"/>
              <a:gd name="connsiteX2" fmla="*/ 1683757 w 5215233"/>
              <a:gd name="connsiteY2" fmla="*/ 2043211 h 2963917"/>
              <a:gd name="connsiteX3" fmla="*/ 5215233 w 5215233"/>
              <a:gd name="connsiteY3" fmla="*/ 2963917 h 2963917"/>
              <a:gd name="connsiteX4" fmla="*/ 0 w 5215233"/>
              <a:gd name="connsiteY4" fmla="*/ 2963917 h 2963917"/>
              <a:gd name="connsiteX5" fmla="*/ 0 w 5215233"/>
              <a:gd name="connsiteY5" fmla="*/ 0 h 2963917"/>
              <a:gd name="connsiteX0" fmla="*/ 0 w 5215233"/>
              <a:gd name="connsiteY0" fmla="*/ 0 h 2963917"/>
              <a:gd name="connsiteX1" fmla="*/ 0 w 5215233"/>
              <a:gd name="connsiteY1" fmla="*/ 0 h 2963917"/>
              <a:gd name="connsiteX2" fmla="*/ 1652226 w 5215233"/>
              <a:gd name="connsiteY2" fmla="*/ 2125192 h 2963917"/>
              <a:gd name="connsiteX3" fmla="*/ 5215233 w 5215233"/>
              <a:gd name="connsiteY3" fmla="*/ 2963917 h 2963917"/>
              <a:gd name="connsiteX4" fmla="*/ 0 w 5215233"/>
              <a:gd name="connsiteY4" fmla="*/ 2963917 h 2963917"/>
              <a:gd name="connsiteX5" fmla="*/ 0 w 5215233"/>
              <a:gd name="connsiteY5" fmla="*/ 0 h 2963917"/>
              <a:gd name="connsiteX0" fmla="*/ 0 w 5215233"/>
              <a:gd name="connsiteY0" fmla="*/ 0 h 2963917"/>
              <a:gd name="connsiteX1" fmla="*/ 0 w 5215233"/>
              <a:gd name="connsiteY1" fmla="*/ 0 h 2963917"/>
              <a:gd name="connsiteX2" fmla="*/ 2030598 w 5215233"/>
              <a:gd name="connsiteY2" fmla="*/ 2333296 h 2963917"/>
              <a:gd name="connsiteX3" fmla="*/ 5215233 w 5215233"/>
              <a:gd name="connsiteY3" fmla="*/ 2963917 h 2963917"/>
              <a:gd name="connsiteX4" fmla="*/ 0 w 5215233"/>
              <a:gd name="connsiteY4" fmla="*/ 2963917 h 2963917"/>
              <a:gd name="connsiteX5" fmla="*/ 0 w 5215233"/>
              <a:gd name="connsiteY5" fmla="*/ 0 h 2963917"/>
              <a:gd name="connsiteX0" fmla="*/ 0 w 5215233"/>
              <a:gd name="connsiteY0" fmla="*/ 0 h 2963917"/>
              <a:gd name="connsiteX1" fmla="*/ 0 w 5215233"/>
              <a:gd name="connsiteY1" fmla="*/ 0 h 2963917"/>
              <a:gd name="connsiteX2" fmla="*/ 2030598 w 5215233"/>
              <a:gd name="connsiteY2" fmla="*/ 2333296 h 2963917"/>
              <a:gd name="connsiteX3" fmla="*/ 5215233 w 5215233"/>
              <a:gd name="connsiteY3" fmla="*/ 2963917 h 2963917"/>
              <a:gd name="connsiteX4" fmla="*/ 0 w 5215233"/>
              <a:gd name="connsiteY4" fmla="*/ 2963917 h 2963917"/>
              <a:gd name="connsiteX5" fmla="*/ 0 w 5215233"/>
              <a:gd name="connsiteY5" fmla="*/ 0 h 2963917"/>
              <a:gd name="connsiteX0" fmla="*/ 0 w 5215233"/>
              <a:gd name="connsiteY0" fmla="*/ 0 h 2963917"/>
              <a:gd name="connsiteX1" fmla="*/ 0 w 5215233"/>
              <a:gd name="connsiteY1" fmla="*/ 0 h 2963917"/>
              <a:gd name="connsiteX2" fmla="*/ 2049516 w 5215233"/>
              <a:gd name="connsiteY2" fmla="*/ 2326989 h 2963917"/>
              <a:gd name="connsiteX3" fmla="*/ 5215233 w 5215233"/>
              <a:gd name="connsiteY3" fmla="*/ 2963917 h 2963917"/>
              <a:gd name="connsiteX4" fmla="*/ 0 w 5215233"/>
              <a:gd name="connsiteY4" fmla="*/ 2963917 h 2963917"/>
              <a:gd name="connsiteX5" fmla="*/ 0 w 5215233"/>
              <a:gd name="connsiteY5" fmla="*/ 0 h 2963917"/>
              <a:gd name="connsiteX0" fmla="*/ 0 w 5215233"/>
              <a:gd name="connsiteY0" fmla="*/ 0 h 2963917"/>
              <a:gd name="connsiteX1" fmla="*/ 0 w 5215233"/>
              <a:gd name="connsiteY1" fmla="*/ 0 h 2963917"/>
              <a:gd name="connsiteX2" fmla="*/ 2049516 w 5215233"/>
              <a:gd name="connsiteY2" fmla="*/ 2326989 h 2963917"/>
              <a:gd name="connsiteX3" fmla="*/ 5215233 w 5215233"/>
              <a:gd name="connsiteY3" fmla="*/ 2963917 h 2963917"/>
              <a:gd name="connsiteX4" fmla="*/ 0 w 5215233"/>
              <a:gd name="connsiteY4" fmla="*/ 2963917 h 2963917"/>
              <a:gd name="connsiteX5" fmla="*/ 0 w 5215233"/>
              <a:gd name="connsiteY5" fmla="*/ 0 h 2963917"/>
              <a:gd name="connsiteX0" fmla="*/ 0 w 5215233"/>
              <a:gd name="connsiteY0" fmla="*/ 0 h 2963917"/>
              <a:gd name="connsiteX1" fmla="*/ 0 w 5215233"/>
              <a:gd name="connsiteY1" fmla="*/ 0 h 2963917"/>
              <a:gd name="connsiteX2" fmla="*/ 2049516 w 5215233"/>
              <a:gd name="connsiteY2" fmla="*/ 2326989 h 2963917"/>
              <a:gd name="connsiteX3" fmla="*/ 5215233 w 5215233"/>
              <a:gd name="connsiteY3" fmla="*/ 2963917 h 2963917"/>
              <a:gd name="connsiteX4" fmla="*/ 0 w 5215233"/>
              <a:gd name="connsiteY4" fmla="*/ 2963917 h 2963917"/>
              <a:gd name="connsiteX5" fmla="*/ 0 w 5215233"/>
              <a:gd name="connsiteY5" fmla="*/ 0 h 2963917"/>
              <a:gd name="connsiteX0" fmla="*/ 0 w 5215233"/>
              <a:gd name="connsiteY0" fmla="*/ 0 h 2963917"/>
              <a:gd name="connsiteX1" fmla="*/ 0 w 5215233"/>
              <a:gd name="connsiteY1" fmla="*/ 0 h 2963917"/>
              <a:gd name="connsiteX2" fmla="*/ 2049516 w 5215233"/>
              <a:gd name="connsiteY2" fmla="*/ 2326989 h 2963917"/>
              <a:gd name="connsiteX3" fmla="*/ 5215233 w 5215233"/>
              <a:gd name="connsiteY3" fmla="*/ 2963917 h 2963917"/>
              <a:gd name="connsiteX4" fmla="*/ 0 w 5215233"/>
              <a:gd name="connsiteY4" fmla="*/ 2963917 h 2963917"/>
              <a:gd name="connsiteX5" fmla="*/ 0 w 5215233"/>
              <a:gd name="connsiteY5" fmla="*/ 0 h 2963917"/>
              <a:gd name="connsiteX0" fmla="*/ 0 w 5215233"/>
              <a:gd name="connsiteY0" fmla="*/ 0 h 2963917"/>
              <a:gd name="connsiteX1" fmla="*/ 0 w 5215233"/>
              <a:gd name="connsiteY1" fmla="*/ 0 h 2963917"/>
              <a:gd name="connsiteX2" fmla="*/ 2049516 w 5215233"/>
              <a:gd name="connsiteY2" fmla="*/ 2326989 h 2963917"/>
              <a:gd name="connsiteX3" fmla="*/ 5215233 w 5215233"/>
              <a:gd name="connsiteY3" fmla="*/ 2963917 h 2963917"/>
              <a:gd name="connsiteX4" fmla="*/ 0 w 5215233"/>
              <a:gd name="connsiteY4" fmla="*/ 2963917 h 2963917"/>
              <a:gd name="connsiteX5" fmla="*/ 0 w 5215233"/>
              <a:gd name="connsiteY5" fmla="*/ 0 h 2963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215233" h="2963917">
                <a:moveTo>
                  <a:pt x="0" y="0"/>
                </a:moveTo>
                <a:lnTo>
                  <a:pt x="0" y="0"/>
                </a:lnTo>
                <a:cubicBezTo>
                  <a:pt x="341586" y="387832"/>
                  <a:pt x="1081957" y="1797596"/>
                  <a:pt x="2049516" y="2326989"/>
                </a:cubicBezTo>
                <a:cubicBezTo>
                  <a:pt x="2756604" y="2713867"/>
                  <a:pt x="4115850" y="2818874"/>
                  <a:pt x="5215233" y="2963917"/>
                </a:cubicBezTo>
                <a:lnTo>
                  <a:pt x="0" y="2963917"/>
                </a:lnTo>
                <a:lnTo>
                  <a:pt x="0"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3" name="Foliennummernplatzhalter 2"/>
          <p:cNvSpPr>
            <a:spLocks noGrp="1"/>
          </p:cNvSpPr>
          <p:nvPr>
            <p:ph type="sldNum" sz="quarter" idx="12"/>
          </p:nvPr>
        </p:nvSpPr>
        <p:spPr/>
        <p:txBody>
          <a:bodyPr/>
          <a:lstStyle/>
          <a:p>
            <a:fld id="{4AD1E780-DE1C-4ECA-B5E5-863D0BC53287}" type="slidenum">
              <a:rPr lang="de-DE" smtClean="0"/>
              <a:pPr/>
              <a:t>16</a:t>
            </a:fld>
            <a:endParaRPr lang="de-DE" dirty="0"/>
          </a:p>
        </p:txBody>
      </p:sp>
      <p:sp>
        <p:nvSpPr>
          <p:cNvPr id="5" name="Textplatzhalter 2"/>
          <p:cNvSpPr txBox="1">
            <a:spLocks/>
          </p:cNvSpPr>
          <p:nvPr/>
        </p:nvSpPr>
        <p:spPr>
          <a:xfrm>
            <a:off x="231317" y="390768"/>
            <a:ext cx="8929946" cy="697671"/>
          </a:xfrm>
          <a:prstGeom prst="rect">
            <a:avLst/>
          </a:prstGeom>
        </p:spPr>
        <p:txBody>
          <a:bodyPr anchor="t" anchorCtr="0"/>
          <a:lstStyle>
            <a:lvl1pPr marL="0" indent="0" algn="l" defTabSz="914400" rtl="0" eaLnBrk="1" latinLnBrk="0" hangingPunct="1">
              <a:spcBef>
                <a:spcPts val="200"/>
              </a:spcBef>
              <a:buClr>
                <a:schemeClr val="tx2"/>
              </a:buClr>
              <a:buFont typeface="Wingdings" pitchFamily="2" charset="2"/>
              <a:buNone/>
              <a:defRPr sz="1600" kern="1200">
                <a:solidFill>
                  <a:schemeClr val="tx2"/>
                </a:solidFill>
                <a:latin typeface="+mn-lt"/>
                <a:ea typeface="+mn-ea"/>
                <a:cs typeface="+mn-cs"/>
              </a:defRPr>
            </a:lvl1pPr>
            <a:lvl2pPr marL="180975" indent="-180975" algn="l" defTabSz="914400" rtl="0" eaLnBrk="1" latinLnBrk="0" hangingPunct="1">
              <a:spcBef>
                <a:spcPts val="200"/>
              </a:spcBef>
              <a:buClr>
                <a:schemeClr val="tx2"/>
              </a:buClr>
              <a:buFont typeface="Wingdings" pitchFamily="2" charset="2"/>
              <a:buChar char="§"/>
              <a:defRPr sz="1600" kern="1200">
                <a:solidFill>
                  <a:schemeClr val="tx2"/>
                </a:solidFill>
                <a:latin typeface="+mn-lt"/>
                <a:ea typeface="+mn-ea"/>
                <a:cs typeface="+mn-cs"/>
              </a:defRPr>
            </a:lvl2pPr>
            <a:lvl3pPr marL="355600" indent="-174625"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3pPr>
            <a:lvl4pPr marL="538163" indent="-182563"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4pPr>
            <a:lvl5pPr marL="719138" indent="-180975" algn="l" defTabSz="914400" rtl="0" eaLnBrk="1" latinLnBrk="0" hangingPunct="1">
              <a:spcBef>
                <a:spcPts val="200"/>
              </a:spcBef>
              <a:buClr>
                <a:schemeClr val="tx2"/>
              </a:buClr>
              <a:buFont typeface="Symbol" pitchFamily="18" charset="2"/>
              <a:buChar char="-"/>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3600" b="1" dirty="0" smtClean="0">
                <a:solidFill>
                  <a:schemeClr val="accent6"/>
                </a:solidFill>
              </a:rPr>
              <a:t>Pareto </a:t>
            </a:r>
            <a:r>
              <a:rPr lang="de-DE" sz="3600" b="1" dirty="0" err="1" smtClean="0">
                <a:solidFill>
                  <a:schemeClr val="accent6"/>
                </a:solidFill>
              </a:rPr>
              <a:t>principle</a:t>
            </a:r>
            <a:r>
              <a:rPr lang="de-DE" sz="3600" b="1" dirty="0" smtClean="0">
                <a:solidFill>
                  <a:schemeClr val="accent6"/>
                </a:solidFill>
              </a:rPr>
              <a:t> </a:t>
            </a:r>
            <a:r>
              <a:rPr lang="de-DE" sz="3600" b="1" dirty="0" err="1" smtClean="0">
                <a:solidFill>
                  <a:schemeClr val="accent6"/>
                </a:solidFill>
              </a:rPr>
              <a:t>works</a:t>
            </a:r>
            <a:r>
              <a:rPr lang="de-DE" sz="3600" b="1" dirty="0" smtClean="0">
                <a:solidFill>
                  <a:schemeClr val="accent6"/>
                </a:solidFill>
              </a:rPr>
              <a:t> </a:t>
            </a:r>
            <a:r>
              <a:rPr lang="de-DE" sz="3600" b="1" dirty="0" err="1" smtClean="0">
                <a:solidFill>
                  <a:schemeClr val="accent6"/>
                </a:solidFill>
              </a:rPr>
              <a:t>to</a:t>
            </a:r>
            <a:r>
              <a:rPr lang="de-DE" sz="3600" b="1" dirty="0" smtClean="0">
                <a:solidFill>
                  <a:schemeClr val="accent6"/>
                </a:solidFill>
              </a:rPr>
              <a:t> </a:t>
            </a:r>
            <a:r>
              <a:rPr lang="de-DE" sz="3600" b="1" dirty="0" err="1" smtClean="0">
                <a:solidFill>
                  <a:schemeClr val="accent6"/>
                </a:solidFill>
              </a:rPr>
              <a:t>our</a:t>
            </a:r>
            <a:r>
              <a:rPr lang="de-DE" sz="3600" b="1" dirty="0" smtClean="0">
                <a:solidFill>
                  <a:schemeClr val="accent6"/>
                </a:solidFill>
              </a:rPr>
              <a:t> </a:t>
            </a:r>
            <a:r>
              <a:rPr lang="de-DE" sz="3600" b="1" dirty="0" err="1" smtClean="0">
                <a:solidFill>
                  <a:schemeClr val="accent6"/>
                </a:solidFill>
              </a:rPr>
              <a:t>advantage</a:t>
            </a:r>
            <a:endParaRPr lang="de-DE" sz="3600" dirty="0"/>
          </a:p>
        </p:txBody>
      </p:sp>
      <p:sp>
        <p:nvSpPr>
          <p:cNvPr id="9" name="Freihandform 8"/>
          <p:cNvSpPr/>
          <p:nvPr/>
        </p:nvSpPr>
        <p:spPr>
          <a:xfrm>
            <a:off x="967595" y="1891213"/>
            <a:ext cx="6337738" cy="3090042"/>
          </a:xfrm>
          <a:custGeom>
            <a:avLst/>
            <a:gdLst>
              <a:gd name="connsiteX0" fmla="*/ 0 w 6337738"/>
              <a:gd name="connsiteY0" fmla="*/ 0 h 3090042"/>
              <a:gd name="connsiteX1" fmla="*/ 0 w 6337738"/>
              <a:gd name="connsiteY1" fmla="*/ 3090042 h 3090042"/>
              <a:gd name="connsiteX2" fmla="*/ 6337738 w 6337738"/>
              <a:gd name="connsiteY2" fmla="*/ 3090042 h 3090042"/>
            </a:gdLst>
            <a:ahLst/>
            <a:cxnLst>
              <a:cxn ang="0">
                <a:pos x="connsiteX0" y="connsiteY0"/>
              </a:cxn>
              <a:cxn ang="0">
                <a:pos x="connsiteX1" y="connsiteY1"/>
              </a:cxn>
              <a:cxn ang="0">
                <a:pos x="connsiteX2" y="connsiteY2"/>
              </a:cxn>
            </a:cxnLst>
            <a:rect l="l" t="t" r="r" b="b"/>
            <a:pathLst>
              <a:path w="6337738" h="3090042">
                <a:moveTo>
                  <a:pt x="0" y="0"/>
                </a:moveTo>
                <a:lnTo>
                  <a:pt x="0" y="3090042"/>
                </a:lnTo>
                <a:lnTo>
                  <a:pt x="6337738" y="3090042"/>
                </a:lnTo>
              </a:path>
            </a:pathLst>
          </a:custGeom>
          <a:noFill/>
          <a:ln w="9525">
            <a:solidFill>
              <a:schemeClr val="accent2"/>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11" name="Gerade Verbindung 10"/>
          <p:cNvCxnSpPr/>
          <p:nvPr/>
        </p:nvCxnSpPr>
        <p:spPr>
          <a:xfrm>
            <a:off x="2701802" y="1891213"/>
            <a:ext cx="0" cy="3090042"/>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12" name="Gerade Verbindung 11"/>
          <p:cNvCxnSpPr/>
          <p:nvPr/>
        </p:nvCxnSpPr>
        <p:spPr>
          <a:xfrm>
            <a:off x="4429703" y="1891213"/>
            <a:ext cx="0" cy="3090042"/>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13" name="Gerade Verbindung 12"/>
          <p:cNvCxnSpPr/>
          <p:nvPr/>
        </p:nvCxnSpPr>
        <p:spPr>
          <a:xfrm>
            <a:off x="6182828" y="1891213"/>
            <a:ext cx="0" cy="3090042"/>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15" name="Inhaltsplatzhalter 2"/>
          <p:cNvSpPr txBox="1">
            <a:spLocks/>
          </p:cNvSpPr>
          <p:nvPr/>
        </p:nvSpPr>
        <p:spPr>
          <a:xfrm>
            <a:off x="1071312" y="3546110"/>
            <a:ext cx="1617879" cy="450492"/>
          </a:xfrm>
          <a:prstGeom prst="rect">
            <a:avLst/>
          </a:prstGeom>
        </p:spPr>
        <p:txBody>
          <a:bodyPr vert="horz" lIns="0" tIns="0" rIns="0" bIns="0" rtlCol="0">
            <a:noAutofit/>
          </a:bodyPr>
          <a:lstStyle>
            <a:lvl1pPr marL="0" indent="0" algn="ctr" defTabSz="1280160" rtl="0" eaLnBrk="1" latinLnBrk="0" hangingPunct="1">
              <a:spcBef>
                <a:spcPct val="20000"/>
              </a:spcBef>
              <a:buFont typeface="Arial" panose="020B0604020202020204" pitchFamily="34" charset="0"/>
              <a:buNone/>
              <a:defRPr sz="4500" kern="1200">
                <a:solidFill>
                  <a:schemeClr val="tx1">
                    <a:tint val="75000"/>
                  </a:schemeClr>
                </a:solidFill>
                <a:latin typeface="+mn-lt"/>
                <a:ea typeface="+mn-ea"/>
                <a:cs typeface="+mn-cs"/>
              </a:defRPr>
            </a:lvl1pPr>
            <a:lvl2pPr marL="640080" indent="0" algn="ctr" defTabSz="1280160" rtl="0" eaLnBrk="1" latinLnBrk="0" hangingPunct="1">
              <a:spcBef>
                <a:spcPct val="20000"/>
              </a:spcBef>
              <a:buFont typeface="Arial" panose="020B0604020202020204" pitchFamily="34" charset="0"/>
              <a:buNone/>
              <a:defRPr sz="3900" kern="1200">
                <a:solidFill>
                  <a:schemeClr val="tx1">
                    <a:tint val="75000"/>
                  </a:schemeClr>
                </a:solidFill>
                <a:latin typeface="+mn-lt"/>
                <a:ea typeface="+mn-ea"/>
                <a:cs typeface="+mn-cs"/>
              </a:defRPr>
            </a:lvl2pPr>
            <a:lvl3pPr marL="1280160" indent="0" algn="ctr" defTabSz="1280160" rtl="0" eaLnBrk="1" latinLnBrk="0" hangingPunct="1">
              <a:spcBef>
                <a:spcPct val="20000"/>
              </a:spcBef>
              <a:buFont typeface="Arial" panose="020B0604020202020204" pitchFamily="34" charset="0"/>
              <a:buNone/>
              <a:defRPr sz="3400" kern="1200">
                <a:solidFill>
                  <a:schemeClr val="tx1">
                    <a:tint val="75000"/>
                  </a:schemeClr>
                </a:solidFill>
                <a:latin typeface="+mn-lt"/>
                <a:ea typeface="+mn-ea"/>
                <a:cs typeface="+mn-cs"/>
              </a:defRPr>
            </a:lvl3pPr>
            <a:lvl4pPr marL="192024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4pPr>
            <a:lvl5pPr marL="256032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5pPr>
            <a:lvl6pPr marL="320040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6pPr>
            <a:lvl7pPr marL="384048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7pPr>
            <a:lvl8pPr marL="448056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8pPr>
            <a:lvl9pPr marL="512064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9pPr>
          </a:lstStyle>
          <a:p>
            <a:pPr algn="l"/>
            <a:r>
              <a:rPr lang="en-US" sz="2000" dirty="0" smtClean="0">
                <a:solidFill>
                  <a:schemeClr val="bg1"/>
                </a:solidFill>
                <a:latin typeface="Arial" panose="020B0604020202020204" pitchFamily="34" charset="0"/>
                <a:cs typeface="Arial" panose="020B0604020202020204" pitchFamily="34" charset="0"/>
              </a:rPr>
              <a:t>8 biggest publishers</a:t>
            </a:r>
            <a:r>
              <a:rPr lang="en-US" sz="2400" dirty="0" smtClean="0">
                <a:solidFill>
                  <a:schemeClr val="bg1"/>
                </a:solidFill>
                <a:latin typeface="Arial" panose="020B0604020202020204" pitchFamily="34" charset="0"/>
                <a:cs typeface="Arial" panose="020B0604020202020204" pitchFamily="34" charset="0"/>
              </a:rPr>
              <a:t/>
            </a:r>
            <a:br>
              <a:rPr lang="en-US" sz="2400" dirty="0" smtClean="0">
                <a:solidFill>
                  <a:schemeClr val="bg1"/>
                </a:solidFill>
                <a:latin typeface="Arial" panose="020B0604020202020204" pitchFamily="34" charset="0"/>
                <a:cs typeface="Arial" panose="020B0604020202020204" pitchFamily="34" charset="0"/>
              </a:rPr>
            </a:br>
            <a:r>
              <a:rPr lang="en-US" sz="6000" b="1" dirty="0" smtClean="0">
                <a:solidFill>
                  <a:schemeClr val="bg1"/>
                </a:solidFill>
                <a:latin typeface="Arial" panose="020B0604020202020204" pitchFamily="34" charset="0"/>
                <a:cs typeface="Arial" panose="020B0604020202020204" pitchFamily="34" charset="0"/>
              </a:rPr>
              <a:t>70%</a:t>
            </a:r>
          </a:p>
        </p:txBody>
      </p:sp>
      <p:sp>
        <p:nvSpPr>
          <p:cNvPr id="16" name="Inhaltsplatzhalter 2"/>
          <p:cNvSpPr txBox="1">
            <a:spLocks/>
          </p:cNvSpPr>
          <p:nvPr/>
        </p:nvSpPr>
        <p:spPr>
          <a:xfrm>
            <a:off x="2823024" y="3546110"/>
            <a:ext cx="1617879" cy="450492"/>
          </a:xfrm>
          <a:prstGeom prst="rect">
            <a:avLst/>
          </a:prstGeom>
        </p:spPr>
        <p:txBody>
          <a:bodyPr vert="horz" lIns="0" tIns="0" rIns="0" bIns="0" rtlCol="0">
            <a:noAutofit/>
          </a:bodyPr>
          <a:lstStyle>
            <a:lvl1pPr marL="0" indent="0" algn="ctr" defTabSz="1280160" rtl="0" eaLnBrk="1" latinLnBrk="0" hangingPunct="1">
              <a:spcBef>
                <a:spcPct val="20000"/>
              </a:spcBef>
              <a:buFont typeface="Arial" panose="020B0604020202020204" pitchFamily="34" charset="0"/>
              <a:buNone/>
              <a:defRPr sz="4500" kern="1200">
                <a:solidFill>
                  <a:schemeClr val="tx1">
                    <a:tint val="75000"/>
                  </a:schemeClr>
                </a:solidFill>
                <a:latin typeface="+mn-lt"/>
                <a:ea typeface="+mn-ea"/>
                <a:cs typeface="+mn-cs"/>
              </a:defRPr>
            </a:lvl1pPr>
            <a:lvl2pPr marL="640080" indent="0" algn="ctr" defTabSz="1280160" rtl="0" eaLnBrk="1" latinLnBrk="0" hangingPunct="1">
              <a:spcBef>
                <a:spcPct val="20000"/>
              </a:spcBef>
              <a:buFont typeface="Arial" panose="020B0604020202020204" pitchFamily="34" charset="0"/>
              <a:buNone/>
              <a:defRPr sz="3900" kern="1200">
                <a:solidFill>
                  <a:schemeClr val="tx1">
                    <a:tint val="75000"/>
                  </a:schemeClr>
                </a:solidFill>
                <a:latin typeface="+mn-lt"/>
                <a:ea typeface="+mn-ea"/>
                <a:cs typeface="+mn-cs"/>
              </a:defRPr>
            </a:lvl2pPr>
            <a:lvl3pPr marL="1280160" indent="0" algn="ctr" defTabSz="1280160" rtl="0" eaLnBrk="1" latinLnBrk="0" hangingPunct="1">
              <a:spcBef>
                <a:spcPct val="20000"/>
              </a:spcBef>
              <a:buFont typeface="Arial" panose="020B0604020202020204" pitchFamily="34" charset="0"/>
              <a:buNone/>
              <a:defRPr sz="3400" kern="1200">
                <a:solidFill>
                  <a:schemeClr val="tx1">
                    <a:tint val="75000"/>
                  </a:schemeClr>
                </a:solidFill>
                <a:latin typeface="+mn-lt"/>
                <a:ea typeface="+mn-ea"/>
                <a:cs typeface="+mn-cs"/>
              </a:defRPr>
            </a:lvl3pPr>
            <a:lvl4pPr marL="192024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4pPr>
            <a:lvl5pPr marL="256032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5pPr>
            <a:lvl6pPr marL="320040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6pPr>
            <a:lvl7pPr marL="384048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7pPr>
            <a:lvl8pPr marL="448056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8pPr>
            <a:lvl9pPr marL="512064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9pPr>
          </a:lstStyle>
          <a:p>
            <a:pPr algn="l"/>
            <a:r>
              <a:rPr lang="en-US" sz="2000" dirty="0" smtClean="0">
                <a:solidFill>
                  <a:schemeClr val="accent2"/>
                </a:solidFill>
                <a:latin typeface="Arial" panose="020B0604020202020204" pitchFamily="34" charset="0"/>
                <a:cs typeface="Arial" panose="020B0604020202020204" pitchFamily="34" charset="0"/>
              </a:rPr>
              <a:t>Smaller publishers</a:t>
            </a:r>
            <a:r>
              <a:rPr lang="en-US" sz="2400" dirty="0" smtClean="0">
                <a:solidFill>
                  <a:schemeClr val="accent2"/>
                </a:solidFill>
                <a:latin typeface="Arial" panose="020B0604020202020204" pitchFamily="34" charset="0"/>
                <a:cs typeface="Arial" panose="020B0604020202020204" pitchFamily="34" charset="0"/>
              </a:rPr>
              <a:t/>
            </a:r>
            <a:br>
              <a:rPr lang="en-US" sz="2400" dirty="0" smtClean="0">
                <a:solidFill>
                  <a:schemeClr val="accent2"/>
                </a:solidFill>
                <a:latin typeface="Arial" panose="020B0604020202020204" pitchFamily="34" charset="0"/>
                <a:cs typeface="Arial" panose="020B0604020202020204" pitchFamily="34" charset="0"/>
              </a:rPr>
            </a:br>
            <a:r>
              <a:rPr lang="en-US" sz="2400" dirty="0" smtClean="0">
                <a:solidFill>
                  <a:schemeClr val="accent2"/>
                </a:solidFill>
                <a:latin typeface="Arial" panose="020B0604020202020204" pitchFamily="34" charset="0"/>
                <a:cs typeface="Arial" panose="020B0604020202020204" pitchFamily="34" charset="0"/>
              </a:rPr>
              <a:t/>
            </a:r>
            <a:br>
              <a:rPr lang="en-US" sz="2400" dirty="0" smtClean="0">
                <a:solidFill>
                  <a:schemeClr val="accent2"/>
                </a:solidFill>
                <a:latin typeface="Arial" panose="020B0604020202020204" pitchFamily="34" charset="0"/>
                <a:cs typeface="Arial" panose="020B0604020202020204" pitchFamily="34" charset="0"/>
              </a:rPr>
            </a:br>
            <a:r>
              <a:rPr lang="en-US" sz="3200" b="1" dirty="0" smtClean="0">
                <a:solidFill>
                  <a:schemeClr val="bg1"/>
                </a:solidFill>
                <a:latin typeface="Arial" panose="020B0604020202020204" pitchFamily="34" charset="0"/>
                <a:cs typeface="Arial" panose="020B0604020202020204" pitchFamily="34" charset="0"/>
              </a:rPr>
              <a:t>20%</a:t>
            </a:r>
          </a:p>
        </p:txBody>
      </p:sp>
      <p:sp>
        <p:nvSpPr>
          <p:cNvPr id="17" name="Inhaltsplatzhalter 2"/>
          <p:cNvSpPr txBox="1">
            <a:spLocks/>
          </p:cNvSpPr>
          <p:nvPr/>
        </p:nvSpPr>
        <p:spPr>
          <a:xfrm>
            <a:off x="4544858" y="3573819"/>
            <a:ext cx="1617879" cy="450492"/>
          </a:xfrm>
          <a:prstGeom prst="rect">
            <a:avLst/>
          </a:prstGeom>
        </p:spPr>
        <p:txBody>
          <a:bodyPr vert="horz" lIns="0" tIns="0" rIns="0" bIns="0" rtlCol="0">
            <a:noAutofit/>
          </a:bodyPr>
          <a:lstStyle>
            <a:lvl1pPr marL="0" indent="0" algn="ctr" defTabSz="1280160" rtl="0" eaLnBrk="1" latinLnBrk="0" hangingPunct="1">
              <a:spcBef>
                <a:spcPct val="20000"/>
              </a:spcBef>
              <a:buFont typeface="Arial" panose="020B0604020202020204" pitchFamily="34" charset="0"/>
              <a:buNone/>
              <a:defRPr sz="4500" kern="1200">
                <a:solidFill>
                  <a:schemeClr val="tx1">
                    <a:tint val="75000"/>
                  </a:schemeClr>
                </a:solidFill>
                <a:latin typeface="+mn-lt"/>
                <a:ea typeface="+mn-ea"/>
                <a:cs typeface="+mn-cs"/>
              </a:defRPr>
            </a:lvl1pPr>
            <a:lvl2pPr marL="640080" indent="0" algn="ctr" defTabSz="1280160" rtl="0" eaLnBrk="1" latinLnBrk="0" hangingPunct="1">
              <a:spcBef>
                <a:spcPct val="20000"/>
              </a:spcBef>
              <a:buFont typeface="Arial" panose="020B0604020202020204" pitchFamily="34" charset="0"/>
              <a:buNone/>
              <a:defRPr sz="3900" kern="1200">
                <a:solidFill>
                  <a:schemeClr val="tx1">
                    <a:tint val="75000"/>
                  </a:schemeClr>
                </a:solidFill>
                <a:latin typeface="+mn-lt"/>
                <a:ea typeface="+mn-ea"/>
                <a:cs typeface="+mn-cs"/>
              </a:defRPr>
            </a:lvl2pPr>
            <a:lvl3pPr marL="1280160" indent="0" algn="ctr" defTabSz="1280160" rtl="0" eaLnBrk="1" latinLnBrk="0" hangingPunct="1">
              <a:spcBef>
                <a:spcPct val="20000"/>
              </a:spcBef>
              <a:buFont typeface="Arial" panose="020B0604020202020204" pitchFamily="34" charset="0"/>
              <a:buNone/>
              <a:defRPr sz="3400" kern="1200">
                <a:solidFill>
                  <a:schemeClr val="tx1">
                    <a:tint val="75000"/>
                  </a:schemeClr>
                </a:solidFill>
                <a:latin typeface="+mn-lt"/>
                <a:ea typeface="+mn-ea"/>
                <a:cs typeface="+mn-cs"/>
              </a:defRPr>
            </a:lvl3pPr>
            <a:lvl4pPr marL="192024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4pPr>
            <a:lvl5pPr marL="256032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5pPr>
            <a:lvl6pPr marL="320040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6pPr>
            <a:lvl7pPr marL="384048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7pPr>
            <a:lvl8pPr marL="448056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8pPr>
            <a:lvl9pPr marL="512064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9pPr>
          </a:lstStyle>
          <a:p>
            <a:pPr algn="l"/>
            <a:r>
              <a:rPr lang="en-US" sz="2000" dirty="0" smtClean="0">
                <a:solidFill>
                  <a:schemeClr val="accent2"/>
                </a:solidFill>
                <a:latin typeface="Arial" panose="020B0604020202020204" pitchFamily="34" charset="0"/>
                <a:cs typeface="Arial" panose="020B0604020202020204" pitchFamily="34" charset="0"/>
              </a:rPr>
              <a:t/>
            </a:r>
            <a:br>
              <a:rPr lang="en-US" sz="2000" dirty="0" smtClean="0">
                <a:solidFill>
                  <a:schemeClr val="accent2"/>
                </a:solidFill>
                <a:latin typeface="Arial" panose="020B0604020202020204" pitchFamily="34" charset="0"/>
                <a:cs typeface="Arial" panose="020B0604020202020204" pitchFamily="34" charset="0"/>
              </a:rPr>
            </a:br>
            <a:r>
              <a:rPr lang="en-US" sz="2000" dirty="0" smtClean="0">
                <a:solidFill>
                  <a:schemeClr val="accent2"/>
                </a:solidFill>
                <a:latin typeface="Arial" panose="020B0604020202020204" pitchFamily="34" charset="0"/>
                <a:cs typeface="Arial" panose="020B0604020202020204" pitchFamily="34" charset="0"/>
              </a:rPr>
              <a:t>Rest</a:t>
            </a:r>
            <a:r>
              <a:rPr lang="en-US" sz="2400" dirty="0" smtClean="0">
                <a:solidFill>
                  <a:schemeClr val="accent2"/>
                </a:solidFill>
                <a:latin typeface="Arial" panose="020B0604020202020204" pitchFamily="34" charset="0"/>
                <a:cs typeface="Arial" panose="020B0604020202020204" pitchFamily="34" charset="0"/>
              </a:rPr>
              <a:t/>
            </a:r>
            <a:br>
              <a:rPr lang="en-US" sz="2400" dirty="0" smtClean="0">
                <a:solidFill>
                  <a:schemeClr val="accent2"/>
                </a:solidFill>
                <a:latin typeface="Arial" panose="020B0604020202020204" pitchFamily="34" charset="0"/>
                <a:cs typeface="Arial" panose="020B0604020202020204" pitchFamily="34" charset="0"/>
              </a:rPr>
            </a:br>
            <a:endParaRPr lang="en-US" sz="2400" dirty="0" smtClean="0">
              <a:solidFill>
                <a:schemeClr val="accent2"/>
              </a:solidFill>
              <a:latin typeface="Arial" panose="020B0604020202020204" pitchFamily="34" charset="0"/>
              <a:cs typeface="Arial" panose="020B0604020202020204" pitchFamily="34" charset="0"/>
            </a:endParaRPr>
          </a:p>
          <a:p>
            <a:pPr algn="l"/>
            <a:r>
              <a:rPr lang="en-US" sz="1400" b="1" dirty="0" smtClean="0">
                <a:solidFill>
                  <a:schemeClr val="accent2"/>
                </a:solidFill>
                <a:latin typeface="Arial" panose="020B0604020202020204" pitchFamily="34" charset="0"/>
                <a:cs typeface="Arial" panose="020B0604020202020204" pitchFamily="34" charset="0"/>
              </a:rPr>
              <a:t/>
            </a:r>
            <a:br>
              <a:rPr lang="en-US" sz="1400" b="1" dirty="0" smtClean="0">
                <a:solidFill>
                  <a:schemeClr val="accent2"/>
                </a:solidFill>
                <a:latin typeface="Arial" panose="020B0604020202020204" pitchFamily="34" charset="0"/>
                <a:cs typeface="Arial" panose="020B0604020202020204" pitchFamily="34" charset="0"/>
              </a:rPr>
            </a:br>
            <a:r>
              <a:rPr lang="en-US" sz="1200" b="1" dirty="0" smtClean="0">
                <a:solidFill>
                  <a:schemeClr val="bg1"/>
                </a:solidFill>
                <a:latin typeface="Arial" panose="020B0604020202020204" pitchFamily="34" charset="0"/>
                <a:cs typeface="Arial" panose="020B0604020202020204" pitchFamily="34" charset="0"/>
              </a:rPr>
              <a:t>10%</a:t>
            </a:r>
          </a:p>
        </p:txBody>
      </p:sp>
      <p:sp>
        <p:nvSpPr>
          <p:cNvPr id="18" name="Inhaltsplatzhalter 2"/>
          <p:cNvSpPr txBox="1">
            <a:spLocks/>
          </p:cNvSpPr>
          <p:nvPr/>
        </p:nvSpPr>
        <p:spPr>
          <a:xfrm>
            <a:off x="1441969" y="5061416"/>
            <a:ext cx="2513359" cy="274801"/>
          </a:xfrm>
          <a:prstGeom prst="rect">
            <a:avLst/>
          </a:prstGeom>
        </p:spPr>
        <p:txBody>
          <a:bodyPr vert="horz" lIns="0" tIns="0" rIns="0" bIns="0" rtlCol="0">
            <a:noAutofit/>
          </a:bodyPr>
          <a:lstStyle>
            <a:lvl1pPr marL="0" indent="0" algn="ctr" defTabSz="1280160" rtl="0" eaLnBrk="1" latinLnBrk="0" hangingPunct="1">
              <a:spcBef>
                <a:spcPct val="20000"/>
              </a:spcBef>
              <a:buFont typeface="Arial" panose="020B0604020202020204" pitchFamily="34" charset="0"/>
              <a:buNone/>
              <a:defRPr sz="4500" kern="1200">
                <a:solidFill>
                  <a:schemeClr val="tx1">
                    <a:tint val="75000"/>
                  </a:schemeClr>
                </a:solidFill>
                <a:latin typeface="+mn-lt"/>
                <a:ea typeface="+mn-ea"/>
                <a:cs typeface="+mn-cs"/>
              </a:defRPr>
            </a:lvl1pPr>
            <a:lvl2pPr marL="640080" indent="0" algn="ctr" defTabSz="1280160" rtl="0" eaLnBrk="1" latinLnBrk="0" hangingPunct="1">
              <a:spcBef>
                <a:spcPct val="20000"/>
              </a:spcBef>
              <a:buFont typeface="Arial" panose="020B0604020202020204" pitchFamily="34" charset="0"/>
              <a:buNone/>
              <a:defRPr sz="3900" kern="1200">
                <a:solidFill>
                  <a:schemeClr val="tx1">
                    <a:tint val="75000"/>
                  </a:schemeClr>
                </a:solidFill>
                <a:latin typeface="+mn-lt"/>
                <a:ea typeface="+mn-ea"/>
                <a:cs typeface="+mn-cs"/>
              </a:defRPr>
            </a:lvl2pPr>
            <a:lvl3pPr marL="1280160" indent="0" algn="ctr" defTabSz="1280160" rtl="0" eaLnBrk="1" latinLnBrk="0" hangingPunct="1">
              <a:spcBef>
                <a:spcPct val="20000"/>
              </a:spcBef>
              <a:buFont typeface="Arial" panose="020B0604020202020204" pitchFamily="34" charset="0"/>
              <a:buNone/>
              <a:defRPr sz="3400" kern="1200">
                <a:solidFill>
                  <a:schemeClr val="tx1">
                    <a:tint val="75000"/>
                  </a:schemeClr>
                </a:solidFill>
                <a:latin typeface="+mn-lt"/>
                <a:ea typeface="+mn-ea"/>
                <a:cs typeface="+mn-cs"/>
              </a:defRPr>
            </a:lvl3pPr>
            <a:lvl4pPr marL="192024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4pPr>
            <a:lvl5pPr marL="256032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5pPr>
            <a:lvl6pPr marL="320040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6pPr>
            <a:lvl7pPr marL="384048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7pPr>
            <a:lvl8pPr marL="448056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8pPr>
            <a:lvl9pPr marL="512064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9pPr>
          </a:lstStyle>
          <a:p>
            <a:pPr algn="l"/>
            <a:r>
              <a:rPr lang="en-US" sz="1400" b="1" dirty="0" smtClean="0">
                <a:solidFill>
                  <a:schemeClr val="accent4"/>
                </a:solidFill>
                <a:latin typeface="Arial" panose="020B0604020202020204" pitchFamily="34" charset="0"/>
                <a:cs typeface="Arial" panose="020B0604020202020204" pitchFamily="34" charset="0"/>
              </a:rPr>
              <a:t>Highest impact</a:t>
            </a:r>
            <a:endParaRPr lang="en-US" sz="1800" b="1" dirty="0" smtClean="0">
              <a:solidFill>
                <a:schemeClr val="accent4"/>
              </a:solidFill>
              <a:latin typeface="Arial" panose="020B0604020202020204" pitchFamily="34" charset="0"/>
              <a:cs typeface="Arial" panose="020B0604020202020204" pitchFamily="34" charset="0"/>
            </a:endParaRPr>
          </a:p>
        </p:txBody>
      </p:sp>
      <p:sp>
        <p:nvSpPr>
          <p:cNvPr id="19" name="Inhaltsplatzhalter 2"/>
          <p:cNvSpPr txBox="1">
            <a:spLocks/>
          </p:cNvSpPr>
          <p:nvPr/>
        </p:nvSpPr>
        <p:spPr>
          <a:xfrm>
            <a:off x="7449224" y="4866726"/>
            <a:ext cx="2379185" cy="450492"/>
          </a:xfrm>
          <a:prstGeom prst="rect">
            <a:avLst/>
          </a:prstGeom>
        </p:spPr>
        <p:txBody>
          <a:bodyPr vert="horz" lIns="0" tIns="0" rIns="0" bIns="0" rtlCol="0">
            <a:noAutofit/>
          </a:bodyPr>
          <a:lstStyle>
            <a:lvl1pPr marL="0" indent="0" algn="ctr" defTabSz="1280160" rtl="0" eaLnBrk="1" latinLnBrk="0" hangingPunct="1">
              <a:spcBef>
                <a:spcPct val="20000"/>
              </a:spcBef>
              <a:buFont typeface="Arial" panose="020B0604020202020204" pitchFamily="34" charset="0"/>
              <a:buNone/>
              <a:defRPr sz="4500" kern="1200">
                <a:solidFill>
                  <a:schemeClr val="tx1">
                    <a:tint val="75000"/>
                  </a:schemeClr>
                </a:solidFill>
                <a:latin typeface="+mn-lt"/>
                <a:ea typeface="+mn-ea"/>
                <a:cs typeface="+mn-cs"/>
              </a:defRPr>
            </a:lvl1pPr>
            <a:lvl2pPr marL="640080" indent="0" algn="ctr" defTabSz="1280160" rtl="0" eaLnBrk="1" latinLnBrk="0" hangingPunct="1">
              <a:spcBef>
                <a:spcPct val="20000"/>
              </a:spcBef>
              <a:buFont typeface="Arial" panose="020B0604020202020204" pitchFamily="34" charset="0"/>
              <a:buNone/>
              <a:defRPr sz="3900" kern="1200">
                <a:solidFill>
                  <a:schemeClr val="tx1">
                    <a:tint val="75000"/>
                  </a:schemeClr>
                </a:solidFill>
                <a:latin typeface="+mn-lt"/>
                <a:ea typeface="+mn-ea"/>
                <a:cs typeface="+mn-cs"/>
              </a:defRPr>
            </a:lvl2pPr>
            <a:lvl3pPr marL="1280160" indent="0" algn="ctr" defTabSz="1280160" rtl="0" eaLnBrk="1" latinLnBrk="0" hangingPunct="1">
              <a:spcBef>
                <a:spcPct val="20000"/>
              </a:spcBef>
              <a:buFont typeface="Arial" panose="020B0604020202020204" pitchFamily="34" charset="0"/>
              <a:buNone/>
              <a:defRPr sz="3400" kern="1200">
                <a:solidFill>
                  <a:schemeClr val="tx1">
                    <a:tint val="75000"/>
                  </a:schemeClr>
                </a:solidFill>
                <a:latin typeface="+mn-lt"/>
                <a:ea typeface="+mn-ea"/>
                <a:cs typeface="+mn-cs"/>
              </a:defRPr>
            </a:lvl3pPr>
            <a:lvl4pPr marL="192024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4pPr>
            <a:lvl5pPr marL="256032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5pPr>
            <a:lvl6pPr marL="320040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6pPr>
            <a:lvl7pPr marL="384048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7pPr>
            <a:lvl8pPr marL="448056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8pPr>
            <a:lvl9pPr marL="512064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9pPr>
          </a:lstStyle>
          <a:p>
            <a:pPr algn="l"/>
            <a:r>
              <a:rPr lang="en-US" sz="1400" b="1" dirty="0" smtClean="0">
                <a:solidFill>
                  <a:schemeClr val="accent2"/>
                </a:solidFill>
                <a:latin typeface="Arial" panose="020B0604020202020204" pitchFamily="34" charset="0"/>
                <a:cs typeface="Arial" panose="020B0604020202020204" pitchFamily="34" charset="0"/>
              </a:rPr>
              <a:t>Number of publishers</a:t>
            </a:r>
            <a:endParaRPr lang="en-US" sz="1800" b="1" dirty="0" smtClean="0">
              <a:solidFill>
                <a:schemeClr val="accent2"/>
              </a:solidFill>
              <a:latin typeface="Arial" panose="020B0604020202020204" pitchFamily="34" charset="0"/>
              <a:cs typeface="Arial" panose="020B0604020202020204" pitchFamily="34" charset="0"/>
            </a:endParaRPr>
          </a:p>
        </p:txBody>
      </p:sp>
      <p:sp>
        <p:nvSpPr>
          <p:cNvPr id="20" name="Inhaltsplatzhalter 2"/>
          <p:cNvSpPr txBox="1">
            <a:spLocks/>
          </p:cNvSpPr>
          <p:nvPr/>
        </p:nvSpPr>
        <p:spPr>
          <a:xfrm>
            <a:off x="-100045" y="2902093"/>
            <a:ext cx="923747" cy="450492"/>
          </a:xfrm>
          <a:prstGeom prst="rect">
            <a:avLst/>
          </a:prstGeom>
        </p:spPr>
        <p:txBody>
          <a:bodyPr vert="horz" lIns="0" tIns="0" rIns="0" bIns="0" rtlCol="0">
            <a:noAutofit/>
          </a:bodyPr>
          <a:lstStyle>
            <a:lvl1pPr marL="0" indent="0" algn="ctr" defTabSz="1280160" rtl="0" eaLnBrk="1" latinLnBrk="0" hangingPunct="1">
              <a:spcBef>
                <a:spcPct val="20000"/>
              </a:spcBef>
              <a:buFont typeface="Arial" panose="020B0604020202020204" pitchFamily="34" charset="0"/>
              <a:buNone/>
              <a:defRPr sz="4500" kern="1200">
                <a:solidFill>
                  <a:schemeClr val="tx1">
                    <a:tint val="75000"/>
                  </a:schemeClr>
                </a:solidFill>
                <a:latin typeface="+mn-lt"/>
                <a:ea typeface="+mn-ea"/>
                <a:cs typeface="+mn-cs"/>
              </a:defRPr>
            </a:lvl1pPr>
            <a:lvl2pPr marL="640080" indent="0" algn="ctr" defTabSz="1280160" rtl="0" eaLnBrk="1" latinLnBrk="0" hangingPunct="1">
              <a:spcBef>
                <a:spcPct val="20000"/>
              </a:spcBef>
              <a:buFont typeface="Arial" panose="020B0604020202020204" pitchFamily="34" charset="0"/>
              <a:buNone/>
              <a:defRPr sz="3900" kern="1200">
                <a:solidFill>
                  <a:schemeClr val="tx1">
                    <a:tint val="75000"/>
                  </a:schemeClr>
                </a:solidFill>
                <a:latin typeface="+mn-lt"/>
                <a:ea typeface="+mn-ea"/>
                <a:cs typeface="+mn-cs"/>
              </a:defRPr>
            </a:lvl2pPr>
            <a:lvl3pPr marL="1280160" indent="0" algn="ctr" defTabSz="1280160" rtl="0" eaLnBrk="1" latinLnBrk="0" hangingPunct="1">
              <a:spcBef>
                <a:spcPct val="20000"/>
              </a:spcBef>
              <a:buFont typeface="Arial" panose="020B0604020202020204" pitchFamily="34" charset="0"/>
              <a:buNone/>
              <a:defRPr sz="3400" kern="1200">
                <a:solidFill>
                  <a:schemeClr val="tx1">
                    <a:tint val="75000"/>
                  </a:schemeClr>
                </a:solidFill>
                <a:latin typeface="+mn-lt"/>
                <a:ea typeface="+mn-ea"/>
                <a:cs typeface="+mn-cs"/>
              </a:defRPr>
            </a:lvl3pPr>
            <a:lvl4pPr marL="192024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4pPr>
            <a:lvl5pPr marL="256032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5pPr>
            <a:lvl6pPr marL="320040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6pPr>
            <a:lvl7pPr marL="384048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7pPr>
            <a:lvl8pPr marL="448056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8pPr>
            <a:lvl9pPr marL="512064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9pPr>
          </a:lstStyle>
          <a:p>
            <a:pPr algn="r"/>
            <a:r>
              <a:rPr lang="en-US" sz="1600" b="1" dirty="0" smtClean="0">
                <a:solidFill>
                  <a:schemeClr val="accent2"/>
                </a:solidFill>
                <a:latin typeface="Arial" panose="020B0604020202020204" pitchFamily="34" charset="0"/>
                <a:cs typeface="Arial" panose="020B0604020202020204" pitchFamily="34" charset="0"/>
              </a:rPr>
              <a:t>Costs</a:t>
            </a:r>
            <a:endParaRPr lang="en-US" sz="2000" b="1" dirty="0" smtClean="0">
              <a:solidFill>
                <a:schemeClr val="accent2"/>
              </a:solidFill>
              <a:latin typeface="Arial" panose="020B0604020202020204" pitchFamily="34" charset="0"/>
              <a:cs typeface="Arial" panose="020B0604020202020204" pitchFamily="34" charset="0"/>
            </a:endParaRPr>
          </a:p>
        </p:txBody>
      </p:sp>
      <p:sp>
        <p:nvSpPr>
          <p:cNvPr id="2" name="TextBox 1"/>
          <p:cNvSpPr txBox="1"/>
          <p:nvPr/>
        </p:nvSpPr>
        <p:spPr>
          <a:xfrm>
            <a:off x="961289" y="6137477"/>
            <a:ext cx="3625379" cy="369332"/>
          </a:xfrm>
          <a:prstGeom prst="rect">
            <a:avLst/>
          </a:prstGeom>
          <a:noFill/>
        </p:spPr>
        <p:txBody>
          <a:bodyPr wrap="square" rtlCol="0">
            <a:spAutoFit/>
          </a:bodyPr>
          <a:lstStyle/>
          <a:p>
            <a:r>
              <a:rPr lang="nl-NL" dirty="0" smtClean="0">
                <a:hlinkClick r:id="rId3"/>
              </a:rPr>
              <a:t>www.vsnu.nl/openaccess</a:t>
            </a:r>
            <a:r>
              <a:rPr lang="en-GB" dirty="0" smtClean="0"/>
              <a:t> </a:t>
            </a:r>
            <a:endParaRPr lang="nl-NL" dirty="0"/>
          </a:p>
        </p:txBody>
      </p:sp>
    </p:spTree>
    <p:extLst>
      <p:ext uri="{BB962C8B-B14F-4D97-AF65-F5344CB8AC3E}">
        <p14:creationId xmlns:p14="http://schemas.microsoft.com/office/powerpoint/2010/main" val="426699681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p:cNvSpPr>
            <a:spLocks noGrp="1"/>
          </p:cNvSpPr>
          <p:nvPr>
            <p:ph type="sldNum" sz="quarter" idx="12"/>
          </p:nvPr>
        </p:nvSpPr>
        <p:spPr/>
        <p:txBody>
          <a:bodyPr/>
          <a:lstStyle/>
          <a:p>
            <a:fld id="{4AD1E780-DE1C-4ECA-B5E5-863D0BC53287}" type="slidenum">
              <a:rPr lang="de-DE" smtClean="0"/>
              <a:pPr/>
              <a:t>17</a:t>
            </a:fld>
            <a:endParaRPr lang="de-DE" dirty="0"/>
          </a:p>
        </p:txBody>
      </p:sp>
      <p:sp>
        <p:nvSpPr>
          <p:cNvPr id="5" name="Textplatzhalter 2"/>
          <p:cNvSpPr txBox="1">
            <a:spLocks/>
          </p:cNvSpPr>
          <p:nvPr/>
        </p:nvSpPr>
        <p:spPr>
          <a:xfrm>
            <a:off x="249073" y="390768"/>
            <a:ext cx="8929946" cy="697671"/>
          </a:xfrm>
          <a:prstGeom prst="rect">
            <a:avLst/>
          </a:prstGeom>
        </p:spPr>
        <p:txBody>
          <a:bodyPr anchor="t" anchorCtr="0"/>
          <a:lstStyle>
            <a:lvl1pPr marL="0" indent="0" algn="l" defTabSz="914400" rtl="0" eaLnBrk="1" latinLnBrk="0" hangingPunct="1">
              <a:spcBef>
                <a:spcPts val="200"/>
              </a:spcBef>
              <a:buClr>
                <a:schemeClr val="tx2"/>
              </a:buClr>
              <a:buFont typeface="Wingdings" pitchFamily="2" charset="2"/>
              <a:buNone/>
              <a:defRPr sz="1600" kern="1200">
                <a:solidFill>
                  <a:schemeClr val="tx2"/>
                </a:solidFill>
                <a:latin typeface="+mn-lt"/>
                <a:ea typeface="+mn-ea"/>
                <a:cs typeface="+mn-cs"/>
              </a:defRPr>
            </a:lvl1pPr>
            <a:lvl2pPr marL="180975" indent="-180975" algn="l" defTabSz="914400" rtl="0" eaLnBrk="1" latinLnBrk="0" hangingPunct="1">
              <a:spcBef>
                <a:spcPts val="200"/>
              </a:spcBef>
              <a:buClr>
                <a:schemeClr val="tx2"/>
              </a:buClr>
              <a:buFont typeface="Wingdings" pitchFamily="2" charset="2"/>
              <a:buChar char="§"/>
              <a:defRPr sz="1600" kern="1200">
                <a:solidFill>
                  <a:schemeClr val="tx2"/>
                </a:solidFill>
                <a:latin typeface="+mn-lt"/>
                <a:ea typeface="+mn-ea"/>
                <a:cs typeface="+mn-cs"/>
              </a:defRPr>
            </a:lvl2pPr>
            <a:lvl3pPr marL="355600" indent="-174625"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3pPr>
            <a:lvl4pPr marL="538163" indent="-182563"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4pPr>
            <a:lvl5pPr marL="719138" indent="-180975" algn="l" defTabSz="914400" rtl="0" eaLnBrk="1" latinLnBrk="0" hangingPunct="1">
              <a:spcBef>
                <a:spcPts val="200"/>
              </a:spcBef>
              <a:buClr>
                <a:schemeClr val="tx2"/>
              </a:buClr>
              <a:buFont typeface="Symbol" pitchFamily="18" charset="2"/>
              <a:buChar char="-"/>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3600" b="1" dirty="0" smtClean="0">
                <a:solidFill>
                  <a:schemeClr val="accent6"/>
                </a:solidFill>
              </a:rPr>
              <a:t>Transformative </a:t>
            </a:r>
            <a:r>
              <a:rPr lang="de-DE" sz="3600" b="1" dirty="0" err="1">
                <a:solidFill>
                  <a:schemeClr val="accent6"/>
                </a:solidFill>
              </a:rPr>
              <a:t>agreements</a:t>
            </a:r>
            <a:endParaRPr lang="de-DE" sz="3600" dirty="0"/>
          </a:p>
        </p:txBody>
      </p:sp>
      <p:grpSp>
        <p:nvGrpSpPr>
          <p:cNvPr id="40" name="Gruppieren 50"/>
          <p:cNvGrpSpPr/>
          <p:nvPr/>
        </p:nvGrpSpPr>
        <p:grpSpPr>
          <a:xfrm>
            <a:off x="750572" y="5024647"/>
            <a:ext cx="1226054" cy="1097356"/>
            <a:chOff x="3724768" y="4315957"/>
            <a:chExt cx="1226054" cy="1097356"/>
          </a:xfrm>
        </p:grpSpPr>
        <p:sp>
          <p:nvSpPr>
            <p:cNvPr id="41" name="Rechteck 51"/>
            <p:cNvSpPr/>
            <p:nvPr/>
          </p:nvSpPr>
          <p:spPr>
            <a:xfrm>
              <a:off x="3724768" y="4315957"/>
              <a:ext cx="1226054" cy="1097356"/>
            </a:xfrm>
            <a:prstGeom prst="rect">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en-US" sz="1200" dirty="0" smtClean="0">
                <a:solidFill>
                  <a:schemeClr val="tx1"/>
                </a:solidFill>
              </a:endParaRPr>
            </a:p>
          </p:txBody>
        </p:sp>
        <p:grpSp>
          <p:nvGrpSpPr>
            <p:cNvPr id="42" name="Gruppieren 52"/>
            <p:cNvGrpSpPr/>
            <p:nvPr/>
          </p:nvGrpSpPr>
          <p:grpSpPr>
            <a:xfrm>
              <a:off x="3783503" y="4411249"/>
              <a:ext cx="989690" cy="881199"/>
              <a:chOff x="3783503" y="4411249"/>
              <a:chExt cx="989690" cy="881199"/>
            </a:xfrm>
          </p:grpSpPr>
          <p:pic>
            <p:nvPicPr>
              <p:cNvPr id="43"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3783503" y="4525865"/>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4"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4144565" y="4525865"/>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5"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4505628" y="4525865"/>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6"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3966095" y="4931135"/>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7"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4332047" y="4931135"/>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8" name="Grafik 63"/>
              <p:cNvPicPr>
                <a:picLocks noChangeAspect="1"/>
              </p:cNvPicPr>
              <p:nvPr/>
            </p:nvPicPr>
            <p:blipFill>
              <a:blip r:embed="rId4">
                <a:grayscl/>
                <a:extLst>
                  <a:ext uri="{28A0092B-C50C-407E-A947-70E740481C1C}">
                    <a14:useLocalDpi xmlns:a14="http://schemas.microsoft.com/office/drawing/2010/main" val="0"/>
                  </a:ext>
                </a:extLst>
              </a:blip>
              <a:stretch>
                <a:fillRect/>
              </a:stretch>
            </p:blipFill>
            <p:spPr>
              <a:xfrm>
                <a:off x="4051068" y="4411249"/>
                <a:ext cx="556741" cy="865555"/>
              </a:xfrm>
              <a:prstGeom prst="rect">
                <a:avLst/>
              </a:prstGeom>
            </p:spPr>
          </p:pic>
        </p:grpSp>
      </p:grpSp>
      <p:sp>
        <p:nvSpPr>
          <p:cNvPr id="49" name="Rechteck 44"/>
          <p:cNvSpPr/>
          <p:nvPr/>
        </p:nvSpPr>
        <p:spPr>
          <a:xfrm>
            <a:off x="751666" y="5027551"/>
            <a:ext cx="1226054" cy="1097356"/>
          </a:xfrm>
          <a:prstGeom prst="rect">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en-US" sz="1200" dirty="0" smtClean="0">
              <a:solidFill>
                <a:schemeClr val="tx1"/>
              </a:solidFill>
            </a:endParaRPr>
          </a:p>
        </p:txBody>
      </p:sp>
      <p:sp>
        <p:nvSpPr>
          <p:cNvPr id="50" name="Rechteck 55"/>
          <p:cNvSpPr/>
          <p:nvPr/>
        </p:nvSpPr>
        <p:spPr>
          <a:xfrm>
            <a:off x="834079" y="1474624"/>
            <a:ext cx="309464" cy="478621"/>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51" name="Rechteck 56"/>
          <p:cNvSpPr/>
          <p:nvPr/>
        </p:nvSpPr>
        <p:spPr>
          <a:xfrm>
            <a:off x="1601260" y="2634462"/>
            <a:ext cx="309464" cy="478621"/>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52" name="Rechteck 58"/>
          <p:cNvSpPr/>
          <p:nvPr/>
        </p:nvSpPr>
        <p:spPr>
          <a:xfrm>
            <a:off x="1009541" y="3220517"/>
            <a:ext cx="309464" cy="478621"/>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53" name="Rechteck 59"/>
          <p:cNvSpPr/>
          <p:nvPr/>
        </p:nvSpPr>
        <p:spPr>
          <a:xfrm>
            <a:off x="1403991" y="3220517"/>
            <a:ext cx="309464" cy="478621"/>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54" name="Rechteck 84"/>
          <p:cNvSpPr/>
          <p:nvPr/>
        </p:nvSpPr>
        <p:spPr>
          <a:xfrm>
            <a:off x="1601260" y="1474624"/>
            <a:ext cx="309464" cy="478621"/>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55" name="Rechteck 85"/>
          <p:cNvSpPr/>
          <p:nvPr/>
        </p:nvSpPr>
        <p:spPr>
          <a:xfrm>
            <a:off x="1009541" y="2054597"/>
            <a:ext cx="309464" cy="478621"/>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56" name="Rechteck 86"/>
          <p:cNvSpPr/>
          <p:nvPr/>
        </p:nvSpPr>
        <p:spPr>
          <a:xfrm>
            <a:off x="1403991" y="2054597"/>
            <a:ext cx="309464" cy="478621"/>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57" name="Rechteck 90"/>
          <p:cNvSpPr/>
          <p:nvPr/>
        </p:nvSpPr>
        <p:spPr>
          <a:xfrm>
            <a:off x="1217669" y="2634462"/>
            <a:ext cx="309464" cy="478621"/>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58" name="Rechteck 91"/>
          <p:cNvSpPr/>
          <p:nvPr/>
        </p:nvSpPr>
        <p:spPr>
          <a:xfrm>
            <a:off x="1217669" y="3802821"/>
            <a:ext cx="309464" cy="478621"/>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59" name="Rechteck 92"/>
          <p:cNvSpPr/>
          <p:nvPr/>
        </p:nvSpPr>
        <p:spPr>
          <a:xfrm>
            <a:off x="834079" y="3802821"/>
            <a:ext cx="309464" cy="478621"/>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60" name="Rechteck 93"/>
          <p:cNvSpPr/>
          <p:nvPr/>
        </p:nvSpPr>
        <p:spPr>
          <a:xfrm>
            <a:off x="1601260" y="3802821"/>
            <a:ext cx="309464" cy="478621"/>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61" name="Rechteck 96"/>
          <p:cNvSpPr/>
          <p:nvPr/>
        </p:nvSpPr>
        <p:spPr>
          <a:xfrm>
            <a:off x="1009541" y="4382908"/>
            <a:ext cx="309464" cy="478621"/>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62" name="Rechteck 97"/>
          <p:cNvSpPr/>
          <p:nvPr/>
        </p:nvSpPr>
        <p:spPr>
          <a:xfrm>
            <a:off x="1403991" y="4382908"/>
            <a:ext cx="309464" cy="478621"/>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63" name="Rechteck 48"/>
          <p:cNvSpPr/>
          <p:nvPr/>
        </p:nvSpPr>
        <p:spPr>
          <a:xfrm>
            <a:off x="754232" y="1391692"/>
            <a:ext cx="1222394" cy="3572907"/>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grpSp>
        <p:nvGrpSpPr>
          <p:cNvPr id="75" name="Gruppieren 35"/>
          <p:cNvGrpSpPr/>
          <p:nvPr/>
        </p:nvGrpSpPr>
        <p:grpSpPr>
          <a:xfrm>
            <a:off x="3304016" y="1769652"/>
            <a:ext cx="2494566" cy="3614951"/>
            <a:chOff x="3537697" y="1789696"/>
            <a:chExt cx="2494566" cy="3614951"/>
          </a:xfrm>
        </p:grpSpPr>
        <p:sp>
          <p:nvSpPr>
            <p:cNvPr id="76" name="Rechteck 36"/>
            <p:cNvSpPr/>
            <p:nvPr/>
          </p:nvSpPr>
          <p:spPr>
            <a:xfrm>
              <a:off x="4693447" y="1789696"/>
              <a:ext cx="309464" cy="478621"/>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77" name="Rechteck 37"/>
            <p:cNvSpPr/>
            <p:nvPr/>
          </p:nvSpPr>
          <p:spPr>
            <a:xfrm>
              <a:off x="3537697" y="2740214"/>
              <a:ext cx="309464" cy="478621"/>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78" name="Rechteck 38"/>
            <p:cNvSpPr/>
            <p:nvPr/>
          </p:nvSpPr>
          <p:spPr>
            <a:xfrm>
              <a:off x="5722799" y="3694572"/>
              <a:ext cx="309464" cy="478621"/>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79" name="Rechteck 39"/>
            <p:cNvSpPr/>
            <p:nvPr/>
          </p:nvSpPr>
          <p:spPr>
            <a:xfrm>
              <a:off x="5164793" y="3306550"/>
              <a:ext cx="309464" cy="478621"/>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80" name="Rechteck 40"/>
            <p:cNvSpPr/>
            <p:nvPr/>
          </p:nvSpPr>
          <p:spPr>
            <a:xfrm>
              <a:off x="5171517" y="2209781"/>
              <a:ext cx="309464" cy="478621"/>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81" name="Rechteck 41"/>
            <p:cNvSpPr/>
            <p:nvPr/>
          </p:nvSpPr>
          <p:spPr>
            <a:xfrm>
              <a:off x="4102427" y="2214525"/>
              <a:ext cx="309464" cy="478621"/>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82" name="Rechteck 42"/>
            <p:cNvSpPr/>
            <p:nvPr/>
          </p:nvSpPr>
          <p:spPr>
            <a:xfrm>
              <a:off x="4479323" y="2939180"/>
              <a:ext cx="309464" cy="478621"/>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83" name="Rechteck 43"/>
            <p:cNvSpPr/>
            <p:nvPr/>
          </p:nvSpPr>
          <p:spPr>
            <a:xfrm>
              <a:off x="3787192" y="3417801"/>
              <a:ext cx="309464" cy="478621"/>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84" name="Rechteck 45"/>
            <p:cNvSpPr/>
            <p:nvPr/>
          </p:nvSpPr>
          <p:spPr>
            <a:xfrm>
              <a:off x="3692429" y="4405780"/>
              <a:ext cx="309464" cy="478621"/>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85" name="Rechteck 46"/>
            <p:cNvSpPr/>
            <p:nvPr/>
          </p:nvSpPr>
          <p:spPr>
            <a:xfrm>
              <a:off x="4419128" y="4057340"/>
              <a:ext cx="309464" cy="478621"/>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86" name="Rechteck 47"/>
            <p:cNvSpPr/>
            <p:nvPr/>
          </p:nvSpPr>
          <p:spPr>
            <a:xfrm>
              <a:off x="5374113" y="4631642"/>
              <a:ext cx="309464" cy="478621"/>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87" name="Rechteck 49"/>
            <p:cNvSpPr/>
            <p:nvPr/>
          </p:nvSpPr>
          <p:spPr>
            <a:xfrm>
              <a:off x="4601828" y="4926026"/>
              <a:ext cx="309464" cy="478621"/>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88" name="Rechteck 54"/>
            <p:cNvSpPr/>
            <p:nvPr/>
          </p:nvSpPr>
          <p:spPr>
            <a:xfrm>
              <a:off x="5633153" y="2693146"/>
              <a:ext cx="309464" cy="478621"/>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grpSp>
      <p:sp>
        <p:nvSpPr>
          <p:cNvPr id="121" name="Rechteck 53"/>
          <p:cNvSpPr/>
          <p:nvPr/>
        </p:nvSpPr>
        <p:spPr>
          <a:xfrm>
            <a:off x="9108580" y="3415196"/>
            <a:ext cx="309464" cy="478621"/>
          </a:xfrm>
          <a:prstGeom prst="rect">
            <a:avLst/>
          </a:prstGeom>
          <a:solidFill>
            <a:schemeClr val="accent2">
              <a:lumMod val="40000"/>
              <a:lumOff val="60000"/>
            </a:schemeClr>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122" name="Rechteck 54"/>
          <p:cNvSpPr>
            <a:spLocks noChangeAspect="1"/>
          </p:cNvSpPr>
          <p:nvPr/>
        </p:nvSpPr>
        <p:spPr>
          <a:xfrm>
            <a:off x="7555981" y="1484743"/>
            <a:ext cx="154732" cy="239311"/>
          </a:xfrm>
          <a:prstGeom prst="rect">
            <a:avLst/>
          </a:prstGeom>
          <a:solidFill>
            <a:schemeClr val="accent5"/>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123" name="Rechteck 55"/>
          <p:cNvSpPr>
            <a:spLocks noChangeAspect="1"/>
          </p:cNvSpPr>
          <p:nvPr/>
        </p:nvSpPr>
        <p:spPr>
          <a:xfrm>
            <a:off x="7109003" y="2294768"/>
            <a:ext cx="278777" cy="431158"/>
          </a:xfrm>
          <a:prstGeom prst="rect">
            <a:avLst/>
          </a:prstGeom>
          <a:solidFill>
            <a:schemeClr val="tx1">
              <a:lumMod val="50000"/>
              <a:lumOff val="50000"/>
            </a:schemeClr>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accent6"/>
              </a:solidFill>
            </a:endParaRPr>
          </a:p>
        </p:txBody>
      </p:sp>
      <p:sp>
        <p:nvSpPr>
          <p:cNvPr id="124" name="Rechteck 57"/>
          <p:cNvSpPr>
            <a:spLocks noChangeAspect="1"/>
          </p:cNvSpPr>
          <p:nvPr/>
        </p:nvSpPr>
        <p:spPr>
          <a:xfrm>
            <a:off x="8828521" y="2531453"/>
            <a:ext cx="250667" cy="387683"/>
          </a:xfrm>
          <a:prstGeom prst="rect">
            <a:avLst/>
          </a:prstGeom>
          <a:solidFill>
            <a:schemeClr val="accent5"/>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125" name="Rechteck 59"/>
          <p:cNvSpPr>
            <a:spLocks noChangeAspect="1"/>
          </p:cNvSpPr>
          <p:nvPr/>
        </p:nvSpPr>
        <p:spPr>
          <a:xfrm>
            <a:off x="7710713" y="2276196"/>
            <a:ext cx="154732" cy="239311"/>
          </a:xfrm>
          <a:prstGeom prst="rect">
            <a:avLst/>
          </a:prstGeom>
          <a:no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126" name="Rechteck 60"/>
          <p:cNvSpPr/>
          <p:nvPr/>
        </p:nvSpPr>
        <p:spPr>
          <a:xfrm>
            <a:off x="8246585" y="1689333"/>
            <a:ext cx="309464" cy="478621"/>
          </a:xfrm>
          <a:prstGeom prst="rect">
            <a:avLst/>
          </a:prstGeom>
          <a:solidFill>
            <a:schemeClr val="accent3">
              <a:lumMod val="20000"/>
              <a:lumOff val="80000"/>
            </a:schemeClr>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accent6"/>
              </a:solidFill>
            </a:endParaRPr>
          </a:p>
        </p:txBody>
      </p:sp>
      <p:sp>
        <p:nvSpPr>
          <p:cNvPr id="127" name="Rechteck 61"/>
          <p:cNvSpPr/>
          <p:nvPr/>
        </p:nvSpPr>
        <p:spPr>
          <a:xfrm>
            <a:off x="7375467" y="3713559"/>
            <a:ext cx="309464" cy="478621"/>
          </a:xfrm>
          <a:prstGeom prst="rect">
            <a:avLst/>
          </a:prstGeom>
          <a:solidFill>
            <a:schemeClr val="accent6">
              <a:lumMod val="20000"/>
              <a:lumOff val="80000"/>
            </a:schemeClr>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128" name="Rechteck 62"/>
          <p:cNvSpPr>
            <a:spLocks noChangeAspect="1"/>
          </p:cNvSpPr>
          <p:nvPr/>
        </p:nvSpPr>
        <p:spPr>
          <a:xfrm>
            <a:off x="8339424" y="4465314"/>
            <a:ext cx="216625" cy="335035"/>
          </a:xfrm>
          <a:prstGeom prst="rect">
            <a:avLst/>
          </a:prstGeom>
          <a:no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129" name="Rechteck 63"/>
          <p:cNvSpPr/>
          <p:nvPr/>
        </p:nvSpPr>
        <p:spPr>
          <a:xfrm>
            <a:off x="8114212" y="3055312"/>
            <a:ext cx="309464" cy="478621"/>
          </a:xfrm>
          <a:prstGeom prst="rect">
            <a:avLst/>
          </a:prstGeom>
          <a:solidFill>
            <a:schemeClr val="accent4">
              <a:lumMod val="60000"/>
              <a:lumOff val="40000"/>
            </a:schemeClr>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130" name="Rechteck 65"/>
          <p:cNvSpPr>
            <a:spLocks noChangeAspect="1"/>
          </p:cNvSpPr>
          <p:nvPr/>
        </p:nvSpPr>
        <p:spPr>
          <a:xfrm>
            <a:off x="7296025" y="4954742"/>
            <a:ext cx="216622" cy="335035"/>
          </a:xfrm>
          <a:prstGeom prst="rect">
            <a:avLst/>
          </a:prstGeom>
          <a:solidFill>
            <a:schemeClr val="accent6">
              <a:lumMod val="60000"/>
              <a:lumOff val="40000"/>
            </a:schemeClr>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131" name="Rechteck 60"/>
          <p:cNvSpPr/>
          <p:nvPr/>
        </p:nvSpPr>
        <p:spPr>
          <a:xfrm>
            <a:off x="9108580" y="5000065"/>
            <a:ext cx="309464" cy="478621"/>
          </a:xfrm>
          <a:prstGeom prst="rect">
            <a:avLst/>
          </a:prstGeom>
          <a:solidFill>
            <a:schemeClr val="accent3">
              <a:lumMod val="20000"/>
              <a:lumOff val="80000"/>
            </a:schemeClr>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accent6"/>
              </a:solidFill>
            </a:endParaRPr>
          </a:p>
        </p:txBody>
      </p:sp>
      <p:sp>
        <p:nvSpPr>
          <p:cNvPr id="132" name="Rechteck 65"/>
          <p:cNvSpPr>
            <a:spLocks noChangeAspect="1"/>
          </p:cNvSpPr>
          <p:nvPr/>
        </p:nvSpPr>
        <p:spPr>
          <a:xfrm>
            <a:off x="9155001" y="1627215"/>
            <a:ext cx="216622" cy="335035"/>
          </a:xfrm>
          <a:prstGeom prst="rect">
            <a:avLst/>
          </a:prstGeom>
          <a:solidFill>
            <a:schemeClr val="accent6">
              <a:lumMod val="60000"/>
              <a:lumOff val="40000"/>
            </a:schemeClr>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133" name="Right Arrow 132"/>
          <p:cNvSpPr/>
          <p:nvPr/>
        </p:nvSpPr>
        <p:spPr>
          <a:xfrm>
            <a:off x="2305856" y="3286506"/>
            <a:ext cx="894109" cy="548697"/>
          </a:xfrm>
          <a:prstGeom prst="rightArrow">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en-GB" sz="1200" dirty="0" smtClean="0">
              <a:solidFill>
                <a:schemeClr val="tx1"/>
              </a:solidFill>
            </a:endParaRPr>
          </a:p>
        </p:txBody>
      </p:sp>
      <p:sp>
        <p:nvSpPr>
          <p:cNvPr id="134" name="Right Arrow 133"/>
          <p:cNvSpPr/>
          <p:nvPr/>
        </p:nvSpPr>
        <p:spPr>
          <a:xfrm>
            <a:off x="5951186" y="3185478"/>
            <a:ext cx="894109" cy="548697"/>
          </a:xfrm>
          <a:prstGeom prst="rightArrow">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en-GB" sz="1200" dirty="0" smtClean="0">
              <a:solidFill>
                <a:schemeClr val="tx1"/>
              </a:solidFill>
            </a:endParaRPr>
          </a:p>
        </p:txBody>
      </p:sp>
      <p:sp>
        <p:nvSpPr>
          <p:cNvPr id="64" name="TextBox 63"/>
          <p:cNvSpPr txBox="1"/>
          <p:nvPr/>
        </p:nvSpPr>
        <p:spPr>
          <a:xfrm>
            <a:off x="302341" y="6285084"/>
            <a:ext cx="2973599" cy="307777"/>
          </a:xfrm>
          <a:prstGeom prst="rect">
            <a:avLst/>
          </a:prstGeom>
          <a:noFill/>
        </p:spPr>
        <p:txBody>
          <a:bodyPr wrap="square" rtlCol="0">
            <a:spAutoFit/>
          </a:bodyPr>
          <a:lstStyle/>
          <a:p>
            <a:r>
              <a:rPr lang="en-GB" sz="1400" dirty="0">
                <a:solidFill>
                  <a:schemeClr val="accent6"/>
                </a:solidFill>
              </a:rPr>
              <a:t>http://esac-initiative.org/</a:t>
            </a:r>
          </a:p>
        </p:txBody>
      </p:sp>
    </p:spTree>
    <p:extLst>
      <p:ext uri="{BB962C8B-B14F-4D97-AF65-F5344CB8AC3E}">
        <p14:creationId xmlns:p14="http://schemas.microsoft.com/office/powerpoint/2010/main" val="3414354318"/>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2"/>
          <p:cNvSpPr txBox="1">
            <a:spLocks/>
          </p:cNvSpPr>
          <p:nvPr/>
        </p:nvSpPr>
        <p:spPr>
          <a:xfrm>
            <a:off x="249073" y="390768"/>
            <a:ext cx="8929946" cy="697671"/>
          </a:xfrm>
          <a:prstGeom prst="rect">
            <a:avLst/>
          </a:prstGeom>
        </p:spPr>
        <p:txBody>
          <a:bodyPr anchor="t" anchorCtr="0"/>
          <a:lstStyle>
            <a:lvl1pPr marL="0" indent="0" algn="l" defTabSz="914400" rtl="0" eaLnBrk="1" latinLnBrk="0" hangingPunct="1">
              <a:spcBef>
                <a:spcPts val="200"/>
              </a:spcBef>
              <a:buClr>
                <a:schemeClr val="tx2"/>
              </a:buClr>
              <a:buFont typeface="Wingdings" pitchFamily="2" charset="2"/>
              <a:buNone/>
              <a:defRPr sz="1600" kern="1200">
                <a:solidFill>
                  <a:schemeClr val="tx2"/>
                </a:solidFill>
                <a:latin typeface="+mn-lt"/>
                <a:ea typeface="+mn-ea"/>
                <a:cs typeface="+mn-cs"/>
              </a:defRPr>
            </a:lvl1pPr>
            <a:lvl2pPr marL="180975" indent="-180975" algn="l" defTabSz="914400" rtl="0" eaLnBrk="1" latinLnBrk="0" hangingPunct="1">
              <a:spcBef>
                <a:spcPts val="200"/>
              </a:spcBef>
              <a:buClr>
                <a:schemeClr val="tx2"/>
              </a:buClr>
              <a:buFont typeface="Wingdings" pitchFamily="2" charset="2"/>
              <a:buChar char="§"/>
              <a:defRPr sz="1600" kern="1200">
                <a:solidFill>
                  <a:schemeClr val="tx2"/>
                </a:solidFill>
                <a:latin typeface="+mn-lt"/>
                <a:ea typeface="+mn-ea"/>
                <a:cs typeface="+mn-cs"/>
              </a:defRPr>
            </a:lvl2pPr>
            <a:lvl3pPr marL="355600" indent="-174625"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3pPr>
            <a:lvl4pPr marL="538163" indent="-182563"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4pPr>
            <a:lvl5pPr marL="719138" indent="-180975" algn="l" defTabSz="914400" rtl="0" eaLnBrk="1" latinLnBrk="0" hangingPunct="1">
              <a:spcBef>
                <a:spcPts val="200"/>
              </a:spcBef>
              <a:buClr>
                <a:schemeClr val="tx2"/>
              </a:buClr>
              <a:buFont typeface="Symbol" pitchFamily="18" charset="2"/>
              <a:buChar char="-"/>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600" b="1" dirty="0">
                <a:solidFill>
                  <a:schemeClr val="accent6"/>
                </a:solidFill>
              </a:rPr>
              <a:t>From individual journal subscriptions </a:t>
            </a:r>
            <a:br>
              <a:rPr lang="en-US" sz="3600" b="1" dirty="0">
                <a:solidFill>
                  <a:schemeClr val="accent6"/>
                </a:solidFill>
              </a:rPr>
            </a:br>
            <a:r>
              <a:rPr lang="en-US" sz="3600" b="1" dirty="0">
                <a:solidFill>
                  <a:schemeClr val="accent6"/>
                </a:solidFill>
              </a:rPr>
              <a:t>to the Big Deal</a:t>
            </a:r>
          </a:p>
        </p:txBody>
      </p:sp>
      <p:pic>
        <p:nvPicPr>
          <p:cNvPr id="65"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2934033" y="2939641"/>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6"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3295095" y="2939641"/>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7"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3656158" y="2939641"/>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8"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3116625" y="3344911"/>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9"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3482577" y="3344911"/>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0"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2977895" y="2081435"/>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1"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3338957" y="2081435"/>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2"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3700020" y="2081435"/>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3"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3160487" y="2486705"/>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4"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3526439" y="2486705"/>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9"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2934033" y="4653745"/>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0"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3295095" y="4653745"/>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1"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3656158" y="4653745"/>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2"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3116625" y="5059015"/>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3"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3482577" y="5059015"/>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4"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2977895" y="3795539"/>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5"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3338957" y="3795539"/>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6"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3700020" y="3795539"/>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7"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3160487" y="4200809"/>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8"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3526439" y="4200809"/>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9" name="Rechteck 5"/>
          <p:cNvSpPr/>
          <p:nvPr/>
        </p:nvSpPr>
        <p:spPr>
          <a:xfrm>
            <a:off x="2875312" y="1969609"/>
            <a:ext cx="1226054" cy="3571875"/>
          </a:xfrm>
          <a:prstGeom prst="rect">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en-US" sz="1200" dirty="0" smtClean="0">
              <a:solidFill>
                <a:schemeClr val="tx1"/>
              </a:solidFill>
            </a:endParaRPr>
          </a:p>
        </p:txBody>
      </p:sp>
      <p:pic>
        <p:nvPicPr>
          <p:cNvPr id="100" name="Grafik 13"/>
          <p:cNvPicPr>
            <a:picLocks noChangeAspect="1"/>
          </p:cNvPicPr>
          <p:nvPr/>
        </p:nvPicPr>
        <p:blipFill>
          <a:blip r:embed="rId4">
            <a:grayscl/>
            <a:extLst>
              <a:ext uri="{28A0092B-C50C-407E-A947-70E740481C1C}">
                <a14:useLocalDpi xmlns:a14="http://schemas.microsoft.com/office/drawing/2010/main" val="0"/>
              </a:ext>
            </a:extLst>
          </a:blip>
          <a:stretch>
            <a:fillRect/>
          </a:stretch>
        </p:blipFill>
        <p:spPr>
          <a:xfrm>
            <a:off x="3201598" y="4539129"/>
            <a:ext cx="556741" cy="865555"/>
          </a:xfrm>
          <a:prstGeom prst="rect">
            <a:avLst/>
          </a:prstGeom>
        </p:spPr>
      </p:pic>
      <p:sp>
        <p:nvSpPr>
          <p:cNvPr id="101" name="Inhaltsplatzhalter 8"/>
          <p:cNvSpPr txBox="1">
            <a:spLocks/>
          </p:cNvSpPr>
          <p:nvPr/>
        </p:nvSpPr>
        <p:spPr>
          <a:xfrm>
            <a:off x="2866804" y="5648415"/>
            <a:ext cx="1372671" cy="215444"/>
          </a:xfrm>
          <a:prstGeom prst="rect">
            <a:avLst/>
          </a:prstGeom>
        </p:spPr>
        <p:txBody>
          <a:bodyPr vert="horz" wrap="square" lIns="0" tIns="0" rIns="0" bIns="0" rtlCol="0">
            <a:spAutoFit/>
          </a:bodyPr>
          <a:lstStyle>
            <a:lvl1pPr marL="0" indent="0" algn="l" defTabSz="914400" rtl="0" eaLnBrk="1" latinLnBrk="0" hangingPunct="1">
              <a:spcBef>
                <a:spcPts val="200"/>
              </a:spcBef>
              <a:buClr>
                <a:schemeClr val="tx2"/>
              </a:buClr>
              <a:buFont typeface="Wingdings" pitchFamily="2" charset="2"/>
              <a:buNone/>
              <a:defRPr sz="1600" kern="1200">
                <a:solidFill>
                  <a:schemeClr val="tx2"/>
                </a:solidFill>
                <a:latin typeface="+mn-lt"/>
                <a:ea typeface="+mn-ea"/>
                <a:cs typeface="+mn-cs"/>
              </a:defRPr>
            </a:lvl1pPr>
            <a:lvl2pPr marL="180975" indent="-180975" algn="l" defTabSz="914400" rtl="0" eaLnBrk="1" latinLnBrk="0" hangingPunct="1">
              <a:spcBef>
                <a:spcPts val="200"/>
              </a:spcBef>
              <a:buClr>
                <a:schemeClr val="tx2"/>
              </a:buClr>
              <a:buFont typeface="Wingdings" pitchFamily="2" charset="2"/>
              <a:buChar char="§"/>
              <a:defRPr sz="1600" kern="1200">
                <a:solidFill>
                  <a:schemeClr val="tx2"/>
                </a:solidFill>
                <a:latin typeface="+mn-lt"/>
                <a:ea typeface="+mn-ea"/>
                <a:cs typeface="+mn-cs"/>
              </a:defRPr>
            </a:lvl2pPr>
            <a:lvl3pPr marL="355600" indent="-174625"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3pPr>
            <a:lvl4pPr marL="538163" indent="-182563"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4pPr>
            <a:lvl5pPr marL="719138" indent="-180975" algn="l" defTabSz="914400" rtl="0" eaLnBrk="1" latinLnBrk="0" hangingPunct="1">
              <a:spcBef>
                <a:spcPts val="200"/>
              </a:spcBef>
              <a:buClr>
                <a:schemeClr val="tx2"/>
              </a:buClr>
              <a:buFont typeface="Symbol" pitchFamily="18" charset="2"/>
              <a:buChar char="-"/>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400" b="1" dirty="0">
                <a:solidFill>
                  <a:schemeClr val="accent6"/>
                </a:solidFill>
              </a:rPr>
              <a:t>Subscriptions</a:t>
            </a:r>
          </a:p>
        </p:txBody>
      </p:sp>
      <p:grpSp>
        <p:nvGrpSpPr>
          <p:cNvPr id="102" name="Gruppieren 12"/>
          <p:cNvGrpSpPr/>
          <p:nvPr/>
        </p:nvGrpSpPr>
        <p:grpSpPr>
          <a:xfrm>
            <a:off x="5441255" y="2228248"/>
            <a:ext cx="309464" cy="478621"/>
            <a:chOff x="5441255" y="2100368"/>
            <a:chExt cx="309464" cy="478621"/>
          </a:xfrm>
        </p:grpSpPr>
        <p:sp>
          <p:nvSpPr>
            <p:cNvPr id="103" name="Rechteck 62"/>
            <p:cNvSpPr/>
            <p:nvPr/>
          </p:nvSpPr>
          <p:spPr>
            <a:xfrm>
              <a:off x="5441255" y="2100368"/>
              <a:ext cx="309464" cy="478621"/>
            </a:xfrm>
            <a:prstGeom prst="rect">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pic>
          <p:nvPicPr>
            <p:cNvPr id="104"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5462204" y="2159021"/>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105" name="Gruppieren 18"/>
          <p:cNvGrpSpPr/>
          <p:nvPr/>
        </p:nvGrpSpPr>
        <p:grpSpPr>
          <a:xfrm>
            <a:off x="5057669" y="3798951"/>
            <a:ext cx="309464" cy="478621"/>
            <a:chOff x="5057669" y="3671071"/>
            <a:chExt cx="309464" cy="478621"/>
          </a:xfrm>
        </p:grpSpPr>
        <p:sp>
          <p:nvSpPr>
            <p:cNvPr id="106" name="Rechteck 65"/>
            <p:cNvSpPr/>
            <p:nvPr/>
          </p:nvSpPr>
          <p:spPr>
            <a:xfrm>
              <a:off x="5057669" y="3671071"/>
              <a:ext cx="309464" cy="478621"/>
            </a:xfrm>
            <a:prstGeom prst="rect">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pic>
          <p:nvPicPr>
            <p:cNvPr id="107"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5064396" y="3728672"/>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108" name="Gruppieren 15"/>
          <p:cNvGrpSpPr/>
          <p:nvPr/>
        </p:nvGrpSpPr>
        <p:grpSpPr>
          <a:xfrm>
            <a:off x="6160090" y="3863370"/>
            <a:ext cx="309464" cy="478621"/>
            <a:chOff x="6160090" y="3735490"/>
            <a:chExt cx="309464" cy="478621"/>
          </a:xfrm>
        </p:grpSpPr>
        <p:sp>
          <p:nvSpPr>
            <p:cNvPr id="109" name="Rechteck 63"/>
            <p:cNvSpPr/>
            <p:nvPr/>
          </p:nvSpPr>
          <p:spPr>
            <a:xfrm>
              <a:off x="6160090" y="3735490"/>
              <a:ext cx="309464" cy="478621"/>
            </a:xfrm>
            <a:prstGeom prst="rect">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pic>
          <p:nvPicPr>
            <p:cNvPr id="110"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6180786" y="3794699"/>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111" name="Gruppieren 19"/>
          <p:cNvGrpSpPr/>
          <p:nvPr/>
        </p:nvGrpSpPr>
        <p:grpSpPr>
          <a:xfrm>
            <a:off x="4296671" y="4408245"/>
            <a:ext cx="309464" cy="478621"/>
            <a:chOff x="4296671" y="4280365"/>
            <a:chExt cx="309464" cy="478621"/>
          </a:xfrm>
        </p:grpSpPr>
        <p:sp>
          <p:nvSpPr>
            <p:cNvPr id="112" name="Rechteck 56"/>
            <p:cNvSpPr/>
            <p:nvPr/>
          </p:nvSpPr>
          <p:spPr>
            <a:xfrm>
              <a:off x="4296671" y="4280365"/>
              <a:ext cx="309464" cy="478621"/>
            </a:xfrm>
            <a:prstGeom prst="rect">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pic>
          <p:nvPicPr>
            <p:cNvPr id="113"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4317620" y="4339018"/>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114" name="Gruppieren 11"/>
          <p:cNvGrpSpPr/>
          <p:nvPr/>
        </p:nvGrpSpPr>
        <p:grpSpPr>
          <a:xfrm>
            <a:off x="4127972" y="3435408"/>
            <a:ext cx="371359" cy="574345"/>
            <a:chOff x="4127972" y="3307528"/>
            <a:chExt cx="371359" cy="574345"/>
          </a:xfrm>
        </p:grpSpPr>
        <p:sp>
          <p:nvSpPr>
            <p:cNvPr id="115" name="Rechteck 58"/>
            <p:cNvSpPr>
              <a:spLocks noChangeAspect="1"/>
            </p:cNvSpPr>
            <p:nvPr/>
          </p:nvSpPr>
          <p:spPr>
            <a:xfrm>
              <a:off x="4127972" y="3307528"/>
              <a:ext cx="371359" cy="574345"/>
            </a:xfrm>
            <a:prstGeom prst="rect">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pic>
          <p:nvPicPr>
            <p:cNvPr id="116"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4162888" y="3414043"/>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117" name="Gruppieren 6"/>
          <p:cNvGrpSpPr/>
          <p:nvPr/>
        </p:nvGrpSpPr>
        <p:grpSpPr>
          <a:xfrm>
            <a:off x="4634533" y="5366843"/>
            <a:ext cx="223652" cy="335035"/>
            <a:chOff x="4634533" y="5238963"/>
            <a:chExt cx="223652" cy="335035"/>
          </a:xfrm>
        </p:grpSpPr>
        <p:sp>
          <p:nvSpPr>
            <p:cNvPr id="118" name="Rechteck 67"/>
            <p:cNvSpPr>
              <a:spLocks noChangeAspect="1"/>
            </p:cNvSpPr>
            <p:nvPr/>
          </p:nvSpPr>
          <p:spPr>
            <a:xfrm>
              <a:off x="4641563" y="5238963"/>
              <a:ext cx="216622" cy="335035"/>
            </a:xfrm>
            <a:prstGeom prst="rect">
              <a:avLst/>
            </a:prstGeom>
            <a:noFill/>
            <a:ln w="127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pic>
          <p:nvPicPr>
            <p:cNvPr id="119" name="Picture 3"/>
            <p:cNvPicPr>
              <a:picLocks noChangeAspect="1" noChangeArrowheads="1"/>
            </p:cNvPicPr>
            <p:nvPr/>
          </p:nvPicPr>
          <p:blipFill rotWithShape="1">
            <a:blip r:embed="rId5"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4634533" y="5264528"/>
              <a:ext cx="218227" cy="2946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120" name="Gruppieren 14"/>
          <p:cNvGrpSpPr/>
          <p:nvPr/>
        </p:nvGrpSpPr>
        <p:grpSpPr>
          <a:xfrm>
            <a:off x="6174059" y="2943554"/>
            <a:ext cx="250667" cy="387683"/>
            <a:chOff x="6174059" y="2815674"/>
            <a:chExt cx="250667" cy="387683"/>
          </a:xfrm>
        </p:grpSpPr>
        <p:sp>
          <p:nvSpPr>
            <p:cNvPr id="135" name="Rechteck 59"/>
            <p:cNvSpPr>
              <a:spLocks noChangeAspect="1"/>
            </p:cNvSpPr>
            <p:nvPr/>
          </p:nvSpPr>
          <p:spPr>
            <a:xfrm>
              <a:off x="6174059" y="2815674"/>
              <a:ext cx="250667" cy="387683"/>
            </a:xfrm>
            <a:prstGeom prst="rect">
              <a:avLst/>
            </a:prstGeom>
            <a:noFill/>
            <a:ln w="127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pic>
          <p:nvPicPr>
            <p:cNvPr id="136" name="Picture 3"/>
            <p:cNvPicPr>
              <a:picLocks noChangeAspect="1" noChangeArrowheads="1"/>
            </p:cNvPicPr>
            <p:nvPr/>
          </p:nvPicPr>
          <p:blipFill rotWithShape="1">
            <a:blip r:embed="rId5"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6190278" y="2862171"/>
              <a:ext cx="218227" cy="2946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137" name="Gruppieren 16"/>
          <p:cNvGrpSpPr/>
          <p:nvPr/>
        </p:nvGrpSpPr>
        <p:grpSpPr>
          <a:xfrm>
            <a:off x="5683360" y="4877415"/>
            <a:ext cx="218227" cy="335035"/>
            <a:chOff x="5683360" y="4749535"/>
            <a:chExt cx="218227" cy="335035"/>
          </a:xfrm>
        </p:grpSpPr>
        <p:sp>
          <p:nvSpPr>
            <p:cNvPr id="138" name="Rechteck 64"/>
            <p:cNvSpPr>
              <a:spLocks noChangeAspect="1"/>
            </p:cNvSpPr>
            <p:nvPr/>
          </p:nvSpPr>
          <p:spPr>
            <a:xfrm>
              <a:off x="5684962" y="4749535"/>
              <a:ext cx="216625" cy="335035"/>
            </a:xfrm>
            <a:prstGeom prst="rect">
              <a:avLst/>
            </a:prstGeom>
            <a:noFill/>
            <a:ln w="127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pic>
          <p:nvPicPr>
            <p:cNvPr id="139" name="Picture 3"/>
            <p:cNvPicPr>
              <a:picLocks noChangeAspect="1" noChangeArrowheads="1"/>
            </p:cNvPicPr>
            <p:nvPr/>
          </p:nvPicPr>
          <p:blipFill rotWithShape="1">
            <a:blip r:embed="rId5"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5683360" y="4769708"/>
              <a:ext cx="218227" cy="2946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140" name="Gruppieren 10"/>
          <p:cNvGrpSpPr/>
          <p:nvPr/>
        </p:nvGrpSpPr>
        <p:grpSpPr>
          <a:xfrm>
            <a:off x="4703855" y="2681229"/>
            <a:ext cx="154732" cy="239311"/>
            <a:chOff x="4703855" y="2553349"/>
            <a:chExt cx="154732" cy="239311"/>
          </a:xfrm>
        </p:grpSpPr>
        <p:sp>
          <p:nvSpPr>
            <p:cNvPr id="141" name="Rechteck 61"/>
            <p:cNvSpPr>
              <a:spLocks noChangeAspect="1"/>
            </p:cNvSpPr>
            <p:nvPr/>
          </p:nvSpPr>
          <p:spPr>
            <a:xfrm>
              <a:off x="4703855" y="2553349"/>
              <a:ext cx="154732" cy="239311"/>
            </a:xfrm>
            <a:prstGeom prst="rect">
              <a:avLst/>
            </a:prstGeom>
            <a:no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pic>
          <p:nvPicPr>
            <p:cNvPr id="142" name="Picture 3"/>
            <p:cNvPicPr>
              <a:picLocks noChangeAspect="1" noChangeArrowheads="1"/>
            </p:cNvPicPr>
            <p:nvPr/>
          </p:nvPicPr>
          <p:blipFill rotWithShape="1">
            <a:blip r:embed="rId6"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4710470" y="2578989"/>
              <a:ext cx="141502" cy="1910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143" name="Gruppieren 8"/>
          <p:cNvGrpSpPr/>
          <p:nvPr/>
        </p:nvGrpSpPr>
        <p:grpSpPr>
          <a:xfrm>
            <a:off x="3062762" y="2776518"/>
            <a:ext cx="247571" cy="382897"/>
            <a:chOff x="3062762" y="2648638"/>
            <a:chExt cx="247571" cy="382897"/>
          </a:xfrm>
        </p:grpSpPr>
        <p:sp>
          <p:nvSpPr>
            <p:cNvPr id="144" name="Rechteck 60"/>
            <p:cNvSpPr/>
            <p:nvPr/>
          </p:nvSpPr>
          <p:spPr>
            <a:xfrm>
              <a:off x="3062762" y="2648638"/>
              <a:ext cx="247571" cy="382897"/>
            </a:xfrm>
            <a:prstGeom prst="rect">
              <a:avLst/>
            </a:prstGeom>
            <a:noFill/>
            <a:ln w="127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pic>
          <p:nvPicPr>
            <p:cNvPr id="145" name="Picture 3"/>
            <p:cNvPicPr>
              <a:picLocks noChangeAspect="1" noChangeArrowheads="1"/>
            </p:cNvPicPr>
            <p:nvPr/>
          </p:nvPicPr>
          <p:blipFill rotWithShape="1">
            <a:blip r:embed="rId5"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3067815" y="2697729"/>
              <a:ext cx="218227" cy="2946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146" name="Gruppieren 7"/>
          <p:cNvGrpSpPr/>
          <p:nvPr/>
        </p:nvGrpSpPr>
        <p:grpSpPr>
          <a:xfrm>
            <a:off x="2934033" y="3935719"/>
            <a:ext cx="218551" cy="335035"/>
            <a:chOff x="2934033" y="3807839"/>
            <a:chExt cx="218551" cy="335035"/>
          </a:xfrm>
        </p:grpSpPr>
        <p:sp>
          <p:nvSpPr>
            <p:cNvPr id="147" name="Rechteck 68"/>
            <p:cNvSpPr>
              <a:spLocks noChangeAspect="1"/>
            </p:cNvSpPr>
            <p:nvPr/>
          </p:nvSpPr>
          <p:spPr>
            <a:xfrm>
              <a:off x="2935959" y="3807839"/>
              <a:ext cx="216625" cy="335035"/>
            </a:xfrm>
            <a:prstGeom prst="rect">
              <a:avLst/>
            </a:prstGeom>
            <a:noFill/>
            <a:ln w="127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pic>
          <p:nvPicPr>
            <p:cNvPr id="148" name="Picture 3"/>
            <p:cNvPicPr>
              <a:picLocks noChangeAspect="1" noChangeArrowheads="1"/>
            </p:cNvPicPr>
            <p:nvPr/>
          </p:nvPicPr>
          <p:blipFill rotWithShape="1">
            <a:blip r:embed="rId5"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2934033" y="3827456"/>
              <a:ext cx="218227" cy="2946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149" name="Gruppieren 9"/>
          <p:cNvGrpSpPr/>
          <p:nvPr/>
        </p:nvGrpSpPr>
        <p:grpSpPr>
          <a:xfrm>
            <a:off x="3972695" y="2177611"/>
            <a:ext cx="160365" cy="239311"/>
            <a:chOff x="3972695" y="2049731"/>
            <a:chExt cx="160365" cy="239311"/>
          </a:xfrm>
        </p:grpSpPr>
        <p:sp>
          <p:nvSpPr>
            <p:cNvPr id="150" name="Rechteck 57"/>
            <p:cNvSpPr>
              <a:spLocks noChangeAspect="1"/>
            </p:cNvSpPr>
            <p:nvPr/>
          </p:nvSpPr>
          <p:spPr>
            <a:xfrm>
              <a:off x="3972695" y="2049731"/>
              <a:ext cx="154732" cy="239311"/>
            </a:xfrm>
            <a:prstGeom prst="rect">
              <a:avLst/>
            </a:prstGeom>
            <a:no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pic>
          <p:nvPicPr>
            <p:cNvPr id="151" name="Picture 3"/>
            <p:cNvPicPr>
              <a:picLocks noChangeAspect="1" noChangeArrowheads="1"/>
            </p:cNvPicPr>
            <p:nvPr/>
          </p:nvPicPr>
          <p:blipFill rotWithShape="1">
            <a:blip r:embed="rId6"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3991558" y="2073845"/>
              <a:ext cx="141502" cy="1910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152" name="Gruppieren 3"/>
          <p:cNvGrpSpPr/>
          <p:nvPr/>
        </p:nvGrpSpPr>
        <p:grpSpPr>
          <a:xfrm>
            <a:off x="3442181" y="4995650"/>
            <a:ext cx="156035" cy="239311"/>
            <a:chOff x="3442181" y="4867770"/>
            <a:chExt cx="156035" cy="239311"/>
          </a:xfrm>
        </p:grpSpPr>
        <p:sp>
          <p:nvSpPr>
            <p:cNvPr id="153" name="Rechteck 66"/>
            <p:cNvSpPr>
              <a:spLocks noChangeAspect="1"/>
            </p:cNvSpPr>
            <p:nvPr/>
          </p:nvSpPr>
          <p:spPr>
            <a:xfrm>
              <a:off x="3443484" y="4867770"/>
              <a:ext cx="154732" cy="239311"/>
            </a:xfrm>
            <a:prstGeom prst="rect">
              <a:avLst/>
            </a:prstGeom>
            <a:no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pic>
          <p:nvPicPr>
            <p:cNvPr id="154" name="Picture 3"/>
            <p:cNvPicPr>
              <a:picLocks noChangeAspect="1" noChangeArrowheads="1"/>
            </p:cNvPicPr>
            <p:nvPr/>
          </p:nvPicPr>
          <p:blipFill rotWithShape="1">
            <a:blip r:embed="rId6"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3442181" y="4893489"/>
              <a:ext cx="141502" cy="1910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10863946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99"/>
                                        </p:tgtEl>
                                        <p:attrNameLst>
                                          <p:attrName>style.visibility</p:attrName>
                                        </p:attrNameLst>
                                      </p:cBhvr>
                                      <p:to>
                                        <p:strVal val="visible"/>
                                      </p:to>
                                    </p:set>
                                    <p:animEffect transition="in" filter="fade">
                                      <p:cBhvr>
                                        <p:cTn id="7" dur="3200"/>
                                        <p:tgtEl>
                                          <p:spTgt spid="99"/>
                                        </p:tgtEl>
                                      </p:cBhvr>
                                    </p:animEffect>
                                  </p:childTnLst>
                                </p:cTn>
                              </p:par>
                              <p:par>
                                <p:cTn id="8" presetID="42" presetClass="path" presetSubtype="0" accel="50000" decel="50000" fill="hold" nodeType="withEffect">
                                  <p:stCondLst>
                                    <p:cond delay="0"/>
                                  </p:stCondLst>
                                  <p:childTnLst>
                                    <p:animMotion origin="layout" path="M 3.83234E-6 1.2633E-6 L 0.01122 -0.04697 " pathEditMode="relative" rAng="0" ptsTypes="AA">
                                      <p:cBhvr>
                                        <p:cTn id="9" dur="2000" fill="hold"/>
                                        <p:tgtEl>
                                          <p:spTgt spid="143"/>
                                        </p:tgtEl>
                                        <p:attrNameLst>
                                          <p:attrName>ppt_x</p:attrName>
                                          <p:attrName>ppt_y</p:attrName>
                                        </p:attrNameLst>
                                      </p:cBhvr>
                                      <p:rCtr x="561" y="-2360"/>
                                    </p:animMotion>
                                  </p:childTnLst>
                                </p:cTn>
                              </p:par>
                              <p:par>
                                <p:cTn id="10" presetID="42" presetClass="path" presetSubtype="0" accel="50000" decel="50000" fill="hold" nodeType="withEffect">
                                  <p:stCondLst>
                                    <p:cond delay="0"/>
                                  </p:stCondLst>
                                  <p:childTnLst>
                                    <p:animMotion origin="layout" path="M -7.78971E-7 3.09579E-6 L 0.00785 -0.01944 " pathEditMode="relative" rAng="0" ptsTypes="AA">
                                      <p:cBhvr>
                                        <p:cTn id="11" dur="2000" fill="hold"/>
                                        <p:tgtEl>
                                          <p:spTgt spid="146"/>
                                        </p:tgtEl>
                                        <p:attrNameLst>
                                          <p:attrName>ppt_x</p:attrName>
                                          <p:attrName>ppt_y</p:attrName>
                                        </p:attrNameLst>
                                      </p:cBhvr>
                                      <p:rCtr x="385" y="-972"/>
                                    </p:animMotion>
                                  </p:childTnLst>
                                </p:cTn>
                              </p:par>
                              <p:par>
                                <p:cTn id="12" presetID="42" presetClass="path" presetSubtype="0" accel="50000" decel="50000" fill="hold" nodeType="withEffect">
                                  <p:stCondLst>
                                    <p:cond delay="0"/>
                                  </p:stCondLst>
                                  <p:childTnLst>
                                    <p:animMotion origin="layout" path="M 4.59208E-6 3.12355E-6 L -0.02549 0.01828 " pathEditMode="relative" rAng="0" ptsTypes="AA">
                                      <p:cBhvr>
                                        <p:cTn id="13" dur="2000" fill="hold"/>
                                        <p:tgtEl>
                                          <p:spTgt spid="152"/>
                                        </p:tgtEl>
                                        <p:attrNameLst>
                                          <p:attrName>ppt_x</p:attrName>
                                          <p:attrName>ppt_y</p:attrName>
                                        </p:attrNameLst>
                                      </p:cBhvr>
                                      <p:rCtr x="-1282" y="902"/>
                                    </p:animMotion>
                                  </p:childTnLst>
                                </p:cTn>
                              </p:par>
                              <p:par>
                                <p:cTn id="14" presetID="42" presetClass="path" presetSubtype="0" accel="50000" decel="50000" fill="hold" nodeType="withEffect">
                                  <p:stCondLst>
                                    <p:cond delay="0"/>
                                  </p:stCondLst>
                                  <p:childTnLst>
                                    <p:animMotion origin="layout" path="M -1.92339E-7 2.61916E-6 L -0.03879 0.05275 " pathEditMode="relative" rAng="0" ptsTypes="AA">
                                      <p:cBhvr>
                                        <p:cTn id="15" dur="2000" fill="hold"/>
                                        <p:tgtEl>
                                          <p:spTgt spid="149"/>
                                        </p:tgtEl>
                                        <p:attrNameLst>
                                          <p:attrName>ppt_x</p:attrName>
                                          <p:attrName>ppt_y</p:attrName>
                                        </p:attrNameLst>
                                      </p:cBhvr>
                                      <p:rCtr x="-1939" y="2638"/>
                                    </p:animMotion>
                                  </p:childTnLst>
                                </p:cTn>
                              </p:par>
                              <p:par>
                                <p:cTn id="16" presetID="42" presetClass="path" presetSubtype="0" accel="50000" decel="50000" fill="hold" nodeType="withEffect">
                                  <p:stCondLst>
                                    <p:cond delay="0"/>
                                  </p:stCondLst>
                                  <p:childTnLst>
                                    <p:animMotion origin="layout" path="M 3.54384E-6 -1.55946E-6 L -0.10771 -0.02961 " pathEditMode="relative" rAng="0" ptsTypes="AA">
                                      <p:cBhvr>
                                        <p:cTn id="17" dur="2000" fill="hold"/>
                                        <p:tgtEl>
                                          <p:spTgt spid="114"/>
                                        </p:tgtEl>
                                        <p:attrNameLst>
                                          <p:attrName>ppt_x</p:attrName>
                                          <p:attrName>ppt_y</p:attrName>
                                        </p:attrNameLst>
                                      </p:cBhvr>
                                      <p:rCtr x="-5385" y="-1481"/>
                                    </p:animMotion>
                                  </p:childTnLst>
                                </p:cTn>
                              </p:par>
                              <p:par>
                                <p:cTn id="18" presetID="42" presetClass="path" presetSubtype="0" accel="50000" decel="50000" fill="hold" nodeType="withEffect">
                                  <p:stCondLst>
                                    <p:cond delay="0"/>
                                  </p:stCondLst>
                                  <p:childTnLst>
                                    <p:animMotion origin="layout" path="M 8.89566E-7 2.44331E-6 L -0.13816 0.04373 " pathEditMode="relative" rAng="0" ptsTypes="AA">
                                      <p:cBhvr>
                                        <p:cTn id="19" dur="2000" fill="hold"/>
                                        <p:tgtEl>
                                          <p:spTgt spid="140"/>
                                        </p:tgtEl>
                                        <p:attrNameLst>
                                          <p:attrName>ppt_x</p:attrName>
                                          <p:attrName>ppt_y</p:attrName>
                                        </p:attrNameLst>
                                      </p:cBhvr>
                                      <p:rCtr x="-6908" y="2175"/>
                                    </p:animMotion>
                                  </p:childTnLst>
                                </p:cTn>
                              </p:par>
                              <p:par>
                                <p:cTn id="20" presetID="42" presetClass="path" presetSubtype="0" accel="50000" decel="50000" fill="hold" nodeType="withEffect">
                                  <p:stCondLst>
                                    <p:cond delay="0"/>
                                  </p:stCondLst>
                                  <p:childTnLst>
                                    <p:animMotion origin="layout" path="M -4.39013E-6 4.18788E-6 L -0.18256 0.09347 " pathEditMode="relative" rAng="0" ptsTypes="AA">
                                      <p:cBhvr>
                                        <p:cTn id="21" dur="2000" fill="hold"/>
                                        <p:tgtEl>
                                          <p:spTgt spid="102"/>
                                        </p:tgtEl>
                                        <p:attrNameLst>
                                          <p:attrName>ppt_x</p:attrName>
                                          <p:attrName>ppt_y</p:attrName>
                                        </p:attrNameLst>
                                      </p:cBhvr>
                                      <p:rCtr x="-9136" y="4674"/>
                                    </p:animMotion>
                                  </p:childTnLst>
                                </p:cTn>
                              </p:par>
                              <p:par>
                                <p:cTn id="22" presetID="42" presetClass="path" presetSubtype="0" accel="50000" decel="50000" fill="hold" nodeType="withEffect">
                                  <p:stCondLst>
                                    <p:cond delay="0"/>
                                  </p:stCondLst>
                                  <p:childTnLst>
                                    <p:animMotion origin="layout" path="M 3.87722E-6 4.94216E-6 L -0.17423 -0.01042 " pathEditMode="relative" rAng="0" ptsTypes="AA">
                                      <p:cBhvr>
                                        <p:cTn id="23" dur="2000" fill="hold"/>
                                        <p:tgtEl>
                                          <p:spTgt spid="105"/>
                                        </p:tgtEl>
                                        <p:attrNameLst>
                                          <p:attrName>ppt_x</p:attrName>
                                          <p:attrName>ppt_y</p:attrName>
                                        </p:attrNameLst>
                                      </p:cBhvr>
                                      <p:rCtr x="-8719" y="-532"/>
                                    </p:animMotion>
                                  </p:childTnLst>
                                </p:cTn>
                              </p:par>
                              <p:par>
                                <p:cTn id="24" presetID="42" presetClass="path" presetSubtype="0" accel="50000" decel="50000" fill="hold" nodeType="withEffect">
                                  <p:stCondLst>
                                    <p:cond delay="0"/>
                                  </p:stCondLst>
                                  <p:childTnLst>
                                    <p:animMotion origin="layout" path="M -9.98557E-7 -2.81351E-6 L -0.13944 0.02638 " pathEditMode="relative" rAng="0" ptsTypes="AA">
                                      <p:cBhvr>
                                        <p:cTn id="25" dur="2000" fill="hold"/>
                                        <p:tgtEl>
                                          <p:spTgt spid="111"/>
                                        </p:tgtEl>
                                        <p:attrNameLst>
                                          <p:attrName>ppt_x</p:attrName>
                                          <p:attrName>ppt_y</p:attrName>
                                        </p:attrNameLst>
                                      </p:cBhvr>
                                      <p:rCtr x="-6972" y="1319"/>
                                    </p:animMotion>
                                  </p:childTnLst>
                                </p:cTn>
                              </p:par>
                              <p:par>
                                <p:cTn id="26" presetID="42" presetClass="path" presetSubtype="0" accel="50000" decel="50000" fill="hold" nodeType="withEffect">
                                  <p:stCondLst>
                                    <p:cond delay="0"/>
                                  </p:stCondLst>
                                  <p:childTnLst>
                                    <p:animMotion origin="layout" path="M 6.29909E-7 3.59556E-6 L -0.20516 -0.02869 " pathEditMode="relative" rAng="0" ptsTypes="AA">
                                      <p:cBhvr>
                                        <p:cTn id="27" dur="2000" fill="hold"/>
                                        <p:tgtEl>
                                          <p:spTgt spid="137"/>
                                        </p:tgtEl>
                                        <p:attrNameLst>
                                          <p:attrName>ppt_x</p:attrName>
                                          <p:attrName>ppt_y</p:attrName>
                                        </p:attrNameLst>
                                      </p:cBhvr>
                                      <p:rCtr x="-10258" y="-1435"/>
                                    </p:animMotion>
                                  </p:childTnLst>
                                </p:cTn>
                              </p:par>
                              <p:par>
                                <p:cTn id="28" presetID="42" presetClass="path" presetSubtype="0" accel="50000" decel="50000" fill="hold" nodeType="withEffect">
                                  <p:stCondLst>
                                    <p:cond delay="0"/>
                                  </p:stCondLst>
                                  <p:childTnLst>
                                    <p:animMotion origin="layout" path="M -2.34012E-6 -1.08283E-6 L -0.11556 -0.04489 " pathEditMode="relative" rAng="0" ptsTypes="AA">
                                      <p:cBhvr>
                                        <p:cTn id="29" dur="2000" fill="hold"/>
                                        <p:tgtEl>
                                          <p:spTgt spid="117"/>
                                        </p:tgtEl>
                                        <p:attrNameLst>
                                          <p:attrName>ppt_x</p:attrName>
                                          <p:attrName>ppt_y</p:attrName>
                                        </p:attrNameLst>
                                      </p:cBhvr>
                                      <p:rCtr x="-5786" y="-2244"/>
                                    </p:animMotion>
                                  </p:childTnLst>
                                </p:cTn>
                              </p:par>
                              <p:par>
                                <p:cTn id="30" presetID="42" presetClass="path" presetSubtype="0" accel="50000" decel="50000" fill="hold" nodeType="withEffect">
                                  <p:stCondLst>
                                    <p:cond delay="0"/>
                                  </p:stCondLst>
                                  <p:childTnLst>
                                    <p:animMotion origin="layout" path="M -1.89774E-6 -1.40676E-6 L -0.26783 0.03864 " pathEditMode="relative" rAng="0" ptsTypes="AA">
                                      <p:cBhvr>
                                        <p:cTn id="31" dur="2000" fill="hold"/>
                                        <p:tgtEl>
                                          <p:spTgt spid="108"/>
                                        </p:tgtEl>
                                        <p:attrNameLst>
                                          <p:attrName>ppt_x</p:attrName>
                                          <p:attrName>ppt_y</p:attrName>
                                        </p:attrNameLst>
                                      </p:cBhvr>
                                      <p:rCtr x="-13400" y="1920"/>
                                    </p:animMotion>
                                  </p:childTnLst>
                                </p:cTn>
                              </p:par>
                              <p:par>
                                <p:cTn id="32" presetID="42" presetClass="path" presetSubtype="0" accel="50000" decel="50000" fill="hold" nodeType="withEffect">
                                  <p:stCondLst>
                                    <p:cond delay="0"/>
                                  </p:stCondLst>
                                  <p:childTnLst>
                                    <p:animMotion origin="layout" path="M 6.41128E-7 4.20639E-6 L -0.27136 0.05576 " pathEditMode="relative" rAng="0" ptsTypes="AA">
                                      <p:cBhvr>
                                        <p:cTn id="33" dur="2000" fill="hold"/>
                                        <p:tgtEl>
                                          <p:spTgt spid="120"/>
                                        </p:tgtEl>
                                        <p:attrNameLst>
                                          <p:attrName>ppt_x</p:attrName>
                                          <p:attrName>ppt_y</p:attrName>
                                        </p:attrNameLst>
                                      </p:cBhvr>
                                      <p:rCtr x="-13576" y="2776"/>
                                    </p:animMotion>
                                  </p:childTnLst>
                                </p:cTn>
                              </p:par>
                              <p:par>
                                <p:cTn id="34" presetID="10" presetClass="exit" presetSubtype="0" fill="hold" nodeType="withEffect">
                                  <p:stCondLst>
                                    <p:cond delay="1500"/>
                                  </p:stCondLst>
                                  <p:childTnLst>
                                    <p:animEffect transition="out" filter="fade">
                                      <p:cBhvr>
                                        <p:cTn id="35" dur="500"/>
                                        <p:tgtEl>
                                          <p:spTgt spid="143"/>
                                        </p:tgtEl>
                                      </p:cBhvr>
                                    </p:animEffect>
                                    <p:set>
                                      <p:cBhvr>
                                        <p:cTn id="36" dur="1" fill="hold">
                                          <p:stCondLst>
                                            <p:cond delay="499"/>
                                          </p:stCondLst>
                                        </p:cTn>
                                        <p:tgtEl>
                                          <p:spTgt spid="143"/>
                                        </p:tgtEl>
                                        <p:attrNameLst>
                                          <p:attrName>style.visibility</p:attrName>
                                        </p:attrNameLst>
                                      </p:cBhvr>
                                      <p:to>
                                        <p:strVal val="hidden"/>
                                      </p:to>
                                    </p:set>
                                  </p:childTnLst>
                                </p:cTn>
                              </p:par>
                              <p:par>
                                <p:cTn id="37" presetID="10" presetClass="exit" presetSubtype="0" fill="hold" nodeType="withEffect">
                                  <p:stCondLst>
                                    <p:cond delay="1500"/>
                                  </p:stCondLst>
                                  <p:childTnLst>
                                    <p:animEffect transition="out" filter="fade">
                                      <p:cBhvr>
                                        <p:cTn id="38" dur="500"/>
                                        <p:tgtEl>
                                          <p:spTgt spid="146"/>
                                        </p:tgtEl>
                                      </p:cBhvr>
                                    </p:animEffect>
                                    <p:set>
                                      <p:cBhvr>
                                        <p:cTn id="39" dur="1" fill="hold">
                                          <p:stCondLst>
                                            <p:cond delay="499"/>
                                          </p:stCondLst>
                                        </p:cTn>
                                        <p:tgtEl>
                                          <p:spTgt spid="146"/>
                                        </p:tgtEl>
                                        <p:attrNameLst>
                                          <p:attrName>style.visibility</p:attrName>
                                        </p:attrNameLst>
                                      </p:cBhvr>
                                      <p:to>
                                        <p:strVal val="hidden"/>
                                      </p:to>
                                    </p:set>
                                  </p:childTnLst>
                                </p:cTn>
                              </p:par>
                              <p:par>
                                <p:cTn id="40" presetID="10" presetClass="exit" presetSubtype="0" fill="hold" nodeType="withEffect">
                                  <p:stCondLst>
                                    <p:cond delay="1500"/>
                                  </p:stCondLst>
                                  <p:childTnLst>
                                    <p:animEffect transition="out" filter="fade">
                                      <p:cBhvr>
                                        <p:cTn id="41" dur="500"/>
                                        <p:tgtEl>
                                          <p:spTgt spid="152"/>
                                        </p:tgtEl>
                                      </p:cBhvr>
                                    </p:animEffect>
                                    <p:set>
                                      <p:cBhvr>
                                        <p:cTn id="42" dur="1" fill="hold">
                                          <p:stCondLst>
                                            <p:cond delay="499"/>
                                          </p:stCondLst>
                                        </p:cTn>
                                        <p:tgtEl>
                                          <p:spTgt spid="152"/>
                                        </p:tgtEl>
                                        <p:attrNameLst>
                                          <p:attrName>style.visibility</p:attrName>
                                        </p:attrNameLst>
                                      </p:cBhvr>
                                      <p:to>
                                        <p:strVal val="hidden"/>
                                      </p:to>
                                    </p:set>
                                  </p:childTnLst>
                                </p:cTn>
                              </p:par>
                              <p:par>
                                <p:cTn id="43" presetID="10" presetClass="exit" presetSubtype="0" fill="hold" nodeType="withEffect">
                                  <p:stCondLst>
                                    <p:cond delay="1500"/>
                                  </p:stCondLst>
                                  <p:childTnLst>
                                    <p:animEffect transition="out" filter="fade">
                                      <p:cBhvr>
                                        <p:cTn id="44" dur="500"/>
                                        <p:tgtEl>
                                          <p:spTgt spid="149"/>
                                        </p:tgtEl>
                                      </p:cBhvr>
                                    </p:animEffect>
                                    <p:set>
                                      <p:cBhvr>
                                        <p:cTn id="45" dur="1" fill="hold">
                                          <p:stCondLst>
                                            <p:cond delay="499"/>
                                          </p:stCondLst>
                                        </p:cTn>
                                        <p:tgtEl>
                                          <p:spTgt spid="149"/>
                                        </p:tgtEl>
                                        <p:attrNameLst>
                                          <p:attrName>style.visibility</p:attrName>
                                        </p:attrNameLst>
                                      </p:cBhvr>
                                      <p:to>
                                        <p:strVal val="hidden"/>
                                      </p:to>
                                    </p:set>
                                  </p:childTnLst>
                                </p:cTn>
                              </p:par>
                              <p:par>
                                <p:cTn id="46" presetID="10" presetClass="exit" presetSubtype="0" fill="hold" nodeType="withEffect">
                                  <p:stCondLst>
                                    <p:cond delay="1500"/>
                                  </p:stCondLst>
                                  <p:childTnLst>
                                    <p:animEffect transition="out" filter="fade">
                                      <p:cBhvr>
                                        <p:cTn id="47" dur="500"/>
                                        <p:tgtEl>
                                          <p:spTgt spid="114"/>
                                        </p:tgtEl>
                                      </p:cBhvr>
                                    </p:animEffect>
                                    <p:set>
                                      <p:cBhvr>
                                        <p:cTn id="48" dur="1" fill="hold">
                                          <p:stCondLst>
                                            <p:cond delay="499"/>
                                          </p:stCondLst>
                                        </p:cTn>
                                        <p:tgtEl>
                                          <p:spTgt spid="114"/>
                                        </p:tgtEl>
                                        <p:attrNameLst>
                                          <p:attrName>style.visibility</p:attrName>
                                        </p:attrNameLst>
                                      </p:cBhvr>
                                      <p:to>
                                        <p:strVal val="hidden"/>
                                      </p:to>
                                    </p:set>
                                  </p:childTnLst>
                                </p:cTn>
                              </p:par>
                              <p:par>
                                <p:cTn id="49" presetID="10" presetClass="exit" presetSubtype="0" fill="hold" nodeType="withEffect">
                                  <p:stCondLst>
                                    <p:cond delay="1500"/>
                                  </p:stCondLst>
                                  <p:childTnLst>
                                    <p:animEffect transition="out" filter="fade">
                                      <p:cBhvr>
                                        <p:cTn id="50" dur="500"/>
                                        <p:tgtEl>
                                          <p:spTgt spid="140"/>
                                        </p:tgtEl>
                                      </p:cBhvr>
                                    </p:animEffect>
                                    <p:set>
                                      <p:cBhvr>
                                        <p:cTn id="51" dur="1" fill="hold">
                                          <p:stCondLst>
                                            <p:cond delay="499"/>
                                          </p:stCondLst>
                                        </p:cTn>
                                        <p:tgtEl>
                                          <p:spTgt spid="140"/>
                                        </p:tgtEl>
                                        <p:attrNameLst>
                                          <p:attrName>style.visibility</p:attrName>
                                        </p:attrNameLst>
                                      </p:cBhvr>
                                      <p:to>
                                        <p:strVal val="hidden"/>
                                      </p:to>
                                    </p:set>
                                  </p:childTnLst>
                                </p:cTn>
                              </p:par>
                              <p:par>
                                <p:cTn id="52" presetID="10" presetClass="exit" presetSubtype="0" fill="hold" nodeType="withEffect">
                                  <p:stCondLst>
                                    <p:cond delay="1500"/>
                                  </p:stCondLst>
                                  <p:childTnLst>
                                    <p:animEffect transition="out" filter="fade">
                                      <p:cBhvr>
                                        <p:cTn id="53" dur="500"/>
                                        <p:tgtEl>
                                          <p:spTgt spid="102"/>
                                        </p:tgtEl>
                                      </p:cBhvr>
                                    </p:animEffect>
                                    <p:set>
                                      <p:cBhvr>
                                        <p:cTn id="54" dur="1" fill="hold">
                                          <p:stCondLst>
                                            <p:cond delay="499"/>
                                          </p:stCondLst>
                                        </p:cTn>
                                        <p:tgtEl>
                                          <p:spTgt spid="102"/>
                                        </p:tgtEl>
                                        <p:attrNameLst>
                                          <p:attrName>style.visibility</p:attrName>
                                        </p:attrNameLst>
                                      </p:cBhvr>
                                      <p:to>
                                        <p:strVal val="hidden"/>
                                      </p:to>
                                    </p:set>
                                  </p:childTnLst>
                                </p:cTn>
                              </p:par>
                              <p:par>
                                <p:cTn id="55" presetID="10" presetClass="exit" presetSubtype="0" fill="hold" nodeType="withEffect">
                                  <p:stCondLst>
                                    <p:cond delay="1500"/>
                                  </p:stCondLst>
                                  <p:childTnLst>
                                    <p:animEffect transition="out" filter="fade">
                                      <p:cBhvr>
                                        <p:cTn id="56" dur="500"/>
                                        <p:tgtEl>
                                          <p:spTgt spid="105"/>
                                        </p:tgtEl>
                                      </p:cBhvr>
                                    </p:animEffect>
                                    <p:set>
                                      <p:cBhvr>
                                        <p:cTn id="57" dur="1" fill="hold">
                                          <p:stCondLst>
                                            <p:cond delay="499"/>
                                          </p:stCondLst>
                                        </p:cTn>
                                        <p:tgtEl>
                                          <p:spTgt spid="105"/>
                                        </p:tgtEl>
                                        <p:attrNameLst>
                                          <p:attrName>style.visibility</p:attrName>
                                        </p:attrNameLst>
                                      </p:cBhvr>
                                      <p:to>
                                        <p:strVal val="hidden"/>
                                      </p:to>
                                    </p:set>
                                  </p:childTnLst>
                                </p:cTn>
                              </p:par>
                              <p:par>
                                <p:cTn id="58" presetID="10" presetClass="exit" presetSubtype="0" fill="hold" nodeType="withEffect">
                                  <p:stCondLst>
                                    <p:cond delay="1500"/>
                                  </p:stCondLst>
                                  <p:childTnLst>
                                    <p:animEffect transition="out" filter="fade">
                                      <p:cBhvr>
                                        <p:cTn id="59" dur="500"/>
                                        <p:tgtEl>
                                          <p:spTgt spid="111"/>
                                        </p:tgtEl>
                                      </p:cBhvr>
                                    </p:animEffect>
                                    <p:set>
                                      <p:cBhvr>
                                        <p:cTn id="60" dur="1" fill="hold">
                                          <p:stCondLst>
                                            <p:cond delay="499"/>
                                          </p:stCondLst>
                                        </p:cTn>
                                        <p:tgtEl>
                                          <p:spTgt spid="111"/>
                                        </p:tgtEl>
                                        <p:attrNameLst>
                                          <p:attrName>style.visibility</p:attrName>
                                        </p:attrNameLst>
                                      </p:cBhvr>
                                      <p:to>
                                        <p:strVal val="hidden"/>
                                      </p:to>
                                    </p:set>
                                  </p:childTnLst>
                                </p:cTn>
                              </p:par>
                              <p:par>
                                <p:cTn id="61" presetID="10" presetClass="exit" presetSubtype="0" fill="hold" nodeType="withEffect">
                                  <p:stCondLst>
                                    <p:cond delay="1500"/>
                                  </p:stCondLst>
                                  <p:childTnLst>
                                    <p:animEffect transition="out" filter="fade">
                                      <p:cBhvr>
                                        <p:cTn id="62" dur="500"/>
                                        <p:tgtEl>
                                          <p:spTgt spid="137"/>
                                        </p:tgtEl>
                                      </p:cBhvr>
                                    </p:animEffect>
                                    <p:set>
                                      <p:cBhvr>
                                        <p:cTn id="63" dur="1" fill="hold">
                                          <p:stCondLst>
                                            <p:cond delay="499"/>
                                          </p:stCondLst>
                                        </p:cTn>
                                        <p:tgtEl>
                                          <p:spTgt spid="137"/>
                                        </p:tgtEl>
                                        <p:attrNameLst>
                                          <p:attrName>style.visibility</p:attrName>
                                        </p:attrNameLst>
                                      </p:cBhvr>
                                      <p:to>
                                        <p:strVal val="hidden"/>
                                      </p:to>
                                    </p:set>
                                  </p:childTnLst>
                                </p:cTn>
                              </p:par>
                              <p:par>
                                <p:cTn id="64" presetID="10" presetClass="exit" presetSubtype="0" fill="hold" nodeType="withEffect">
                                  <p:stCondLst>
                                    <p:cond delay="1500"/>
                                  </p:stCondLst>
                                  <p:childTnLst>
                                    <p:animEffect transition="out" filter="fade">
                                      <p:cBhvr>
                                        <p:cTn id="65" dur="500"/>
                                        <p:tgtEl>
                                          <p:spTgt spid="117"/>
                                        </p:tgtEl>
                                      </p:cBhvr>
                                    </p:animEffect>
                                    <p:set>
                                      <p:cBhvr>
                                        <p:cTn id="66" dur="1" fill="hold">
                                          <p:stCondLst>
                                            <p:cond delay="499"/>
                                          </p:stCondLst>
                                        </p:cTn>
                                        <p:tgtEl>
                                          <p:spTgt spid="117"/>
                                        </p:tgtEl>
                                        <p:attrNameLst>
                                          <p:attrName>style.visibility</p:attrName>
                                        </p:attrNameLst>
                                      </p:cBhvr>
                                      <p:to>
                                        <p:strVal val="hidden"/>
                                      </p:to>
                                    </p:set>
                                  </p:childTnLst>
                                </p:cTn>
                              </p:par>
                              <p:par>
                                <p:cTn id="67" presetID="10" presetClass="exit" presetSubtype="0" fill="hold" nodeType="withEffect">
                                  <p:stCondLst>
                                    <p:cond delay="1500"/>
                                  </p:stCondLst>
                                  <p:childTnLst>
                                    <p:animEffect transition="out" filter="fade">
                                      <p:cBhvr>
                                        <p:cTn id="68" dur="500"/>
                                        <p:tgtEl>
                                          <p:spTgt spid="108"/>
                                        </p:tgtEl>
                                      </p:cBhvr>
                                    </p:animEffect>
                                    <p:set>
                                      <p:cBhvr>
                                        <p:cTn id="69" dur="1" fill="hold">
                                          <p:stCondLst>
                                            <p:cond delay="499"/>
                                          </p:stCondLst>
                                        </p:cTn>
                                        <p:tgtEl>
                                          <p:spTgt spid="108"/>
                                        </p:tgtEl>
                                        <p:attrNameLst>
                                          <p:attrName>style.visibility</p:attrName>
                                        </p:attrNameLst>
                                      </p:cBhvr>
                                      <p:to>
                                        <p:strVal val="hidden"/>
                                      </p:to>
                                    </p:set>
                                  </p:childTnLst>
                                </p:cTn>
                              </p:par>
                              <p:par>
                                <p:cTn id="70" presetID="10" presetClass="exit" presetSubtype="0" fill="hold" nodeType="withEffect">
                                  <p:stCondLst>
                                    <p:cond delay="1500"/>
                                  </p:stCondLst>
                                  <p:childTnLst>
                                    <p:animEffect transition="out" filter="fade">
                                      <p:cBhvr>
                                        <p:cTn id="71" dur="500"/>
                                        <p:tgtEl>
                                          <p:spTgt spid="120"/>
                                        </p:tgtEl>
                                      </p:cBhvr>
                                    </p:animEffect>
                                    <p:set>
                                      <p:cBhvr>
                                        <p:cTn id="72" dur="1" fill="hold">
                                          <p:stCondLst>
                                            <p:cond delay="499"/>
                                          </p:stCondLst>
                                        </p:cTn>
                                        <p:tgtEl>
                                          <p:spTgt spid="120"/>
                                        </p:tgtEl>
                                        <p:attrNameLst>
                                          <p:attrName>style.visibility</p:attrName>
                                        </p:attrNameLst>
                                      </p:cBhvr>
                                      <p:to>
                                        <p:strVal val="hidden"/>
                                      </p:to>
                                    </p:set>
                                  </p:childTnLst>
                                </p:cTn>
                              </p:par>
                              <p:par>
                                <p:cTn id="73" presetID="10" presetClass="entr" presetSubtype="0" fill="hold" nodeType="withEffect">
                                  <p:stCondLst>
                                    <p:cond delay="1000"/>
                                  </p:stCondLst>
                                  <p:childTnLst>
                                    <p:set>
                                      <p:cBhvr>
                                        <p:cTn id="74" dur="1" fill="hold">
                                          <p:stCondLst>
                                            <p:cond delay="0"/>
                                          </p:stCondLst>
                                        </p:cTn>
                                        <p:tgtEl>
                                          <p:spTgt spid="65"/>
                                        </p:tgtEl>
                                        <p:attrNameLst>
                                          <p:attrName>style.visibility</p:attrName>
                                        </p:attrNameLst>
                                      </p:cBhvr>
                                      <p:to>
                                        <p:strVal val="visible"/>
                                      </p:to>
                                    </p:set>
                                    <p:animEffect transition="in" filter="fade">
                                      <p:cBhvr>
                                        <p:cTn id="75" dur="500"/>
                                        <p:tgtEl>
                                          <p:spTgt spid="65"/>
                                        </p:tgtEl>
                                      </p:cBhvr>
                                    </p:animEffect>
                                  </p:childTnLst>
                                </p:cTn>
                              </p:par>
                              <p:par>
                                <p:cTn id="76" presetID="10" presetClass="entr" presetSubtype="0" fill="hold" nodeType="withEffect">
                                  <p:stCondLst>
                                    <p:cond delay="1000"/>
                                  </p:stCondLst>
                                  <p:childTnLst>
                                    <p:set>
                                      <p:cBhvr>
                                        <p:cTn id="77" dur="1" fill="hold">
                                          <p:stCondLst>
                                            <p:cond delay="0"/>
                                          </p:stCondLst>
                                        </p:cTn>
                                        <p:tgtEl>
                                          <p:spTgt spid="67"/>
                                        </p:tgtEl>
                                        <p:attrNameLst>
                                          <p:attrName>style.visibility</p:attrName>
                                        </p:attrNameLst>
                                      </p:cBhvr>
                                      <p:to>
                                        <p:strVal val="visible"/>
                                      </p:to>
                                    </p:set>
                                    <p:animEffect transition="in" filter="fade">
                                      <p:cBhvr>
                                        <p:cTn id="78" dur="500"/>
                                        <p:tgtEl>
                                          <p:spTgt spid="67"/>
                                        </p:tgtEl>
                                      </p:cBhvr>
                                    </p:animEffect>
                                  </p:childTnLst>
                                </p:cTn>
                              </p:par>
                              <p:par>
                                <p:cTn id="79" presetID="10" presetClass="entr" presetSubtype="0" fill="hold" nodeType="withEffect">
                                  <p:stCondLst>
                                    <p:cond delay="1000"/>
                                  </p:stCondLst>
                                  <p:childTnLst>
                                    <p:set>
                                      <p:cBhvr>
                                        <p:cTn id="80" dur="1" fill="hold">
                                          <p:stCondLst>
                                            <p:cond delay="0"/>
                                          </p:stCondLst>
                                        </p:cTn>
                                        <p:tgtEl>
                                          <p:spTgt spid="68"/>
                                        </p:tgtEl>
                                        <p:attrNameLst>
                                          <p:attrName>style.visibility</p:attrName>
                                        </p:attrNameLst>
                                      </p:cBhvr>
                                      <p:to>
                                        <p:strVal val="visible"/>
                                      </p:to>
                                    </p:set>
                                    <p:animEffect transition="in" filter="fade">
                                      <p:cBhvr>
                                        <p:cTn id="81" dur="500"/>
                                        <p:tgtEl>
                                          <p:spTgt spid="68"/>
                                        </p:tgtEl>
                                      </p:cBhvr>
                                    </p:animEffect>
                                  </p:childTnLst>
                                </p:cTn>
                              </p:par>
                              <p:par>
                                <p:cTn id="82" presetID="10" presetClass="entr" presetSubtype="0" fill="hold" nodeType="withEffect">
                                  <p:stCondLst>
                                    <p:cond delay="1000"/>
                                  </p:stCondLst>
                                  <p:childTnLst>
                                    <p:set>
                                      <p:cBhvr>
                                        <p:cTn id="83" dur="1" fill="hold">
                                          <p:stCondLst>
                                            <p:cond delay="0"/>
                                          </p:stCondLst>
                                        </p:cTn>
                                        <p:tgtEl>
                                          <p:spTgt spid="69"/>
                                        </p:tgtEl>
                                        <p:attrNameLst>
                                          <p:attrName>style.visibility</p:attrName>
                                        </p:attrNameLst>
                                      </p:cBhvr>
                                      <p:to>
                                        <p:strVal val="visible"/>
                                      </p:to>
                                    </p:set>
                                    <p:animEffect transition="in" filter="fade">
                                      <p:cBhvr>
                                        <p:cTn id="84" dur="500"/>
                                        <p:tgtEl>
                                          <p:spTgt spid="69"/>
                                        </p:tgtEl>
                                      </p:cBhvr>
                                    </p:animEffect>
                                  </p:childTnLst>
                                </p:cTn>
                              </p:par>
                              <p:par>
                                <p:cTn id="85" presetID="10" presetClass="entr" presetSubtype="0" fill="hold" nodeType="withEffect">
                                  <p:stCondLst>
                                    <p:cond delay="1000"/>
                                  </p:stCondLst>
                                  <p:childTnLst>
                                    <p:set>
                                      <p:cBhvr>
                                        <p:cTn id="86" dur="1" fill="hold">
                                          <p:stCondLst>
                                            <p:cond delay="0"/>
                                          </p:stCondLst>
                                        </p:cTn>
                                        <p:tgtEl>
                                          <p:spTgt spid="70"/>
                                        </p:tgtEl>
                                        <p:attrNameLst>
                                          <p:attrName>style.visibility</p:attrName>
                                        </p:attrNameLst>
                                      </p:cBhvr>
                                      <p:to>
                                        <p:strVal val="visible"/>
                                      </p:to>
                                    </p:set>
                                    <p:animEffect transition="in" filter="fade">
                                      <p:cBhvr>
                                        <p:cTn id="87" dur="500"/>
                                        <p:tgtEl>
                                          <p:spTgt spid="70"/>
                                        </p:tgtEl>
                                      </p:cBhvr>
                                    </p:animEffect>
                                  </p:childTnLst>
                                </p:cTn>
                              </p:par>
                              <p:par>
                                <p:cTn id="88" presetID="10" presetClass="entr" presetSubtype="0" fill="hold" nodeType="withEffect">
                                  <p:stCondLst>
                                    <p:cond delay="1000"/>
                                  </p:stCondLst>
                                  <p:childTnLst>
                                    <p:set>
                                      <p:cBhvr>
                                        <p:cTn id="89" dur="1" fill="hold">
                                          <p:stCondLst>
                                            <p:cond delay="0"/>
                                          </p:stCondLst>
                                        </p:cTn>
                                        <p:tgtEl>
                                          <p:spTgt spid="96"/>
                                        </p:tgtEl>
                                        <p:attrNameLst>
                                          <p:attrName>style.visibility</p:attrName>
                                        </p:attrNameLst>
                                      </p:cBhvr>
                                      <p:to>
                                        <p:strVal val="visible"/>
                                      </p:to>
                                    </p:set>
                                    <p:animEffect transition="in" filter="fade">
                                      <p:cBhvr>
                                        <p:cTn id="90" dur="500"/>
                                        <p:tgtEl>
                                          <p:spTgt spid="96"/>
                                        </p:tgtEl>
                                      </p:cBhvr>
                                    </p:animEffect>
                                  </p:childTnLst>
                                </p:cTn>
                              </p:par>
                              <p:par>
                                <p:cTn id="91" presetID="10" presetClass="entr" presetSubtype="0" fill="hold" nodeType="withEffect">
                                  <p:stCondLst>
                                    <p:cond delay="1000"/>
                                  </p:stCondLst>
                                  <p:childTnLst>
                                    <p:set>
                                      <p:cBhvr>
                                        <p:cTn id="92" dur="1" fill="hold">
                                          <p:stCondLst>
                                            <p:cond delay="0"/>
                                          </p:stCondLst>
                                        </p:cTn>
                                        <p:tgtEl>
                                          <p:spTgt spid="71"/>
                                        </p:tgtEl>
                                        <p:attrNameLst>
                                          <p:attrName>style.visibility</p:attrName>
                                        </p:attrNameLst>
                                      </p:cBhvr>
                                      <p:to>
                                        <p:strVal val="visible"/>
                                      </p:to>
                                    </p:set>
                                    <p:animEffect transition="in" filter="fade">
                                      <p:cBhvr>
                                        <p:cTn id="93" dur="500"/>
                                        <p:tgtEl>
                                          <p:spTgt spid="71"/>
                                        </p:tgtEl>
                                      </p:cBhvr>
                                    </p:animEffect>
                                  </p:childTnLst>
                                </p:cTn>
                              </p:par>
                              <p:par>
                                <p:cTn id="94" presetID="10" presetClass="entr" presetSubtype="0" fill="hold" nodeType="withEffect">
                                  <p:stCondLst>
                                    <p:cond delay="1000"/>
                                  </p:stCondLst>
                                  <p:childTnLst>
                                    <p:set>
                                      <p:cBhvr>
                                        <p:cTn id="95" dur="1" fill="hold">
                                          <p:stCondLst>
                                            <p:cond delay="0"/>
                                          </p:stCondLst>
                                        </p:cTn>
                                        <p:tgtEl>
                                          <p:spTgt spid="93"/>
                                        </p:tgtEl>
                                        <p:attrNameLst>
                                          <p:attrName>style.visibility</p:attrName>
                                        </p:attrNameLst>
                                      </p:cBhvr>
                                      <p:to>
                                        <p:strVal val="visible"/>
                                      </p:to>
                                    </p:set>
                                    <p:animEffect transition="in" filter="fade">
                                      <p:cBhvr>
                                        <p:cTn id="96" dur="500"/>
                                        <p:tgtEl>
                                          <p:spTgt spid="93"/>
                                        </p:tgtEl>
                                      </p:cBhvr>
                                    </p:animEffect>
                                  </p:childTnLst>
                                </p:cTn>
                              </p:par>
                              <p:par>
                                <p:cTn id="97" presetID="10" presetClass="entr" presetSubtype="0" fill="hold" nodeType="withEffect">
                                  <p:stCondLst>
                                    <p:cond delay="1000"/>
                                  </p:stCondLst>
                                  <p:childTnLst>
                                    <p:set>
                                      <p:cBhvr>
                                        <p:cTn id="98" dur="1" fill="hold">
                                          <p:stCondLst>
                                            <p:cond delay="0"/>
                                          </p:stCondLst>
                                        </p:cTn>
                                        <p:tgtEl>
                                          <p:spTgt spid="72"/>
                                        </p:tgtEl>
                                        <p:attrNameLst>
                                          <p:attrName>style.visibility</p:attrName>
                                        </p:attrNameLst>
                                      </p:cBhvr>
                                      <p:to>
                                        <p:strVal val="visible"/>
                                      </p:to>
                                    </p:set>
                                    <p:animEffect transition="in" filter="fade">
                                      <p:cBhvr>
                                        <p:cTn id="99" dur="500"/>
                                        <p:tgtEl>
                                          <p:spTgt spid="72"/>
                                        </p:tgtEl>
                                      </p:cBhvr>
                                    </p:animEffect>
                                  </p:childTnLst>
                                </p:cTn>
                              </p:par>
                              <p:par>
                                <p:cTn id="100" presetID="10" presetClass="entr" presetSubtype="0" fill="hold" nodeType="withEffect">
                                  <p:stCondLst>
                                    <p:cond delay="1000"/>
                                  </p:stCondLst>
                                  <p:childTnLst>
                                    <p:set>
                                      <p:cBhvr>
                                        <p:cTn id="101" dur="1" fill="hold">
                                          <p:stCondLst>
                                            <p:cond delay="0"/>
                                          </p:stCondLst>
                                        </p:cTn>
                                        <p:tgtEl>
                                          <p:spTgt spid="74"/>
                                        </p:tgtEl>
                                        <p:attrNameLst>
                                          <p:attrName>style.visibility</p:attrName>
                                        </p:attrNameLst>
                                      </p:cBhvr>
                                      <p:to>
                                        <p:strVal val="visible"/>
                                      </p:to>
                                    </p:set>
                                    <p:animEffect transition="in" filter="fade">
                                      <p:cBhvr>
                                        <p:cTn id="102" dur="500"/>
                                        <p:tgtEl>
                                          <p:spTgt spid="74"/>
                                        </p:tgtEl>
                                      </p:cBhvr>
                                    </p:animEffect>
                                  </p:childTnLst>
                                </p:cTn>
                              </p:par>
                              <p:par>
                                <p:cTn id="103" presetID="10" presetClass="entr" presetSubtype="0" fill="hold" nodeType="withEffect">
                                  <p:stCondLst>
                                    <p:cond delay="1000"/>
                                  </p:stCondLst>
                                  <p:childTnLst>
                                    <p:set>
                                      <p:cBhvr>
                                        <p:cTn id="104" dur="1" fill="hold">
                                          <p:stCondLst>
                                            <p:cond delay="0"/>
                                          </p:stCondLst>
                                        </p:cTn>
                                        <p:tgtEl>
                                          <p:spTgt spid="89"/>
                                        </p:tgtEl>
                                        <p:attrNameLst>
                                          <p:attrName>style.visibility</p:attrName>
                                        </p:attrNameLst>
                                      </p:cBhvr>
                                      <p:to>
                                        <p:strVal val="visible"/>
                                      </p:to>
                                    </p:set>
                                    <p:animEffect transition="in" filter="fade">
                                      <p:cBhvr>
                                        <p:cTn id="105" dur="500"/>
                                        <p:tgtEl>
                                          <p:spTgt spid="89"/>
                                        </p:tgtEl>
                                      </p:cBhvr>
                                    </p:animEffect>
                                  </p:childTnLst>
                                </p:cTn>
                              </p:par>
                              <p:par>
                                <p:cTn id="106" presetID="10" presetClass="entr" presetSubtype="0" fill="hold" nodeType="withEffect">
                                  <p:stCondLst>
                                    <p:cond delay="1000"/>
                                  </p:stCondLst>
                                  <p:childTnLst>
                                    <p:set>
                                      <p:cBhvr>
                                        <p:cTn id="107" dur="1" fill="hold">
                                          <p:stCondLst>
                                            <p:cond delay="0"/>
                                          </p:stCondLst>
                                        </p:cTn>
                                        <p:tgtEl>
                                          <p:spTgt spid="91"/>
                                        </p:tgtEl>
                                        <p:attrNameLst>
                                          <p:attrName>style.visibility</p:attrName>
                                        </p:attrNameLst>
                                      </p:cBhvr>
                                      <p:to>
                                        <p:strVal val="visible"/>
                                      </p:to>
                                    </p:set>
                                    <p:animEffect transition="in" filter="fade">
                                      <p:cBhvr>
                                        <p:cTn id="108" dur="500"/>
                                        <p:tgtEl>
                                          <p:spTgt spid="91"/>
                                        </p:tgtEl>
                                      </p:cBhvr>
                                    </p:animEffect>
                                  </p:childTnLst>
                                </p:cTn>
                              </p:par>
                              <p:par>
                                <p:cTn id="109" presetID="10" presetClass="entr" presetSubtype="0" fill="hold" nodeType="withEffect">
                                  <p:stCondLst>
                                    <p:cond delay="1000"/>
                                  </p:stCondLst>
                                  <p:childTnLst>
                                    <p:set>
                                      <p:cBhvr>
                                        <p:cTn id="110" dur="1" fill="hold">
                                          <p:stCondLst>
                                            <p:cond delay="0"/>
                                          </p:stCondLst>
                                        </p:cTn>
                                        <p:tgtEl>
                                          <p:spTgt spid="90"/>
                                        </p:tgtEl>
                                        <p:attrNameLst>
                                          <p:attrName>style.visibility</p:attrName>
                                        </p:attrNameLst>
                                      </p:cBhvr>
                                      <p:to>
                                        <p:strVal val="visible"/>
                                      </p:to>
                                    </p:set>
                                    <p:animEffect transition="in" filter="fade">
                                      <p:cBhvr>
                                        <p:cTn id="111" dur="500"/>
                                        <p:tgtEl>
                                          <p:spTgt spid="90"/>
                                        </p:tgtEl>
                                      </p:cBhvr>
                                    </p:animEffect>
                                  </p:childTnLst>
                                </p:cTn>
                              </p:par>
                              <p:par>
                                <p:cTn id="112" presetID="10" presetClass="entr" presetSubtype="0" fill="hold" nodeType="withEffect">
                                  <p:stCondLst>
                                    <p:cond delay="1000"/>
                                  </p:stCondLst>
                                  <p:childTnLst>
                                    <p:set>
                                      <p:cBhvr>
                                        <p:cTn id="113" dur="1" fill="hold">
                                          <p:stCondLst>
                                            <p:cond delay="0"/>
                                          </p:stCondLst>
                                        </p:cTn>
                                        <p:tgtEl>
                                          <p:spTgt spid="73"/>
                                        </p:tgtEl>
                                        <p:attrNameLst>
                                          <p:attrName>style.visibility</p:attrName>
                                        </p:attrNameLst>
                                      </p:cBhvr>
                                      <p:to>
                                        <p:strVal val="visible"/>
                                      </p:to>
                                    </p:set>
                                    <p:animEffect transition="in" filter="fade">
                                      <p:cBhvr>
                                        <p:cTn id="114" dur="500"/>
                                        <p:tgtEl>
                                          <p:spTgt spid="73"/>
                                        </p:tgtEl>
                                      </p:cBhvr>
                                    </p:animEffect>
                                  </p:childTnLst>
                                </p:cTn>
                              </p:par>
                              <p:par>
                                <p:cTn id="115" presetID="10" presetClass="entr" presetSubtype="0" fill="hold" nodeType="withEffect">
                                  <p:stCondLst>
                                    <p:cond delay="1000"/>
                                  </p:stCondLst>
                                  <p:childTnLst>
                                    <p:set>
                                      <p:cBhvr>
                                        <p:cTn id="116" dur="1" fill="hold">
                                          <p:stCondLst>
                                            <p:cond delay="0"/>
                                          </p:stCondLst>
                                        </p:cTn>
                                        <p:tgtEl>
                                          <p:spTgt spid="92"/>
                                        </p:tgtEl>
                                        <p:attrNameLst>
                                          <p:attrName>style.visibility</p:attrName>
                                        </p:attrNameLst>
                                      </p:cBhvr>
                                      <p:to>
                                        <p:strVal val="visible"/>
                                      </p:to>
                                    </p:set>
                                    <p:animEffect transition="in" filter="fade">
                                      <p:cBhvr>
                                        <p:cTn id="117" dur="500"/>
                                        <p:tgtEl>
                                          <p:spTgt spid="92"/>
                                        </p:tgtEl>
                                      </p:cBhvr>
                                    </p:animEffect>
                                  </p:childTnLst>
                                </p:cTn>
                              </p:par>
                              <p:par>
                                <p:cTn id="118" presetID="10" presetClass="entr" presetSubtype="0" fill="hold" nodeType="withEffect">
                                  <p:stCondLst>
                                    <p:cond delay="1000"/>
                                  </p:stCondLst>
                                  <p:childTnLst>
                                    <p:set>
                                      <p:cBhvr>
                                        <p:cTn id="119" dur="1" fill="hold">
                                          <p:stCondLst>
                                            <p:cond delay="0"/>
                                          </p:stCondLst>
                                        </p:cTn>
                                        <p:tgtEl>
                                          <p:spTgt spid="94"/>
                                        </p:tgtEl>
                                        <p:attrNameLst>
                                          <p:attrName>style.visibility</p:attrName>
                                        </p:attrNameLst>
                                      </p:cBhvr>
                                      <p:to>
                                        <p:strVal val="visible"/>
                                      </p:to>
                                    </p:set>
                                    <p:animEffect transition="in" filter="fade">
                                      <p:cBhvr>
                                        <p:cTn id="120" dur="500"/>
                                        <p:tgtEl>
                                          <p:spTgt spid="94"/>
                                        </p:tgtEl>
                                      </p:cBhvr>
                                    </p:animEffect>
                                  </p:childTnLst>
                                </p:cTn>
                              </p:par>
                              <p:par>
                                <p:cTn id="121" presetID="10" presetClass="entr" presetSubtype="0" fill="hold" grpId="0" nodeType="withEffect">
                                  <p:stCondLst>
                                    <p:cond delay="1000"/>
                                  </p:stCondLst>
                                  <p:childTnLst>
                                    <p:set>
                                      <p:cBhvr>
                                        <p:cTn id="122" dur="1" fill="hold">
                                          <p:stCondLst>
                                            <p:cond delay="0"/>
                                          </p:stCondLst>
                                        </p:cTn>
                                        <p:tgtEl>
                                          <p:spTgt spid="101"/>
                                        </p:tgtEl>
                                        <p:attrNameLst>
                                          <p:attrName>style.visibility</p:attrName>
                                        </p:attrNameLst>
                                      </p:cBhvr>
                                      <p:to>
                                        <p:strVal val="visible"/>
                                      </p:to>
                                    </p:set>
                                    <p:animEffect transition="in" filter="fade">
                                      <p:cBhvr>
                                        <p:cTn id="123" dur="500"/>
                                        <p:tgtEl>
                                          <p:spTgt spid="101"/>
                                        </p:tgtEl>
                                      </p:cBhvr>
                                    </p:animEffect>
                                  </p:childTnLst>
                                </p:cTn>
                              </p:par>
                              <p:par>
                                <p:cTn id="124" presetID="10" presetClass="entr" presetSubtype="0" fill="hold" nodeType="withEffect">
                                  <p:stCondLst>
                                    <p:cond delay="1000"/>
                                  </p:stCondLst>
                                  <p:childTnLst>
                                    <p:set>
                                      <p:cBhvr>
                                        <p:cTn id="125" dur="1" fill="hold">
                                          <p:stCondLst>
                                            <p:cond delay="0"/>
                                          </p:stCondLst>
                                        </p:cTn>
                                        <p:tgtEl>
                                          <p:spTgt spid="95"/>
                                        </p:tgtEl>
                                        <p:attrNameLst>
                                          <p:attrName>style.visibility</p:attrName>
                                        </p:attrNameLst>
                                      </p:cBhvr>
                                      <p:to>
                                        <p:strVal val="visible"/>
                                      </p:to>
                                    </p:set>
                                    <p:animEffect transition="in" filter="fade">
                                      <p:cBhvr>
                                        <p:cTn id="126" dur="500"/>
                                        <p:tgtEl>
                                          <p:spTgt spid="95"/>
                                        </p:tgtEl>
                                      </p:cBhvr>
                                    </p:animEffect>
                                  </p:childTnLst>
                                </p:cTn>
                              </p:par>
                              <p:par>
                                <p:cTn id="127" presetID="10" presetClass="entr" presetSubtype="0" fill="hold" nodeType="withEffect">
                                  <p:stCondLst>
                                    <p:cond delay="1000"/>
                                  </p:stCondLst>
                                  <p:childTnLst>
                                    <p:set>
                                      <p:cBhvr>
                                        <p:cTn id="128" dur="1" fill="hold">
                                          <p:stCondLst>
                                            <p:cond delay="0"/>
                                          </p:stCondLst>
                                        </p:cTn>
                                        <p:tgtEl>
                                          <p:spTgt spid="97"/>
                                        </p:tgtEl>
                                        <p:attrNameLst>
                                          <p:attrName>style.visibility</p:attrName>
                                        </p:attrNameLst>
                                      </p:cBhvr>
                                      <p:to>
                                        <p:strVal val="visible"/>
                                      </p:to>
                                    </p:set>
                                    <p:animEffect transition="in" filter="fade">
                                      <p:cBhvr>
                                        <p:cTn id="129" dur="500"/>
                                        <p:tgtEl>
                                          <p:spTgt spid="97"/>
                                        </p:tgtEl>
                                      </p:cBhvr>
                                    </p:animEffect>
                                  </p:childTnLst>
                                </p:cTn>
                              </p:par>
                              <p:par>
                                <p:cTn id="130" presetID="10" presetClass="entr" presetSubtype="0" fill="hold" nodeType="withEffect">
                                  <p:stCondLst>
                                    <p:cond delay="1000"/>
                                  </p:stCondLst>
                                  <p:childTnLst>
                                    <p:set>
                                      <p:cBhvr>
                                        <p:cTn id="131" dur="1" fill="hold">
                                          <p:stCondLst>
                                            <p:cond delay="0"/>
                                          </p:stCondLst>
                                        </p:cTn>
                                        <p:tgtEl>
                                          <p:spTgt spid="66"/>
                                        </p:tgtEl>
                                        <p:attrNameLst>
                                          <p:attrName>style.visibility</p:attrName>
                                        </p:attrNameLst>
                                      </p:cBhvr>
                                      <p:to>
                                        <p:strVal val="visible"/>
                                      </p:to>
                                    </p:set>
                                    <p:animEffect transition="in" filter="fade">
                                      <p:cBhvr>
                                        <p:cTn id="132" dur="500"/>
                                        <p:tgtEl>
                                          <p:spTgt spid="66"/>
                                        </p:tgtEl>
                                      </p:cBhvr>
                                    </p:animEffect>
                                  </p:childTnLst>
                                </p:cTn>
                              </p:par>
                              <p:par>
                                <p:cTn id="133" presetID="10" presetClass="entr" presetSubtype="0" fill="hold" nodeType="withEffect">
                                  <p:stCondLst>
                                    <p:cond delay="1000"/>
                                  </p:stCondLst>
                                  <p:childTnLst>
                                    <p:set>
                                      <p:cBhvr>
                                        <p:cTn id="134" dur="1" fill="hold">
                                          <p:stCondLst>
                                            <p:cond delay="0"/>
                                          </p:stCondLst>
                                        </p:cTn>
                                        <p:tgtEl>
                                          <p:spTgt spid="98"/>
                                        </p:tgtEl>
                                        <p:attrNameLst>
                                          <p:attrName>style.visibility</p:attrName>
                                        </p:attrNameLst>
                                      </p:cBhvr>
                                      <p:to>
                                        <p:strVal val="visible"/>
                                      </p:to>
                                    </p:set>
                                    <p:animEffect transition="in" filter="fade">
                                      <p:cBhvr>
                                        <p:cTn id="135" dur="500"/>
                                        <p:tgtEl>
                                          <p:spTgt spid="98"/>
                                        </p:tgtEl>
                                      </p:cBhvr>
                                    </p:animEffect>
                                  </p:childTnLst>
                                </p:cTn>
                              </p:par>
                            </p:childTnLst>
                          </p:cTn>
                        </p:par>
                        <p:par>
                          <p:cTn id="136" fill="hold">
                            <p:stCondLst>
                              <p:cond delay="3200"/>
                            </p:stCondLst>
                            <p:childTnLst>
                              <p:par>
                                <p:cTn id="137" presetID="10" presetClass="entr" presetSubtype="0" fill="hold" nodeType="afterEffect">
                                  <p:stCondLst>
                                    <p:cond delay="600"/>
                                  </p:stCondLst>
                                  <p:childTnLst>
                                    <p:set>
                                      <p:cBhvr>
                                        <p:cTn id="138" dur="1" fill="hold">
                                          <p:stCondLst>
                                            <p:cond delay="0"/>
                                          </p:stCondLst>
                                        </p:cTn>
                                        <p:tgtEl>
                                          <p:spTgt spid="100"/>
                                        </p:tgtEl>
                                        <p:attrNameLst>
                                          <p:attrName>style.visibility</p:attrName>
                                        </p:attrNameLst>
                                      </p:cBhvr>
                                      <p:to>
                                        <p:strVal val="visible"/>
                                      </p:to>
                                    </p:set>
                                    <p:animEffect transition="in" filter="fade">
                                      <p:cBhvr>
                                        <p:cTn id="139" dur="1000"/>
                                        <p:tgtEl>
                                          <p:spTgt spid="10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9" grpId="0" animBg="1"/>
      <p:bldP spid="101"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p:cNvSpPr>
            <a:spLocks noGrp="1"/>
          </p:cNvSpPr>
          <p:nvPr>
            <p:ph type="sldNum" sz="quarter" idx="12"/>
          </p:nvPr>
        </p:nvSpPr>
        <p:spPr/>
        <p:txBody>
          <a:bodyPr/>
          <a:lstStyle/>
          <a:p>
            <a:fld id="{4AD1E780-DE1C-4ECA-B5E5-863D0BC53287}" type="slidenum">
              <a:rPr lang="de-DE" smtClean="0"/>
              <a:pPr/>
              <a:t>1</a:t>
            </a:fld>
            <a:endParaRPr lang="de-DE" dirty="0"/>
          </a:p>
        </p:txBody>
      </p:sp>
      <p:sp>
        <p:nvSpPr>
          <p:cNvPr id="3" name="Textplatzhalter 2"/>
          <p:cNvSpPr>
            <a:spLocks noGrp="1"/>
          </p:cNvSpPr>
          <p:nvPr>
            <p:ph type="body" sz="quarter" idx="13"/>
          </p:nvPr>
        </p:nvSpPr>
        <p:spPr/>
        <p:txBody>
          <a:bodyPr anchor="t" anchorCtr="0"/>
          <a:lstStyle/>
          <a:p>
            <a:endParaRPr lang="de-DE" sz="3600" b="1" dirty="0" smtClean="0">
              <a:solidFill>
                <a:schemeClr val="accent6"/>
              </a:solidFill>
            </a:endParaRPr>
          </a:p>
          <a:p>
            <a:endParaRPr lang="de-DE" sz="3600" dirty="0" smtClean="0"/>
          </a:p>
        </p:txBody>
      </p:sp>
      <p:sp>
        <p:nvSpPr>
          <p:cNvPr id="15" name="Textplatzhalter 2"/>
          <p:cNvSpPr txBox="1">
            <a:spLocks/>
          </p:cNvSpPr>
          <p:nvPr/>
        </p:nvSpPr>
        <p:spPr>
          <a:xfrm>
            <a:off x="356256" y="426280"/>
            <a:ext cx="9087782" cy="697671"/>
          </a:xfrm>
          <a:prstGeom prst="rect">
            <a:avLst/>
          </a:prstGeom>
        </p:spPr>
        <p:txBody>
          <a:bodyPr vert="horz" wrap="square" lIns="0" tIns="0" rIns="0" bIns="0" rtlCol="0" anchor="t" anchorCtr="0">
            <a:noAutofit/>
          </a:bodyPr>
          <a:lstStyle>
            <a:lvl1pPr marL="0" indent="0" algn="l" defTabSz="914400" rtl="0" eaLnBrk="1" latinLnBrk="0" hangingPunct="1">
              <a:spcBef>
                <a:spcPts val="200"/>
              </a:spcBef>
              <a:buClr>
                <a:schemeClr val="tx2"/>
              </a:buClr>
              <a:buFont typeface="Wingdings" pitchFamily="2" charset="2"/>
              <a:buNone/>
              <a:defRPr sz="4400" b="0" kern="1200">
                <a:solidFill>
                  <a:schemeClr val="tx2"/>
                </a:solidFill>
                <a:latin typeface="+mj-lt"/>
                <a:ea typeface="+mn-ea"/>
                <a:cs typeface="+mn-cs"/>
              </a:defRPr>
            </a:lvl1pPr>
            <a:lvl2pPr marL="0" indent="0" algn="l" defTabSz="914400" rtl="0" eaLnBrk="1" latinLnBrk="0" hangingPunct="1">
              <a:spcBef>
                <a:spcPts val="200"/>
              </a:spcBef>
              <a:buClr>
                <a:schemeClr val="tx2"/>
              </a:buClr>
              <a:buFont typeface="Wingdings" pitchFamily="2" charset="2"/>
              <a:buNone/>
              <a:defRPr sz="2400" kern="1200">
                <a:solidFill>
                  <a:schemeClr val="tx2"/>
                </a:solidFill>
                <a:latin typeface="+mj-lt"/>
                <a:ea typeface="+mn-ea"/>
                <a:cs typeface="+mn-cs"/>
              </a:defRPr>
            </a:lvl2pPr>
            <a:lvl3pPr marL="0" indent="0" algn="l" defTabSz="914400" rtl="0" eaLnBrk="1" latinLnBrk="0" hangingPunct="1">
              <a:spcBef>
                <a:spcPts val="200"/>
              </a:spcBef>
              <a:buClr>
                <a:schemeClr val="tx2"/>
              </a:buClr>
              <a:buFont typeface="Arial" pitchFamily="34" charset="0"/>
              <a:buNone/>
              <a:defRPr sz="2400" kern="1200">
                <a:solidFill>
                  <a:schemeClr val="tx2"/>
                </a:solidFill>
                <a:latin typeface="+mj-lt"/>
                <a:ea typeface="+mn-ea"/>
                <a:cs typeface="+mn-cs"/>
              </a:defRPr>
            </a:lvl3pPr>
            <a:lvl4pPr marL="0" indent="0" algn="l" defTabSz="914400" rtl="0" eaLnBrk="1" latinLnBrk="0" hangingPunct="1">
              <a:spcBef>
                <a:spcPts val="200"/>
              </a:spcBef>
              <a:buClr>
                <a:schemeClr val="tx2"/>
              </a:buClr>
              <a:buFont typeface="Arial" pitchFamily="34" charset="0"/>
              <a:buNone/>
              <a:defRPr sz="2400" kern="1200">
                <a:solidFill>
                  <a:schemeClr val="tx2"/>
                </a:solidFill>
                <a:latin typeface="+mj-lt"/>
                <a:ea typeface="+mn-ea"/>
                <a:cs typeface="+mn-cs"/>
              </a:defRPr>
            </a:lvl4pPr>
            <a:lvl5pPr marL="0" indent="0" algn="l" defTabSz="914400" rtl="0" eaLnBrk="1" latinLnBrk="0" hangingPunct="1">
              <a:spcBef>
                <a:spcPts val="200"/>
              </a:spcBef>
              <a:buClr>
                <a:schemeClr val="tx2"/>
              </a:buClr>
              <a:buFont typeface="Symbol" pitchFamily="18" charset="2"/>
              <a:buNone/>
              <a:defRPr sz="2400" kern="1200">
                <a:solidFill>
                  <a:schemeClr val="tx2"/>
                </a:solidFill>
                <a:latin typeface="+mj-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3600" b="1" dirty="0" err="1" smtClean="0">
                <a:solidFill>
                  <a:schemeClr val="accent6"/>
                </a:solidFill>
              </a:rPr>
              <a:t>Effects</a:t>
            </a:r>
            <a:r>
              <a:rPr lang="de-DE" sz="3600" b="1" dirty="0" smtClean="0">
                <a:solidFill>
                  <a:schemeClr val="accent6"/>
                </a:solidFill>
              </a:rPr>
              <a:t> </a:t>
            </a:r>
            <a:r>
              <a:rPr lang="de-DE" sz="3600" b="1" dirty="0" err="1" smtClean="0">
                <a:solidFill>
                  <a:schemeClr val="accent6"/>
                </a:solidFill>
              </a:rPr>
              <a:t>of</a:t>
            </a:r>
            <a:r>
              <a:rPr lang="de-DE" sz="3600" b="1" dirty="0" smtClean="0">
                <a:solidFill>
                  <a:schemeClr val="accent6"/>
                </a:solidFill>
              </a:rPr>
              <a:t> </a:t>
            </a:r>
            <a:r>
              <a:rPr lang="de-DE" sz="3600" b="1" dirty="0" err="1" smtClean="0">
                <a:solidFill>
                  <a:schemeClr val="accent6"/>
                </a:solidFill>
              </a:rPr>
              <a:t>the</a:t>
            </a:r>
            <a:r>
              <a:rPr lang="de-DE" sz="3600" b="1" dirty="0" smtClean="0">
                <a:solidFill>
                  <a:schemeClr val="accent6"/>
                </a:solidFill>
              </a:rPr>
              <a:t> </a:t>
            </a:r>
            <a:r>
              <a:rPr lang="de-DE" sz="3600" b="1" dirty="0" err="1" smtClean="0">
                <a:solidFill>
                  <a:schemeClr val="accent6"/>
                </a:solidFill>
              </a:rPr>
              <a:t>subscription</a:t>
            </a:r>
            <a:r>
              <a:rPr lang="de-DE" sz="3600" b="1" dirty="0" smtClean="0">
                <a:solidFill>
                  <a:schemeClr val="accent6"/>
                </a:solidFill>
              </a:rPr>
              <a:t> </a:t>
            </a:r>
            <a:r>
              <a:rPr lang="de-DE" sz="3600" b="1" dirty="0" err="1" smtClean="0">
                <a:solidFill>
                  <a:schemeClr val="accent6"/>
                </a:solidFill>
              </a:rPr>
              <a:t>paywall</a:t>
            </a:r>
            <a:endParaRPr lang="de-DE" sz="3600" dirty="0" smtClean="0"/>
          </a:p>
        </p:txBody>
      </p:sp>
      <p:sp>
        <p:nvSpPr>
          <p:cNvPr id="5" name="TextBox 4"/>
          <p:cNvSpPr txBox="1"/>
          <p:nvPr/>
        </p:nvSpPr>
        <p:spPr>
          <a:xfrm>
            <a:off x="356256" y="6522554"/>
            <a:ext cx="3986212" cy="253916"/>
          </a:xfrm>
          <a:prstGeom prst="rect">
            <a:avLst/>
          </a:prstGeom>
          <a:noFill/>
        </p:spPr>
        <p:txBody>
          <a:bodyPr wrap="square" rtlCol="0">
            <a:spAutoFit/>
          </a:bodyPr>
          <a:lstStyle/>
          <a:p>
            <a:r>
              <a:rPr lang="en-GB" sz="1050" u="sng" dirty="0" smtClean="0">
                <a:solidFill>
                  <a:schemeClr val="accent6"/>
                </a:solidFill>
              </a:rPr>
              <a:t>doi:10.1126/science.aaf5664</a:t>
            </a:r>
            <a:endParaRPr lang="en-GB" sz="1050" u="sng" dirty="0">
              <a:solidFill>
                <a:schemeClr val="accent6"/>
              </a:solidFill>
            </a:endParaRPr>
          </a:p>
        </p:txBody>
      </p:sp>
      <p:pic>
        <p:nvPicPr>
          <p:cNvPr id="4" name="Picture 3"/>
          <p:cNvPicPr>
            <a:picLocks noChangeAspect="1"/>
          </p:cNvPicPr>
          <p:nvPr/>
        </p:nvPicPr>
        <p:blipFill>
          <a:blip r:embed="rId3"/>
          <a:stretch>
            <a:fillRect/>
          </a:stretch>
        </p:blipFill>
        <p:spPr>
          <a:xfrm>
            <a:off x="454311" y="1221678"/>
            <a:ext cx="8989727" cy="4945638"/>
          </a:xfrm>
          <a:prstGeom prst="rect">
            <a:avLst/>
          </a:prstGeom>
        </p:spPr>
      </p:pic>
    </p:spTree>
    <p:extLst>
      <p:ext uri="{BB962C8B-B14F-4D97-AF65-F5344CB8AC3E}">
        <p14:creationId xmlns:p14="http://schemas.microsoft.com/office/powerpoint/2010/main" val="1441170316"/>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p:cNvSpPr>
            <a:spLocks noGrp="1"/>
          </p:cNvSpPr>
          <p:nvPr>
            <p:ph type="sldNum" sz="quarter" idx="12"/>
          </p:nvPr>
        </p:nvSpPr>
        <p:spPr/>
        <p:txBody>
          <a:bodyPr/>
          <a:lstStyle/>
          <a:p>
            <a:fld id="{4AD1E780-DE1C-4ECA-B5E5-863D0BC53287}" type="slidenum">
              <a:rPr lang="de-DE" smtClean="0"/>
              <a:pPr/>
              <a:t>19</a:t>
            </a:fld>
            <a:endParaRPr lang="de-DE" dirty="0"/>
          </a:p>
        </p:txBody>
      </p:sp>
      <p:sp>
        <p:nvSpPr>
          <p:cNvPr id="5" name="Textplatzhalter 2"/>
          <p:cNvSpPr txBox="1">
            <a:spLocks/>
          </p:cNvSpPr>
          <p:nvPr/>
        </p:nvSpPr>
        <p:spPr>
          <a:xfrm>
            <a:off x="249073" y="390768"/>
            <a:ext cx="8929946" cy="697671"/>
          </a:xfrm>
          <a:prstGeom prst="rect">
            <a:avLst/>
          </a:prstGeom>
        </p:spPr>
        <p:txBody>
          <a:bodyPr anchor="t" anchorCtr="0"/>
          <a:lstStyle>
            <a:lvl1pPr marL="0" indent="0" algn="l" defTabSz="914400" rtl="0" eaLnBrk="1" latinLnBrk="0" hangingPunct="1">
              <a:spcBef>
                <a:spcPts val="200"/>
              </a:spcBef>
              <a:buClr>
                <a:schemeClr val="tx2"/>
              </a:buClr>
              <a:buFont typeface="Wingdings" pitchFamily="2" charset="2"/>
              <a:buNone/>
              <a:defRPr sz="1600" kern="1200">
                <a:solidFill>
                  <a:schemeClr val="tx2"/>
                </a:solidFill>
                <a:latin typeface="+mn-lt"/>
                <a:ea typeface="+mn-ea"/>
                <a:cs typeface="+mn-cs"/>
              </a:defRPr>
            </a:lvl1pPr>
            <a:lvl2pPr marL="180975" indent="-180975" algn="l" defTabSz="914400" rtl="0" eaLnBrk="1" latinLnBrk="0" hangingPunct="1">
              <a:spcBef>
                <a:spcPts val="200"/>
              </a:spcBef>
              <a:buClr>
                <a:schemeClr val="tx2"/>
              </a:buClr>
              <a:buFont typeface="Wingdings" pitchFamily="2" charset="2"/>
              <a:buChar char="§"/>
              <a:defRPr sz="1600" kern="1200">
                <a:solidFill>
                  <a:schemeClr val="tx2"/>
                </a:solidFill>
                <a:latin typeface="+mn-lt"/>
                <a:ea typeface="+mn-ea"/>
                <a:cs typeface="+mn-cs"/>
              </a:defRPr>
            </a:lvl2pPr>
            <a:lvl3pPr marL="355600" indent="-174625"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3pPr>
            <a:lvl4pPr marL="538163" indent="-182563"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4pPr>
            <a:lvl5pPr marL="719138" indent="-180975" algn="l" defTabSz="914400" rtl="0" eaLnBrk="1" latinLnBrk="0" hangingPunct="1">
              <a:spcBef>
                <a:spcPts val="200"/>
              </a:spcBef>
              <a:buClr>
                <a:schemeClr val="tx2"/>
              </a:buClr>
              <a:buFont typeface="Symbol" pitchFamily="18" charset="2"/>
              <a:buChar char="-"/>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800" b="1" dirty="0">
                <a:solidFill>
                  <a:schemeClr val="accent6"/>
                </a:solidFill>
              </a:rPr>
              <a:t>Hybrid publishing created a second, unmonitored revenue stream for publishers = double dipping</a:t>
            </a:r>
          </a:p>
        </p:txBody>
      </p:sp>
      <p:sp>
        <p:nvSpPr>
          <p:cNvPr id="113" name="Inhaltsplatzhalter 8"/>
          <p:cNvSpPr txBox="1">
            <a:spLocks/>
          </p:cNvSpPr>
          <p:nvPr/>
        </p:nvSpPr>
        <p:spPr>
          <a:xfrm>
            <a:off x="4315517" y="4278794"/>
            <a:ext cx="970167" cy="1477328"/>
          </a:xfrm>
          <a:prstGeom prst="rect">
            <a:avLst/>
          </a:prstGeom>
          <a:noFill/>
        </p:spPr>
        <p:txBody>
          <a:bodyPr vert="horz" wrap="square" lIns="0" tIns="0" rIns="0" bIns="0" rtlCol="0">
            <a:spAutoFit/>
          </a:bodyPr>
          <a:lstStyle>
            <a:lvl1pPr marL="0" indent="0" algn="l" defTabSz="914400" rtl="0" eaLnBrk="1" latinLnBrk="0" hangingPunct="1">
              <a:spcBef>
                <a:spcPts val="200"/>
              </a:spcBef>
              <a:buClr>
                <a:schemeClr val="tx2"/>
              </a:buClr>
              <a:buFont typeface="Wingdings" pitchFamily="2" charset="2"/>
              <a:buNone/>
              <a:defRPr sz="1600" kern="1200">
                <a:solidFill>
                  <a:schemeClr val="tx2"/>
                </a:solidFill>
                <a:latin typeface="+mn-lt"/>
                <a:ea typeface="+mn-ea"/>
                <a:cs typeface="+mn-cs"/>
              </a:defRPr>
            </a:lvl1pPr>
            <a:lvl2pPr marL="180975" indent="-180975" algn="l" defTabSz="914400" rtl="0" eaLnBrk="1" latinLnBrk="0" hangingPunct="1">
              <a:spcBef>
                <a:spcPts val="200"/>
              </a:spcBef>
              <a:buClr>
                <a:schemeClr val="tx2"/>
              </a:buClr>
              <a:buFont typeface="Wingdings" pitchFamily="2" charset="2"/>
              <a:buChar char="§"/>
              <a:defRPr sz="1600" kern="1200">
                <a:solidFill>
                  <a:schemeClr val="tx2"/>
                </a:solidFill>
                <a:latin typeface="+mn-lt"/>
                <a:ea typeface="+mn-ea"/>
                <a:cs typeface="+mn-cs"/>
              </a:defRPr>
            </a:lvl2pPr>
            <a:lvl3pPr marL="355600" indent="-174625"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3pPr>
            <a:lvl4pPr marL="538163" indent="-182563"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4pPr>
            <a:lvl5pPr marL="719138" indent="-180975" algn="l" defTabSz="914400" rtl="0" eaLnBrk="1" latinLnBrk="0" hangingPunct="1">
              <a:spcBef>
                <a:spcPts val="200"/>
              </a:spcBef>
              <a:buClr>
                <a:schemeClr val="tx2"/>
              </a:buClr>
              <a:buFont typeface="Symbol" pitchFamily="18" charset="2"/>
              <a:buChar char="-"/>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de-DE" sz="9600" dirty="0" smtClean="0">
                <a:solidFill>
                  <a:schemeClr val="accent2"/>
                </a:solidFill>
              </a:rPr>
              <a:t>+</a:t>
            </a:r>
            <a:endParaRPr lang="de-DE" sz="9600" dirty="0">
              <a:solidFill>
                <a:schemeClr val="accent2"/>
              </a:solidFill>
            </a:endParaRPr>
          </a:p>
        </p:txBody>
      </p:sp>
      <p:grpSp>
        <p:nvGrpSpPr>
          <p:cNvPr id="114" name="Gruppieren 1"/>
          <p:cNvGrpSpPr/>
          <p:nvPr/>
        </p:nvGrpSpPr>
        <p:grpSpPr>
          <a:xfrm>
            <a:off x="2866804" y="1969609"/>
            <a:ext cx="1372671" cy="3894250"/>
            <a:chOff x="2866804" y="1841729"/>
            <a:chExt cx="1372671" cy="3894250"/>
          </a:xfrm>
        </p:grpSpPr>
        <p:pic>
          <p:nvPicPr>
            <p:cNvPr id="115"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2934033" y="2811761"/>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6"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3295095" y="2811761"/>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7"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3656158" y="2811761"/>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8"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3116625" y="3217031"/>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9"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3482577" y="3217031"/>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0"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2977895" y="1953555"/>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35"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3338957" y="1953555"/>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36"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3700020" y="1953555"/>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37"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3160487" y="2358825"/>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38"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3526439" y="2358825"/>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39"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2934033" y="4525865"/>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40"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3295095" y="4525865"/>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41"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3656158" y="4525865"/>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42"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3116625" y="4931135"/>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43"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3482577" y="4931135"/>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44"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2977895" y="3667659"/>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45"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3338957" y="3667659"/>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46"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3700020" y="3667659"/>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47"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3160487" y="4072929"/>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48"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3526439" y="4072929"/>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49" name="Rechteck 5"/>
            <p:cNvSpPr/>
            <p:nvPr/>
          </p:nvSpPr>
          <p:spPr>
            <a:xfrm>
              <a:off x="2875312" y="1841729"/>
              <a:ext cx="1226054" cy="3571875"/>
            </a:xfrm>
            <a:prstGeom prst="rect">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en-US" sz="1200" dirty="0" smtClean="0">
                <a:solidFill>
                  <a:schemeClr val="tx1"/>
                </a:solidFill>
              </a:endParaRPr>
            </a:p>
          </p:txBody>
        </p:sp>
        <p:pic>
          <p:nvPicPr>
            <p:cNvPr id="150" name="Grafik 13"/>
            <p:cNvPicPr>
              <a:picLocks noChangeAspect="1"/>
            </p:cNvPicPr>
            <p:nvPr/>
          </p:nvPicPr>
          <p:blipFill>
            <a:blip r:embed="rId4">
              <a:grayscl/>
              <a:extLst>
                <a:ext uri="{28A0092B-C50C-407E-A947-70E740481C1C}">
                  <a14:useLocalDpi xmlns:a14="http://schemas.microsoft.com/office/drawing/2010/main" val="0"/>
                </a:ext>
              </a:extLst>
            </a:blip>
            <a:stretch>
              <a:fillRect/>
            </a:stretch>
          </p:blipFill>
          <p:spPr>
            <a:xfrm>
              <a:off x="3201598" y="4411249"/>
              <a:ext cx="556741" cy="865555"/>
            </a:xfrm>
            <a:prstGeom prst="rect">
              <a:avLst/>
            </a:prstGeom>
          </p:spPr>
        </p:pic>
        <p:sp>
          <p:nvSpPr>
            <p:cNvPr id="151" name="Inhaltsplatzhalter 8"/>
            <p:cNvSpPr txBox="1">
              <a:spLocks/>
            </p:cNvSpPr>
            <p:nvPr/>
          </p:nvSpPr>
          <p:spPr>
            <a:xfrm>
              <a:off x="2866804" y="5520535"/>
              <a:ext cx="1372671" cy="215444"/>
            </a:xfrm>
            <a:prstGeom prst="rect">
              <a:avLst/>
            </a:prstGeom>
          </p:spPr>
          <p:txBody>
            <a:bodyPr vert="horz" wrap="square" lIns="0" tIns="0" rIns="0" bIns="0" rtlCol="0">
              <a:spAutoFit/>
            </a:bodyPr>
            <a:lstStyle>
              <a:lvl1pPr marL="0" indent="0" algn="l" defTabSz="914400" rtl="0" eaLnBrk="1" latinLnBrk="0" hangingPunct="1">
                <a:spcBef>
                  <a:spcPts val="200"/>
                </a:spcBef>
                <a:buClr>
                  <a:schemeClr val="tx2"/>
                </a:buClr>
                <a:buFont typeface="Wingdings" pitchFamily="2" charset="2"/>
                <a:buNone/>
                <a:defRPr sz="1600" kern="1200">
                  <a:solidFill>
                    <a:schemeClr val="tx2"/>
                  </a:solidFill>
                  <a:latin typeface="+mn-lt"/>
                  <a:ea typeface="+mn-ea"/>
                  <a:cs typeface="+mn-cs"/>
                </a:defRPr>
              </a:lvl1pPr>
              <a:lvl2pPr marL="180975" indent="-180975" algn="l" defTabSz="914400" rtl="0" eaLnBrk="1" latinLnBrk="0" hangingPunct="1">
                <a:spcBef>
                  <a:spcPts val="200"/>
                </a:spcBef>
                <a:buClr>
                  <a:schemeClr val="tx2"/>
                </a:buClr>
                <a:buFont typeface="Wingdings" pitchFamily="2" charset="2"/>
                <a:buChar char="§"/>
                <a:defRPr sz="1600" kern="1200">
                  <a:solidFill>
                    <a:schemeClr val="tx2"/>
                  </a:solidFill>
                  <a:latin typeface="+mn-lt"/>
                  <a:ea typeface="+mn-ea"/>
                  <a:cs typeface="+mn-cs"/>
                </a:defRPr>
              </a:lvl2pPr>
              <a:lvl3pPr marL="355600" indent="-174625"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3pPr>
              <a:lvl4pPr marL="538163" indent="-182563"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4pPr>
              <a:lvl5pPr marL="719138" indent="-180975" algn="l" defTabSz="914400" rtl="0" eaLnBrk="1" latinLnBrk="0" hangingPunct="1">
                <a:spcBef>
                  <a:spcPts val="200"/>
                </a:spcBef>
                <a:buClr>
                  <a:schemeClr val="tx2"/>
                </a:buClr>
                <a:buFont typeface="Symbol" pitchFamily="18" charset="2"/>
                <a:buChar char="-"/>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400" b="1" dirty="0">
                  <a:solidFill>
                    <a:schemeClr val="accent6"/>
                  </a:solidFill>
                </a:rPr>
                <a:t>Subscriptions</a:t>
              </a:r>
            </a:p>
          </p:txBody>
        </p:sp>
      </p:grpSp>
      <p:grpSp>
        <p:nvGrpSpPr>
          <p:cNvPr id="152" name="Gruppieren 2"/>
          <p:cNvGrpSpPr/>
          <p:nvPr/>
        </p:nvGrpSpPr>
        <p:grpSpPr>
          <a:xfrm>
            <a:off x="5428732" y="4397407"/>
            <a:ext cx="1377425" cy="1466452"/>
            <a:chOff x="5428732" y="4269527"/>
            <a:chExt cx="1377425" cy="1466452"/>
          </a:xfrm>
        </p:grpSpPr>
        <p:pic>
          <p:nvPicPr>
            <p:cNvPr id="153"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5603792" y="4528265"/>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54"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5964854" y="4528265"/>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55"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6325917" y="4528265"/>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56"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5786384" y="4933535"/>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57"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6152336" y="4933535"/>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58" name="Rechteck 83"/>
            <p:cNvSpPr/>
            <p:nvPr/>
          </p:nvSpPr>
          <p:spPr>
            <a:xfrm>
              <a:off x="5495407" y="4269527"/>
              <a:ext cx="1226054" cy="1144078"/>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pic>
          <p:nvPicPr>
            <p:cNvPr id="159" name="Picture 4" descr="\\psf\Host\Volumes\Kerstin 2014\20141213\_Kerstin_141312\_form und glanz\Kunden\MPG_MPDL\18_Logo ESAC\220px-Open_Access_logo_PLoS_white.png"/>
            <p:cNvPicPr>
              <a:picLocks noChangeAspect="1" noChangeArrowheads="1"/>
            </p:cNvPicPr>
            <p:nvPr/>
          </p:nvPicPr>
          <p:blipFill>
            <a:blip r:embed="rId5" cstate="print">
              <a:clrChange>
                <a:clrFrom>
                  <a:srgbClr val="FFFFFF"/>
                </a:clrFrom>
                <a:clrTo>
                  <a:srgbClr val="FFFFFF">
                    <a:alpha val="0"/>
                  </a:srgbClr>
                </a:clrTo>
              </a:clrChange>
              <a:grayscl/>
              <a:extLst>
                <a:ext uri="{28A0092B-C50C-407E-A947-70E740481C1C}">
                  <a14:useLocalDpi xmlns:a14="http://schemas.microsoft.com/office/drawing/2010/main" val="0"/>
                </a:ext>
              </a:extLst>
            </a:blip>
            <a:srcRect/>
            <a:stretch>
              <a:fillRect/>
            </a:stretch>
          </p:blipFill>
          <p:spPr bwMode="auto">
            <a:xfrm>
              <a:off x="5835349" y="4414560"/>
              <a:ext cx="546170" cy="854012"/>
            </a:xfrm>
            <a:prstGeom prst="rect">
              <a:avLst/>
            </a:prstGeom>
            <a:noFill/>
            <a:extLst>
              <a:ext uri="{909E8E84-426E-40DD-AFC4-6F175D3DCCD1}">
                <a14:hiddenFill xmlns:a14="http://schemas.microsoft.com/office/drawing/2010/main">
                  <a:solidFill>
                    <a:srgbClr val="FFFFFF"/>
                  </a:solidFill>
                </a14:hiddenFill>
              </a:ext>
            </a:extLst>
          </p:spPr>
        </p:pic>
        <p:sp>
          <p:nvSpPr>
            <p:cNvPr id="160" name="Inhaltsplatzhalter 8"/>
            <p:cNvSpPr txBox="1">
              <a:spLocks/>
            </p:cNvSpPr>
            <p:nvPr/>
          </p:nvSpPr>
          <p:spPr>
            <a:xfrm>
              <a:off x="5428732" y="5520535"/>
              <a:ext cx="1377425" cy="215444"/>
            </a:xfrm>
            <a:prstGeom prst="rect">
              <a:avLst/>
            </a:prstGeom>
          </p:spPr>
          <p:txBody>
            <a:bodyPr vert="horz" wrap="square" lIns="0" tIns="0" rIns="0" bIns="0" rtlCol="0">
              <a:spAutoFit/>
            </a:bodyPr>
            <a:lstStyle>
              <a:lvl1pPr marL="0" indent="0" algn="l" defTabSz="914400" rtl="0" eaLnBrk="1" latinLnBrk="0" hangingPunct="1">
                <a:spcBef>
                  <a:spcPts val="200"/>
                </a:spcBef>
                <a:buClr>
                  <a:schemeClr val="tx2"/>
                </a:buClr>
                <a:buFont typeface="Wingdings" pitchFamily="2" charset="2"/>
                <a:buNone/>
                <a:defRPr sz="1600" kern="1200">
                  <a:solidFill>
                    <a:schemeClr val="tx2"/>
                  </a:solidFill>
                  <a:latin typeface="+mn-lt"/>
                  <a:ea typeface="+mn-ea"/>
                  <a:cs typeface="+mn-cs"/>
                </a:defRPr>
              </a:lvl1pPr>
              <a:lvl2pPr marL="180975" indent="-180975" algn="l" defTabSz="914400" rtl="0" eaLnBrk="1" latinLnBrk="0" hangingPunct="1">
                <a:spcBef>
                  <a:spcPts val="200"/>
                </a:spcBef>
                <a:buClr>
                  <a:schemeClr val="tx2"/>
                </a:buClr>
                <a:buFont typeface="Wingdings" pitchFamily="2" charset="2"/>
                <a:buChar char="§"/>
                <a:defRPr sz="1600" kern="1200">
                  <a:solidFill>
                    <a:schemeClr val="tx2"/>
                  </a:solidFill>
                  <a:latin typeface="+mn-lt"/>
                  <a:ea typeface="+mn-ea"/>
                  <a:cs typeface="+mn-cs"/>
                </a:defRPr>
              </a:lvl2pPr>
              <a:lvl3pPr marL="355600" indent="-174625"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3pPr>
              <a:lvl4pPr marL="538163" indent="-182563"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4pPr>
              <a:lvl5pPr marL="719138" indent="-180975" algn="l" defTabSz="914400" rtl="0" eaLnBrk="1" latinLnBrk="0" hangingPunct="1">
                <a:spcBef>
                  <a:spcPts val="200"/>
                </a:spcBef>
                <a:buClr>
                  <a:schemeClr val="tx2"/>
                </a:buClr>
                <a:buFont typeface="Symbol" pitchFamily="18" charset="2"/>
                <a:buChar char="-"/>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de-DE" sz="1400" b="1" dirty="0" smtClean="0">
                  <a:solidFill>
                    <a:schemeClr val="accent4"/>
                  </a:solidFill>
                </a:rPr>
                <a:t>Open </a:t>
              </a:r>
              <a:r>
                <a:rPr lang="en-US" sz="1400" b="1" dirty="0" smtClean="0">
                  <a:solidFill>
                    <a:schemeClr val="accent4"/>
                  </a:solidFill>
                </a:rPr>
                <a:t>access</a:t>
              </a:r>
              <a:endParaRPr lang="en-US" sz="1400" b="1" dirty="0">
                <a:solidFill>
                  <a:schemeClr val="accent4"/>
                </a:solidFill>
              </a:endParaRPr>
            </a:p>
          </p:txBody>
        </p:sp>
      </p:grpSp>
    </p:spTree>
    <p:extLst>
      <p:ext uri="{BB962C8B-B14F-4D97-AF65-F5344CB8AC3E}">
        <p14:creationId xmlns:p14="http://schemas.microsoft.com/office/powerpoint/2010/main" val="1152710732"/>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2"/>
          <p:cNvSpPr txBox="1">
            <a:spLocks/>
          </p:cNvSpPr>
          <p:nvPr/>
        </p:nvSpPr>
        <p:spPr>
          <a:xfrm>
            <a:off x="249073" y="369253"/>
            <a:ext cx="8929946" cy="697671"/>
          </a:xfrm>
          <a:prstGeom prst="rect">
            <a:avLst/>
          </a:prstGeom>
        </p:spPr>
        <p:txBody>
          <a:bodyPr anchor="t" anchorCtr="0"/>
          <a:lstStyle>
            <a:lvl1pPr marL="0" indent="0" algn="l" defTabSz="914400" rtl="0" eaLnBrk="1" latinLnBrk="0" hangingPunct="1">
              <a:spcBef>
                <a:spcPts val="200"/>
              </a:spcBef>
              <a:buClr>
                <a:schemeClr val="tx2"/>
              </a:buClr>
              <a:buFont typeface="Wingdings" pitchFamily="2" charset="2"/>
              <a:buNone/>
              <a:defRPr sz="1600" kern="1200">
                <a:solidFill>
                  <a:schemeClr val="tx2"/>
                </a:solidFill>
                <a:latin typeface="+mn-lt"/>
                <a:ea typeface="+mn-ea"/>
                <a:cs typeface="+mn-cs"/>
              </a:defRPr>
            </a:lvl1pPr>
            <a:lvl2pPr marL="180975" indent="-180975" algn="l" defTabSz="914400" rtl="0" eaLnBrk="1" latinLnBrk="0" hangingPunct="1">
              <a:spcBef>
                <a:spcPts val="200"/>
              </a:spcBef>
              <a:buClr>
                <a:schemeClr val="tx2"/>
              </a:buClr>
              <a:buFont typeface="Wingdings" pitchFamily="2" charset="2"/>
              <a:buChar char="§"/>
              <a:defRPr sz="1600" kern="1200">
                <a:solidFill>
                  <a:schemeClr val="tx2"/>
                </a:solidFill>
                <a:latin typeface="+mn-lt"/>
                <a:ea typeface="+mn-ea"/>
                <a:cs typeface="+mn-cs"/>
              </a:defRPr>
            </a:lvl2pPr>
            <a:lvl3pPr marL="355600" indent="-174625"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3pPr>
            <a:lvl4pPr marL="538163" indent="-182563"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4pPr>
            <a:lvl5pPr marL="719138" indent="-180975" algn="l" defTabSz="914400" rtl="0" eaLnBrk="1" latinLnBrk="0" hangingPunct="1">
              <a:spcBef>
                <a:spcPts val="200"/>
              </a:spcBef>
              <a:buClr>
                <a:schemeClr val="tx2"/>
              </a:buClr>
              <a:buFont typeface="Symbol" pitchFamily="18" charset="2"/>
              <a:buChar char="-"/>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600" b="1" dirty="0">
                <a:solidFill>
                  <a:schemeClr val="accent6"/>
                </a:solidFill>
              </a:rPr>
              <a:t>Transformative agreements get control </a:t>
            </a:r>
          </a:p>
          <a:p>
            <a:r>
              <a:rPr lang="en-US" sz="3600" b="1" dirty="0">
                <a:solidFill>
                  <a:schemeClr val="accent6"/>
                </a:solidFill>
              </a:rPr>
              <a:t>over hybrid costs</a:t>
            </a:r>
          </a:p>
        </p:txBody>
      </p:sp>
      <p:sp>
        <p:nvSpPr>
          <p:cNvPr id="64" name="TextBox 63"/>
          <p:cNvSpPr txBox="1"/>
          <p:nvPr/>
        </p:nvSpPr>
        <p:spPr>
          <a:xfrm>
            <a:off x="302341" y="6285084"/>
            <a:ext cx="2973599" cy="307777"/>
          </a:xfrm>
          <a:prstGeom prst="rect">
            <a:avLst/>
          </a:prstGeom>
          <a:noFill/>
        </p:spPr>
        <p:txBody>
          <a:bodyPr wrap="square" rtlCol="0">
            <a:spAutoFit/>
          </a:bodyPr>
          <a:lstStyle/>
          <a:p>
            <a:r>
              <a:rPr lang="en-GB" sz="1400" dirty="0">
                <a:solidFill>
                  <a:schemeClr val="accent6"/>
                </a:solidFill>
              </a:rPr>
              <a:t>http://esac-initiative.org/</a:t>
            </a:r>
          </a:p>
        </p:txBody>
      </p:sp>
      <p:sp>
        <p:nvSpPr>
          <p:cNvPr id="65" name="Inhaltsplatzhalter 8"/>
          <p:cNvSpPr txBox="1">
            <a:spLocks/>
          </p:cNvSpPr>
          <p:nvPr/>
        </p:nvSpPr>
        <p:spPr>
          <a:xfrm>
            <a:off x="4315517" y="4278794"/>
            <a:ext cx="970167" cy="1477328"/>
          </a:xfrm>
          <a:prstGeom prst="rect">
            <a:avLst/>
          </a:prstGeom>
          <a:noFill/>
        </p:spPr>
        <p:txBody>
          <a:bodyPr vert="horz" wrap="square" lIns="0" tIns="0" rIns="0" bIns="0" rtlCol="0">
            <a:spAutoFit/>
          </a:bodyPr>
          <a:lstStyle>
            <a:lvl1pPr marL="0" indent="0" algn="l" defTabSz="914400" rtl="0" eaLnBrk="1" latinLnBrk="0" hangingPunct="1">
              <a:spcBef>
                <a:spcPts val="200"/>
              </a:spcBef>
              <a:buClr>
                <a:schemeClr val="tx2"/>
              </a:buClr>
              <a:buFont typeface="Wingdings" pitchFamily="2" charset="2"/>
              <a:buNone/>
              <a:defRPr sz="1600" kern="1200">
                <a:solidFill>
                  <a:schemeClr val="tx2"/>
                </a:solidFill>
                <a:latin typeface="+mn-lt"/>
                <a:ea typeface="+mn-ea"/>
                <a:cs typeface="+mn-cs"/>
              </a:defRPr>
            </a:lvl1pPr>
            <a:lvl2pPr marL="180975" indent="-180975" algn="l" defTabSz="914400" rtl="0" eaLnBrk="1" latinLnBrk="0" hangingPunct="1">
              <a:spcBef>
                <a:spcPts val="200"/>
              </a:spcBef>
              <a:buClr>
                <a:schemeClr val="tx2"/>
              </a:buClr>
              <a:buFont typeface="Wingdings" pitchFamily="2" charset="2"/>
              <a:buChar char="§"/>
              <a:defRPr sz="1600" kern="1200">
                <a:solidFill>
                  <a:schemeClr val="tx2"/>
                </a:solidFill>
                <a:latin typeface="+mn-lt"/>
                <a:ea typeface="+mn-ea"/>
                <a:cs typeface="+mn-cs"/>
              </a:defRPr>
            </a:lvl2pPr>
            <a:lvl3pPr marL="355600" indent="-174625"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3pPr>
            <a:lvl4pPr marL="538163" indent="-182563"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4pPr>
            <a:lvl5pPr marL="719138" indent="-180975" algn="l" defTabSz="914400" rtl="0" eaLnBrk="1" latinLnBrk="0" hangingPunct="1">
              <a:spcBef>
                <a:spcPts val="200"/>
              </a:spcBef>
              <a:buClr>
                <a:schemeClr val="tx2"/>
              </a:buClr>
              <a:buFont typeface="Symbol" pitchFamily="18" charset="2"/>
              <a:buChar char="-"/>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de-DE" sz="9600" dirty="0" smtClean="0">
                <a:solidFill>
                  <a:schemeClr val="accent2"/>
                </a:solidFill>
              </a:rPr>
              <a:t>+</a:t>
            </a:r>
            <a:endParaRPr lang="de-DE" sz="9600" dirty="0">
              <a:solidFill>
                <a:schemeClr val="accent2"/>
              </a:solidFill>
            </a:endParaRPr>
          </a:p>
        </p:txBody>
      </p:sp>
      <p:grpSp>
        <p:nvGrpSpPr>
          <p:cNvPr id="66" name="Gruppieren 1"/>
          <p:cNvGrpSpPr/>
          <p:nvPr/>
        </p:nvGrpSpPr>
        <p:grpSpPr>
          <a:xfrm>
            <a:off x="2866804" y="1969609"/>
            <a:ext cx="1372671" cy="3894250"/>
            <a:chOff x="2866804" y="1841729"/>
            <a:chExt cx="1372671" cy="3894250"/>
          </a:xfrm>
        </p:grpSpPr>
        <p:pic>
          <p:nvPicPr>
            <p:cNvPr id="67"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2934033" y="2811761"/>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8"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3295095" y="2811761"/>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9"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3656158" y="2811761"/>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0"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3116625" y="3217031"/>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1"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3482577" y="3217031"/>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2"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2977895" y="1953555"/>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3"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3338957" y="1953555"/>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4"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3700020" y="1953555"/>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9"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3160487" y="2358825"/>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0"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3526439" y="2358825"/>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1"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2934033" y="4525865"/>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2"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3295095" y="4525865"/>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3"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3656158" y="4525865"/>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4"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3116625" y="4931135"/>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5"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3482577" y="4931135"/>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6"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2977895" y="3667659"/>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7"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3338957" y="3667659"/>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8"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3700020" y="3667659"/>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9"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3160487" y="4072929"/>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0"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3526439" y="4072929"/>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1" name="Rechteck 5"/>
            <p:cNvSpPr/>
            <p:nvPr/>
          </p:nvSpPr>
          <p:spPr>
            <a:xfrm>
              <a:off x="2875312" y="1841729"/>
              <a:ext cx="1226054" cy="3571875"/>
            </a:xfrm>
            <a:prstGeom prst="rect">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en-US" sz="1200" dirty="0" smtClean="0">
                <a:solidFill>
                  <a:schemeClr val="tx1"/>
                </a:solidFill>
              </a:endParaRPr>
            </a:p>
          </p:txBody>
        </p:sp>
        <p:pic>
          <p:nvPicPr>
            <p:cNvPr id="102" name="Grafik 13"/>
            <p:cNvPicPr>
              <a:picLocks noChangeAspect="1"/>
            </p:cNvPicPr>
            <p:nvPr/>
          </p:nvPicPr>
          <p:blipFill>
            <a:blip r:embed="rId4">
              <a:grayscl/>
              <a:extLst>
                <a:ext uri="{28A0092B-C50C-407E-A947-70E740481C1C}">
                  <a14:useLocalDpi xmlns:a14="http://schemas.microsoft.com/office/drawing/2010/main" val="0"/>
                </a:ext>
              </a:extLst>
            </a:blip>
            <a:stretch>
              <a:fillRect/>
            </a:stretch>
          </p:blipFill>
          <p:spPr>
            <a:xfrm>
              <a:off x="3201598" y="4411249"/>
              <a:ext cx="556741" cy="865555"/>
            </a:xfrm>
            <a:prstGeom prst="rect">
              <a:avLst/>
            </a:prstGeom>
          </p:spPr>
        </p:pic>
        <p:sp>
          <p:nvSpPr>
            <p:cNvPr id="103" name="Inhaltsplatzhalter 8"/>
            <p:cNvSpPr txBox="1">
              <a:spLocks/>
            </p:cNvSpPr>
            <p:nvPr/>
          </p:nvSpPr>
          <p:spPr>
            <a:xfrm>
              <a:off x="2866804" y="5520535"/>
              <a:ext cx="1372671" cy="215444"/>
            </a:xfrm>
            <a:prstGeom prst="rect">
              <a:avLst/>
            </a:prstGeom>
          </p:spPr>
          <p:txBody>
            <a:bodyPr vert="horz" wrap="square" lIns="0" tIns="0" rIns="0" bIns="0" rtlCol="0">
              <a:spAutoFit/>
            </a:bodyPr>
            <a:lstStyle>
              <a:lvl1pPr marL="0" indent="0" algn="l" defTabSz="914400" rtl="0" eaLnBrk="1" latinLnBrk="0" hangingPunct="1">
                <a:spcBef>
                  <a:spcPts val="200"/>
                </a:spcBef>
                <a:buClr>
                  <a:schemeClr val="tx2"/>
                </a:buClr>
                <a:buFont typeface="Wingdings" pitchFamily="2" charset="2"/>
                <a:buNone/>
                <a:defRPr sz="1600" kern="1200">
                  <a:solidFill>
                    <a:schemeClr val="tx2"/>
                  </a:solidFill>
                  <a:latin typeface="+mn-lt"/>
                  <a:ea typeface="+mn-ea"/>
                  <a:cs typeface="+mn-cs"/>
                </a:defRPr>
              </a:lvl1pPr>
              <a:lvl2pPr marL="180975" indent="-180975" algn="l" defTabSz="914400" rtl="0" eaLnBrk="1" latinLnBrk="0" hangingPunct="1">
                <a:spcBef>
                  <a:spcPts val="200"/>
                </a:spcBef>
                <a:buClr>
                  <a:schemeClr val="tx2"/>
                </a:buClr>
                <a:buFont typeface="Wingdings" pitchFamily="2" charset="2"/>
                <a:buChar char="§"/>
                <a:defRPr sz="1600" kern="1200">
                  <a:solidFill>
                    <a:schemeClr val="tx2"/>
                  </a:solidFill>
                  <a:latin typeface="+mn-lt"/>
                  <a:ea typeface="+mn-ea"/>
                  <a:cs typeface="+mn-cs"/>
                </a:defRPr>
              </a:lvl2pPr>
              <a:lvl3pPr marL="355600" indent="-174625"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3pPr>
              <a:lvl4pPr marL="538163" indent="-182563"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4pPr>
              <a:lvl5pPr marL="719138" indent="-180975" algn="l" defTabSz="914400" rtl="0" eaLnBrk="1" latinLnBrk="0" hangingPunct="1">
                <a:spcBef>
                  <a:spcPts val="200"/>
                </a:spcBef>
                <a:buClr>
                  <a:schemeClr val="tx2"/>
                </a:buClr>
                <a:buFont typeface="Symbol" pitchFamily="18" charset="2"/>
                <a:buChar char="-"/>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400" b="1" dirty="0">
                  <a:solidFill>
                    <a:schemeClr val="accent6"/>
                  </a:solidFill>
                </a:rPr>
                <a:t>Subscriptions</a:t>
              </a:r>
            </a:p>
          </p:txBody>
        </p:sp>
      </p:grpSp>
      <p:grpSp>
        <p:nvGrpSpPr>
          <p:cNvPr id="104" name="Gruppieren 2"/>
          <p:cNvGrpSpPr/>
          <p:nvPr/>
        </p:nvGrpSpPr>
        <p:grpSpPr>
          <a:xfrm>
            <a:off x="5428732" y="4397407"/>
            <a:ext cx="1377425" cy="1466452"/>
            <a:chOff x="5428732" y="4269527"/>
            <a:chExt cx="1377425" cy="1466452"/>
          </a:xfrm>
        </p:grpSpPr>
        <p:pic>
          <p:nvPicPr>
            <p:cNvPr id="105"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5603792" y="4528265"/>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6"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5964854" y="4528265"/>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7"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6325917" y="4528265"/>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8"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5786384" y="4933535"/>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9"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6152336" y="4933535"/>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10" name="Rechteck 83"/>
            <p:cNvSpPr/>
            <p:nvPr/>
          </p:nvSpPr>
          <p:spPr>
            <a:xfrm>
              <a:off x="5495407" y="4269527"/>
              <a:ext cx="1226054" cy="1144078"/>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pic>
          <p:nvPicPr>
            <p:cNvPr id="111" name="Picture 4" descr="\\psf\Host\Volumes\Kerstin 2014\20141213\_Kerstin_141312\_form und glanz\Kunden\MPG_MPDL\18_Logo ESAC\220px-Open_Access_logo_PLoS_white.png"/>
            <p:cNvPicPr>
              <a:picLocks noChangeAspect="1" noChangeArrowheads="1"/>
            </p:cNvPicPr>
            <p:nvPr/>
          </p:nvPicPr>
          <p:blipFill>
            <a:blip r:embed="rId5" cstate="print">
              <a:clrChange>
                <a:clrFrom>
                  <a:srgbClr val="FFFFFF"/>
                </a:clrFrom>
                <a:clrTo>
                  <a:srgbClr val="FFFFFF">
                    <a:alpha val="0"/>
                  </a:srgbClr>
                </a:clrTo>
              </a:clrChange>
              <a:grayscl/>
              <a:extLst>
                <a:ext uri="{28A0092B-C50C-407E-A947-70E740481C1C}">
                  <a14:useLocalDpi xmlns:a14="http://schemas.microsoft.com/office/drawing/2010/main" val="0"/>
                </a:ext>
              </a:extLst>
            </a:blip>
            <a:srcRect/>
            <a:stretch>
              <a:fillRect/>
            </a:stretch>
          </p:blipFill>
          <p:spPr bwMode="auto">
            <a:xfrm>
              <a:off x="5835349" y="4414560"/>
              <a:ext cx="546170" cy="854012"/>
            </a:xfrm>
            <a:prstGeom prst="rect">
              <a:avLst/>
            </a:prstGeom>
            <a:noFill/>
            <a:extLst>
              <a:ext uri="{909E8E84-426E-40DD-AFC4-6F175D3DCCD1}">
                <a14:hiddenFill xmlns:a14="http://schemas.microsoft.com/office/drawing/2010/main">
                  <a:solidFill>
                    <a:srgbClr val="FFFFFF"/>
                  </a:solidFill>
                </a14:hiddenFill>
              </a:ext>
            </a:extLst>
          </p:spPr>
        </p:pic>
        <p:sp>
          <p:nvSpPr>
            <p:cNvPr id="112" name="Inhaltsplatzhalter 8"/>
            <p:cNvSpPr txBox="1">
              <a:spLocks/>
            </p:cNvSpPr>
            <p:nvPr/>
          </p:nvSpPr>
          <p:spPr>
            <a:xfrm>
              <a:off x="5428732" y="5520535"/>
              <a:ext cx="1377425" cy="215444"/>
            </a:xfrm>
            <a:prstGeom prst="rect">
              <a:avLst/>
            </a:prstGeom>
          </p:spPr>
          <p:txBody>
            <a:bodyPr vert="horz" wrap="square" lIns="0" tIns="0" rIns="0" bIns="0" rtlCol="0">
              <a:spAutoFit/>
            </a:bodyPr>
            <a:lstStyle>
              <a:lvl1pPr marL="0" indent="0" algn="l" defTabSz="914400" rtl="0" eaLnBrk="1" latinLnBrk="0" hangingPunct="1">
                <a:spcBef>
                  <a:spcPts val="200"/>
                </a:spcBef>
                <a:buClr>
                  <a:schemeClr val="tx2"/>
                </a:buClr>
                <a:buFont typeface="Wingdings" pitchFamily="2" charset="2"/>
                <a:buNone/>
                <a:defRPr sz="1600" kern="1200">
                  <a:solidFill>
                    <a:schemeClr val="tx2"/>
                  </a:solidFill>
                  <a:latin typeface="+mn-lt"/>
                  <a:ea typeface="+mn-ea"/>
                  <a:cs typeface="+mn-cs"/>
                </a:defRPr>
              </a:lvl1pPr>
              <a:lvl2pPr marL="180975" indent="-180975" algn="l" defTabSz="914400" rtl="0" eaLnBrk="1" latinLnBrk="0" hangingPunct="1">
                <a:spcBef>
                  <a:spcPts val="200"/>
                </a:spcBef>
                <a:buClr>
                  <a:schemeClr val="tx2"/>
                </a:buClr>
                <a:buFont typeface="Wingdings" pitchFamily="2" charset="2"/>
                <a:buChar char="§"/>
                <a:defRPr sz="1600" kern="1200">
                  <a:solidFill>
                    <a:schemeClr val="tx2"/>
                  </a:solidFill>
                  <a:latin typeface="+mn-lt"/>
                  <a:ea typeface="+mn-ea"/>
                  <a:cs typeface="+mn-cs"/>
                </a:defRPr>
              </a:lvl2pPr>
              <a:lvl3pPr marL="355600" indent="-174625"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3pPr>
              <a:lvl4pPr marL="538163" indent="-182563"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4pPr>
              <a:lvl5pPr marL="719138" indent="-180975" algn="l" defTabSz="914400" rtl="0" eaLnBrk="1" latinLnBrk="0" hangingPunct="1">
                <a:spcBef>
                  <a:spcPts val="200"/>
                </a:spcBef>
                <a:buClr>
                  <a:schemeClr val="tx2"/>
                </a:buClr>
                <a:buFont typeface="Symbol" pitchFamily="18" charset="2"/>
                <a:buChar char="-"/>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de-DE" sz="1400" b="1" dirty="0" smtClean="0">
                  <a:solidFill>
                    <a:schemeClr val="accent4"/>
                  </a:solidFill>
                </a:rPr>
                <a:t>Open </a:t>
              </a:r>
              <a:r>
                <a:rPr lang="en-US" sz="1400" b="1" dirty="0" smtClean="0">
                  <a:solidFill>
                    <a:schemeClr val="accent4"/>
                  </a:solidFill>
                </a:rPr>
                <a:t>access</a:t>
              </a:r>
              <a:endParaRPr lang="en-US" sz="1400" b="1" dirty="0">
                <a:solidFill>
                  <a:schemeClr val="accent4"/>
                </a:solidFill>
              </a:endParaRPr>
            </a:p>
          </p:txBody>
        </p:sp>
      </p:grpSp>
      <p:sp>
        <p:nvSpPr>
          <p:cNvPr id="113" name="Rechteck 57"/>
          <p:cNvSpPr/>
          <p:nvPr/>
        </p:nvSpPr>
        <p:spPr>
          <a:xfrm>
            <a:off x="3503220" y="1579084"/>
            <a:ext cx="2921330" cy="4438957"/>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114" name="Textfeld 38"/>
          <p:cNvSpPr txBox="1"/>
          <p:nvPr/>
        </p:nvSpPr>
        <p:spPr>
          <a:xfrm>
            <a:off x="3849262" y="1644458"/>
            <a:ext cx="2122615" cy="492443"/>
          </a:xfrm>
          <a:prstGeom prst="rect">
            <a:avLst/>
          </a:prstGeom>
          <a:solidFill>
            <a:schemeClr val="bg1"/>
          </a:solidFill>
        </p:spPr>
        <p:txBody>
          <a:bodyPr wrap="square" lIns="0" tIns="0" rIns="0" bIns="0" rtlCol="0">
            <a:spAutoFit/>
          </a:bodyPr>
          <a:lstStyle/>
          <a:p>
            <a:pPr algn="ctr"/>
            <a:r>
              <a:rPr lang="en-US" sz="1600" b="1" dirty="0" smtClean="0">
                <a:solidFill>
                  <a:schemeClr val="tx2"/>
                </a:solidFill>
              </a:rPr>
              <a:t>Transformative Agreement</a:t>
            </a:r>
            <a:endParaRPr lang="en-US" sz="1600" b="1" dirty="0">
              <a:solidFill>
                <a:schemeClr val="tx2"/>
              </a:solidFill>
            </a:endParaRPr>
          </a:p>
        </p:txBody>
      </p:sp>
    </p:spTree>
    <p:extLst>
      <p:ext uri="{BB962C8B-B14F-4D97-AF65-F5344CB8AC3E}">
        <p14:creationId xmlns:p14="http://schemas.microsoft.com/office/powerpoint/2010/main" val="2465410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fill="hold" grpId="1" nodeType="withEffect">
                                  <p:stCondLst>
                                    <p:cond delay="0"/>
                                  </p:stCondLst>
                                  <p:childTnLst>
                                    <p:animEffect transition="out" filter="fade">
                                      <p:cBhvr>
                                        <p:cTn id="6" dur="1000" tmFilter="0, 0; .2, .5; .8, .5; 1, 0"/>
                                        <p:tgtEl>
                                          <p:spTgt spid="65"/>
                                        </p:tgtEl>
                                      </p:cBhvr>
                                    </p:animEffect>
                                    <p:animScale>
                                      <p:cBhvr>
                                        <p:cTn id="7" dur="500" autoRev="1" fill="hold"/>
                                        <p:tgtEl>
                                          <p:spTgt spid="65"/>
                                        </p:tgtEl>
                                      </p:cBhvr>
                                      <p:by x="105000" y="105000"/>
                                    </p:animScale>
                                  </p:childTnLst>
                                </p:cTn>
                              </p:par>
                            </p:childTnLst>
                          </p:cTn>
                        </p:par>
                        <p:par>
                          <p:cTn id="8" fill="hold">
                            <p:stCondLst>
                              <p:cond delay="1000"/>
                            </p:stCondLst>
                            <p:childTnLst>
                              <p:par>
                                <p:cTn id="9" presetID="53" presetClass="exit" presetSubtype="32" fill="hold" grpId="0" nodeType="afterEffect">
                                  <p:stCondLst>
                                    <p:cond delay="0"/>
                                  </p:stCondLst>
                                  <p:childTnLst>
                                    <p:anim calcmode="lin" valueType="num">
                                      <p:cBhvr>
                                        <p:cTn id="10" dur="1800"/>
                                        <p:tgtEl>
                                          <p:spTgt spid="65"/>
                                        </p:tgtEl>
                                        <p:attrNameLst>
                                          <p:attrName>ppt_w</p:attrName>
                                        </p:attrNameLst>
                                      </p:cBhvr>
                                      <p:tavLst>
                                        <p:tav tm="0">
                                          <p:val>
                                            <p:strVal val="ppt_w"/>
                                          </p:val>
                                        </p:tav>
                                        <p:tav tm="100000">
                                          <p:val>
                                            <p:fltVal val="0"/>
                                          </p:val>
                                        </p:tav>
                                      </p:tavLst>
                                    </p:anim>
                                    <p:anim calcmode="lin" valueType="num">
                                      <p:cBhvr>
                                        <p:cTn id="11" dur="1800"/>
                                        <p:tgtEl>
                                          <p:spTgt spid="65"/>
                                        </p:tgtEl>
                                        <p:attrNameLst>
                                          <p:attrName>ppt_h</p:attrName>
                                        </p:attrNameLst>
                                      </p:cBhvr>
                                      <p:tavLst>
                                        <p:tav tm="0">
                                          <p:val>
                                            <p:strVal val="ppt_h"/>
                                          </p:val>
                                        </p:tav>
                                        <p:tav tm="100000">
                                          <p:val>
                                            <p:fltVal val="0"/>
                                          </p:val>
                                        </p:tav>
                                      </p:tavLst>
                                    </p:anim>
                                    <p:animEffect transition="out" filter="fade">
                                      <p:cBhvr>
                                        <p:cTn id="12" dur="1800"/>
                                        <p:tgtEl>
                                          <p:spTgt spid="65"/>
                                        </p:tgtEl>
                                      </p:cBhvr>
                                    </p:animEffect>
                                    <p:set>
                                      <p:cBhvr>
                                        <p:cTn id="13" dur="1" fill="hold">
                                          <p:stCondLst>
                                            <p:cond delay="1799"/>
                                          </p:stCondLst>
                                        </p:cTn>
                                        <p:tgtEl>
                                          <p:spTgt spid="65"/>
                                        </p:tgtEl>
                                        <p:attrNameLst>
                                          <p:attrName>style.visibility</p:attrName>
                                        </p:attrNameLst>
                                      </p:cBhvr>
                                      <p:to>
                                        <p:strVal val="hidden"/>
                                      </p:to>
                                    </p:set>
                                  </p:childTnLst>
                                </p:cTn>
                              </p:par>
                              <p:par>
                                <p:cTn id="14" presetID="42" presetClass="path" presetSubtype="0" accel="50000" decel="50000" fill="hold" nodeType="withEffect">
                                  <p:stCondLst>
                                    <p:cond delay="1800"/>
                                  </p:stCondLst>
                                  <p:childTnLst>
                                    <p:animMotion origin="layout" path="M -1.33194E-6 -3.88529E-6 L 0.08511 -0.00092 " pathEditMode="relative" rAng="0" ptsTypes="AA">
                                      <p:cBhvr>
                                        <p:cTn id="15" dur="2000" fill="hold"/>
                                        <p:tgtEl>
                                          <p:spTgt spid="66"/>
                                        </p:tgtEl>
                                        <p:attrNameLst>
                                          <p:attrName>ppt_x</p:attrName>
                                          <p:attrName>ppt_y</p:attrName>
                                        </p:attrNameLst>
                                      </p:cBhvr>
                                      <p:rCtr x="4247" y="-46"/>
                                    </p:animMotion>
                                  </p:childTnLst>
                                </p:cTn>
                              </p:par>
                              <p:par>
                                <p:cTn id="16" presetID="42" presetClass="path" presetSubtype="0" accel="50000" decel="50000" fill="hold" nodeType="withEffect">
                                  <p:stCondLst>
                                    <p:cond delay="1800"/>
                                  </p:stCondLst>
                                  <p:childTnLst>
                                    <p:animMotion origin="layout" path="M 3.08222E-6 -3.40426E-6 L -0.0529 -0.00069 " pathEditMode="relative" rAng="0" ptsTypes="AA">
                                      <p:cBhvr>
                                        <p:cTn id="17" dur="2000" fill="hold"/>
                                        <p:tgtEl>
                                          <p:spTgt spid="104"/>
                                        </p:tgtEl>
                                        <p:attrNameLst>
                                          <p:attrName>ppt_x</p:attrName>
                                          <p:attrName>ppt_y</p:attrName>
                                        </p:attrNameLst>
                                      </p:cBhvr>
                                      <p:rCtr x="-2645" y="-46"/>
                                    </p:animMotion>
                                  </p:childTnLst>
                                </p:cTn>
                              </p:par>
                            </p:childTnLst>
                          </p:cTn>
                        </p:par>
                        <p:par>
                          <p:cTn id="18" fill="hold">
                            <p:stCondLst>
                              <p:cond delay="4800"/>
                            </p:stCondLst>
                            <p:childTnLst>
                              <p:par>
                                <p:cTn id="19" presetID="10" presetClass="entr" presetSubtype="0" fill="hold" grpId="0" nodeType="afterEffect">
                                  <p:stCondLst>
                                    <p:cond delay="0"/>
                                  </p:stCondLst>
                                  <p:childTnLst>
                                    <p:set>
                                      <p:cBhvr>
                                        <p:cTn id="20" dur="1" fill="hold">
                                          <p:stCondLst>
                                            <p:cond delay="0"/>
                                          </p:stCondLst>
                                        </p:cTn>
                                        <p:tgtEl>
                                          <p:spTgt spid="113"/>
                                        </p:tgtEl>
                                        <p:attrNameLst>
                                          <p:attrName>style.visibility</p:attrName>
                                        </p:attrNameLst>
                                      </p:cBhvr>
                                      <p:to>
                                        <p:strVal val="visible"/>
                                      </p:to>
                                    </p:set>
                                    <p:animEffect transition="in" filter="fade">
                                      <p:cBhvr>
                                        <p:cTn id="21" dur="500"/>
                                        <p:tgtEl>
                                          <p:spTgt spid="113"/>
                                        </p:tgtEl>
                                      </p:cBhvr>
                                    </p:animEffect>
                                  </p:childTnLst>
                                </p:cTn>
                              </p:par>
                            </p:childTnLst>
                          </p:cTn>
                        </p:par>
                        <p:par>
                          <p:cTn id="22" fill="hold">
                            <p:stCondLst>
                              <p:cond delay="5300"/>
                            </p:stCondLst>
                            <p:childTnLst>
                              <p:par>
                                <p:cTn id="23" presetID="10" presetClass="entr" presetSubtype="0" fill="hold" grpId="0" nodeType="afterEffect">
                                  <p:stCondLst>
                                    <p:cond delay="0"/>
                                  </p:stCondLst>
                                  <p:childTnLst>
                                    <p:set>
                                      <p:cBhvr>
                                        <p:cTn id="24" dur="1" fill="hold">
                                          <p:stCondLst>
                                            <p:cond delay="0"/>
                                          </p:stCondLst>
                                        </p:cTn>
                                        <p:tgtEl>
                                          <p:spTgt spid="114"/>
                                        </p:tgtEl>
                                        <p:attrNameLst>
                                          <p:attrName>style.visibility</p:attrName>
                                        </p:attrNameLst>
                                      </p:cBhvr>
                                      <p:to>
                                        <p:strVal val="visible"/>
                                      </p:to>
                                    </p:set>
                                    <p:animEffect transition="in" filter="fade">
                                      <p:cBhvr>
                                        <p:cTn id="25" dur="500"/>
                                        <p:tgtEl>
                                          <p:spTgt spid="1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 grpId="0"/>
      <p:bldP spid="65" grpId="1"/>
      <p:bldP spid="113" grpId="0" animBg="1"/>
      <p:bldP spid="114"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p:cNvSpPr>
            <a:spLocks noGrp="1"/>
          </p:cNvSpPr>
          <p:nvPr>
            <p:ph type="sldNum" sz="quarter" idx="12"/>
          </p:nvPr>
        </p:nvSpPr>
        <p:spPr/>
        <p:txBody>
          <a:bodyPr/>
          <a:lstStyle/>
          <a:p>
            <a:fld id="{4AD1E780-DE1C-4ECA-B5E5-863D0BC53287}" type="slidenum">
              <a:rPr lang="de-DE" smtClean="0"/>
              <a:pPr/>
              <a:t>21</a:t>
            </a:fld>
            <a:endParaRPr lang="de-DE" dirty="0"/>
          </a:p>
        </p:txBody>
      </p:sp>
      <p:sp>
        <p:nvSpPr>
          <p:cNvPr id="5" name="Textplatzhalter 2"/>
          <p:cNvSpPr txBox="1">
            <a:spLocks/>
          </p:cNvSpPr>
          <p:nvPr/>
        </p:nvSpPr>
        <p:spPr>
          <a:xfrm>
            <a:off x="249073" y="390768"/>
            <a:ext cx="8929946" cy="697671"/>
          </a:xfrm>
          <a:prstGeom prst="rect">
            <a:avLst/>
          </a:prstGeom>
        </p:spPr>
        <p:txBody>
          <a:bodyPr anchor="t" anchorCtr="0"/>
          <a:lstStyle>
            <a:lvl1pPr marL="0" indent="0" algn="l" defTabSz="914400" rtl="0" eaLnBrk="1" latinLnBrk="0" hangingPunct="1">
              <a:spcBef>
                <a:spcPts val="200"/>
              </a:spcBef>
              <a:buClr>
                <a:schemeClr val="tx2"/>
              </a:buClr>
              <a:buFont typeface="Wingdings" pitchFamily="2" charset="2"/>
              <a:buNone/>
              <a:defRPr sz="1600" kern="1200">
                <a:solidFill>
                  <a:schemeClr val="tx2"/>
                </a:solidFill>
                <a:latin typeface="+mn-lt"/>
                <a:ea typeface="+mn-ea"/>
                <a:cs typeface="+mn-cs"/>
              </a:defRPr>
            </a:lvl1pPr>
            <a:lvl2pPr marL="180975" indent="-180975" algn="l" defTabSz="914400" rtl="0" eaLnBrk="1" latinLnBrk="0" hangingPunct="1">
              <a:spcBef>
                <a:spcPts val="200"/>
              </a:spcBef>
              <a:buClr>
                <a:schemeClr val="tx2"/>
              </a:buClr>
              <a:buFont typeface="Wingdings" pitchFamily="2" charset="2"/>
              <a:buChar char="§"/>
              <a:defRPr sz="1600" kern="1200">
                <a:solidFill>
                  <a:schemeClr val="tx2"/>
                </a:solidFill>
                <a:latin typeface="+mn-lt"/>
                <a:ea typeface="+mn-ea"/>
                <a:cs typeface="+mn-cs"/>
              </a:defRPr>
            </a:lvl2pPr>
            <a:lvl3pPr marL="355600" indent="-174625"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3pPr>
            <a:lvl4pPr marL="538163" indent="-182563"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4pPr>
            <a:lvl5pPr marL="719138" indent="-180975" algn="l" defTabSz="914400" rtl="0" eaLnBrk="1" latinLnBrk="0" hangingPunct="1">
              <a:spcBef>
                <a:spcPts val="200"/>
              </a:spcBef>
              <a:buClr>
                <a:schemeClr val="tx2"/>
              </a:buClr>
              <a:buFont typeface="Symbol" pitchFamily="18" charset="2"/>
              <a:buChar char="-"/>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600" b="1" dirty="0">
                <a:solidFill>
                  <a:schemeClr val="accent6"/>
                </a:solidFill>
              </a:rPr>
              <a:t>Subscription funds are converted to open access publishing funds</a:t>
            </a:r>
          </a:p>
        </p:txBody>
      </p:sp>
      <p:sp>
        <p:nvSpPr>
          <p:cNvPr id="65" name="Rechteck 44"/>
          <p:cNvSpPr/>
          <p:nvPr/>
        </p:nvSpPr>
        <p:spPr>
          <a:xfrm>
            <a:off x="3724768" y="4443837"/>
            <a:ext cx="1226054" cy="1097356"/>
          </a:xfrm>
          <a:prstGeom prst="rect">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en-US" sz="1200" dirty="0" smtClean="0">
              <a:solidFill>
                <a:schemeClr val="tx1"/>
              </a:solidFill>
            </a:endParaRPr>
          </a:p>
        </p:txBody>
      </p:sp>
      <p:cxnSp>
        <p:nvCxnSpPr>
          <p:cNvPr id="66" name="Gerade Verbindung 53"/>
          <p:cNvCxnSpPr/>
          <p:nvPr/>
        </p:nvCxnSpPr>
        <p:spPr>
          <a:xfrm>
            <a:off x="4975175" y="4398146"/>
            <a:ext cx="1235579"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67" name="Gerade Verbindung 55"/>
          <p:cNvCxnSpPr/>
          <p:nvPr/>
        </p:nvCxnSpPr>
        <p:spPr>
          <a:xfrm>
            <a:off x="3724247" y="1969317"/>
            <a:ext cx="1235579"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sp>
        <p:nvSpPr>
          <p:cNvPr id="68" name="Rechteck 56"/>
          <p:cNvSpPr/>
          <p:nvPr/>
        </p:nvSpPr>
        <p:spPr>
          <a:xfrm>
            <a:off x="3725930" y="1969610"/>
            <a:ext cx="1226054" cy="3571875"/>
          </a:xfrm>
          <a:prstGeom prst="rect">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69" name="Rechteck 57"/>
          <p:cNvSpPr/>
          <p:nvPr/>
        </p:nvSpPr>
        <p:spPr>
          <a:xfrm>
            <a:off x="4978876" y="1969610"/>
            <a:ext cx="1222394" cy="3572907"/>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70" name="Rechteck 58"/>
          <p:cNvSpPr/>
          <p:nvPr/>
        </p:nvSpPr>
        <p:spPr>
          <a:xfrm>
            <a:off x="4978876" y="4397115"/>
            <a:ext cx="1226054" cy="1144078"/>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pic>
        <p:nvPicPr>
          <p:cNvPr id="71"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3783503" y="2939641"/>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2"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4144565" y="2939641"/>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3"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4505628" y="2939641"/>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4"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3966095" y="3344911"/>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9"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4332047" y="3344911"/>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0"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3827365" y="2081435"/>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1"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4188427" y="2081435"/>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2"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4549490" y="2081435"/>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3"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4009957" y="2486705"/>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4"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4375909" y="2486705"/>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5"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3783503" y="4653745"/>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6"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4144565" y="4653745"/>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7"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4505628" y="4653745"/>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8"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3966095" y="5059015"/>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9"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4332047" y="5059015"/>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0"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3827365" y="3795539"/>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1"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4188427" y="3795539"/>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4549490" y="3795539"/>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3"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4009957" y="4200809"/>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4"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4375909" y="4200809"/>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5" name="Grafik 13"/>
          <p:cNvPicPr>
            <a:picLocks noChangeAspect="1"/>
          </p:cNvPicPr>
          <p:nvPr/>
        </p:nvPicPr>
        <p:blipFill>
          <a:blip r:embed="rId4">
            <a:grayscl/>
            <a:extLst>
              <a:ext uri="{28A0092B-C50C-407E-A947-70E740481C1C}">
                <a14:useLocalDpi xmlns:a14="http://schemas.microsoft.com/office/drawing/2010/main" val="0"/>
              </a:ext>
            </a:extLst>
          </a:blip>
          <a:stretch>
            <a:fillRect/>
          </a:stretch>
        </p:blipFill>
        <p:spPr>
          <a:xfrm>
            <a:off x="4051068" y="4539129"/>
            <a:ext cx="556741" cy="865555"/>
          </a:xfrm>
          <a:prstGeom prst="rect">
            <a:avLst/>
          </a:prstGeom>
        </p:spPr>
      </p:pic>
      <p:pic>
        <p:nvPicPr>
          <p:cNvPr id="106"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5087275" y="4656145"/>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7"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5448337" y="4656145"/>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8"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5809400" y="4656145"/>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9"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5269867" y="5061415"/>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0"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5635819" y="5061415"/>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1" name="Picture 4" descr="\\psf\Host\Volumes\Kerstin 2014\20141213\_Kerstin_141312\_form und glanz\Kunden\MPG_MPDL\18_Logo ESAC\220px-Open_Access_logo_PLoS_white.png"/>
          <p:cNvPicPr>
            <a:picLocks noChangeAspect="1" noChangeArrowheads="1"/>
          </p:cNvPicPr>
          <p:nvPr/>
        </p:nvPicPr>
        <p:blipFill>
          <a:blip r:embed="rId5" cstate="print">
            <a:clrChange>
              <a:clrFrom>
                <a:srgbClr val="FFFFFF"/>
              </a:clrFrom>
              <a:clrTo>
                <a:srgbClr val="FFFFFF">
                  <a:alpha val="0"/>
                </a:srgbClr>
              </a:clrTo>
            </a:clrChange>
            <a:grayscl/>
            <a:extLst>
              <a:ext uri="{28A0092B-C50C-407E-A947-70E740481C1C}">
                <a14:useLocalDpi xmlns:a14="http://schemas.microsoft.com/office/drawing/2010/main" val="0"/>
              </a:ext>
            </a:extLst>
          </a:blip>
          <a:srcRect/>
          <a:stretch>
            <a:fillRect/>
          </a:stretch>
        </p:blipFill>
        <p:spPr bwMode="auto">
          <a:xfrm>
            <a:off x="5318832" y="4542440"/>
            <a:ext cx="546170" cy="854012"/>
          </a:xfrm>
          <a:prstGeom prst="rect">
            <a:avLst/>
          </a:prstGeom>
          <a:noFill/>
          <a:extLst>
            <a:ext uri="{909E8E84-426E-40DD-AFC4-6F175D3DCCD1}">
              <a14:hiddenFill xmlns:a14="http://schemas.microsoft.com/office/drawing/2010/main">
                <a:solidFill>
                  <a:srgbClr val="FFFFFF"/>
                </a:solidFill>
              </a14:hiddenFill>
            </a:ext>
          </a:extLst>
        </p:spPr>
      </p:pic>
      <p:sp>
        <p:nvSpPr>
          <p:cNvPr id="112" name="Inhaltsplatzhalter 8"/>
          <p:cNvSpPr txBox="1">
            <a:spLocks/>
          </p:cNvSpPr>
          <p:nvPr/>
        </p:nvSpPr>
        <p:spPr>
          <a:xfrm>
            <a:off x="3716274" y="5648415"/>
            <a:ext cx="1372671" cy="215444"/>
          </a:xfrm>
          <a:prstGeom prst="rect">
            <a:avLst/>
          </a:prstGeom>
        </p:spPr>
        <p:txBody>
          <a:bodyPr vert="horz" wrap="square" lIns="0" tIns="0" rIns="0" bIns="0" rtlCol="0">
            <a:spAutoFit/>
          </a:bodyPr>
          <a:lstStyle>
            <a:lvl1pPr marL="0" indent="0" algn="l" defTabSz="914400" rtl="0" eaLnBrk="1" latinLnBrk="0" hangingPunct="1">
              <a:spcBef>
                <a:spcPts val="200"/>
              </a:spcBef>
              <a:buClr>
                <a:schemeClr val="tx2"/>
              </a:buClr>
              <a:buFont typeface="Wingdings" pitchFamily="2" charset="2"/>
              <a:buNone/>
              <a:defRPr sz="1600" kern="1200">
                <a:solidFill>
                  <a:schemeClr val="tx2"/>
                </a:solidFill>
                <a:latin typeface="+mn-lt"/>
                <a:ea typeface="+mn-ea"/>
                <a:cs typeface="+mn-cs"/>
              </a:defRPr>
            </a:lvl1pPr>
            <a:lvl2pPr marL="180975" indent="-180975" algn="l" defTabSz="914400" rtl="0" eaLnBrk="1" latinLnBrk="0" hangingPunct="1">
              <a:spcBef>
                <a:spcPts val="200"/>
              </a:spcBef>
              <a:buClr>
                <a:schemeClr val="tx2"/>
              </a:buClr>
              <a:buFont typeface="Wingdings" pitchFamily="2" charset="2"/>
              <a:buChar char="§"/>
              <a:defRPr sz="1600" kern="1200">
                <a:solidFill>
                  <a:schemeClr val="tx2"/>
                </a:solidFill>
                <a:latin typeface="+mn-lt"/>
                <a:ea typeface="+mn-ea"/>
                <a:cs typeface="+mn-cs"/>
              </a:defRPr>
            </a:lvl2pPr>
            <a:lvl3pPr marL="355600" indent="-174625"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3pPr>
            <a:lvl4pPr marL="538163" indent="-182563"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4pPr>
            <a:lvl5pPr marL="719138" indent="-180975" algn="l" defTabSz="914400" rtl="0" eaLnBrk="1" latinLnBrk="0" hangingPunct="1">
              <a:spcBef>
                <a:spcPts val="200"/>
              </a:spcBef>
              <a:buClr>
                <a:schemeClr val="tx2"/>
              </a:buClr>
              <a:buFont typeface="Symbol" pitchFamily="18" charset="2"/>
              <a:buChar char="-"/>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400" b="1" dirty="0">
                <a:solidFill>
                  <a:schemeClr val="accent6"/>
                </a:solidFill>
              </a:rPr>
              <a:t>Subscriptions</a:t>
            </a:r>
          </a:p>
        </p:txBody>
      </p:sp>
      <p:sp>
        <p:nvSpPr>
          <p:cNvPr id="113" name="Inhaltsplatzhalter 8"/>
          <p:cNvSpPr txBox="1">
            <a:spLocks/>
          </p:cNvSpPr>
          <p:nvPr/>
        </p:nvSpPr>
        <p:spPr>
          <a:xfrm>
            <a:off x="4912215" y="5648415"/>
            <a:ext cx="1377425" cy="215444"/>
          </a:xfrm>
          <a:prstGeom prst="rect">
            <a:avLst/>
          </a:prstGeom>
        </p:spPr>
        <p:txBody>
          <a:bodyPr vert="horz" wrap="square" lIns="0" tIns="0" rIns="0" bIns="0" rtlCol="0">
            <a:spAutoFit/>
          </a:bodyPr>
          <a:lstStyle>
            <a:lvl1pPr marL="0" indent="0" algn="l" defTabSz="914400" rtl="0" eaLnBrk="1" latinLnBrk="0" hangingPunct="1">
              <a:spcBef>
                <a:spcPts val="200"/>
              </a:spcBef>
              <a:buClr>
                <a:schemeClr val="tx2"/>
              </a:buClr>
              <a:buFont typeface="Wingdings" pitchFamily="2" charset="2"/>
              <a:buNone/>
              <a:defRPr sz="1600" kern="1200">
                <a:solidFill>
                  <a:schemeClr val="tx2"/>
                </a:solidFill>
                <a:latin typeface="+mn-lt"/>
                <a:ea typeface="+mn-ea"/>
                <a:cs typeface="+mn-cs"/>
              </a:defRPr>
            </a:lvl1pPr>
            <a:lvl2pPr marL="180975" indent="-180975" algn="l" defTabSz="914400" rtl="0" eaLnBrk="1" latinLnBrk="0" hangingPunct="1">
              <a:spcBef>
                <a:spcPts val="200"/>
              </a:spcBef>
              <a:buClr>
                <a:schemeClr val="tx2"/>
              </a:buClr>
              <a:buFont typeface="Wingdings" pitchFamily="2" charset="2"/>
              <a:buChar char="§"/>
              <a:defRPr sz="1600" kern="1200">
                <a:solidFill>
                  <a:schemeClr val="tx2"/>
                </a:solidFill>
                <a:latin typeface="+mn-lt"/>
                <a:ea typeface="+mn-ea"/>
                <a:cs typeface="+mn-cs"/>
              </a:defRPr>
            </a:lvl2pPr>
            <a:lvl3pPr marL="355600" indent="-174625"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3pPr>
            <a:lvl4pPr marL="538163" indent="-182563"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4pPr>
            <a:lvl5pPr marL="719138" indent="-180975" algn="l" defTabSz="914400" rtl="0" eaLnBrk="1" latinLnBrk="0" hangingPunct="1">
              <a:spcBef>
                <a:spcPts val="200"/>
              </a:spcBef>
              <a:buClr>
                <a:schemeClr val="tx2"/>
              </a:buClr>
              <a:buFont typeface="Symbol" pitchFamily="18" charset="2"/>
              <a:buChar char="-"/>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de-DE" sz="1400" b="1" dirty="0" smtClean="0">
                <a:solidFill>
                  <a:schemeClr val="accent4"/>
                </a:solidFill>
              </a:rPr>
              <a:t>Open </a:t>
            </a:r>
            <a:r>
              <a:rPr lang="en-US" sz="1400" b="1" dirty="0" smtClean="0">
                <a:solidFill>
                  <a:schemeClr val="accent4"/>
                </a:solidFill>
              </a:rPr>
              <a:t>access</a:t>
            </a:r>
            <a:endParaRPr lang="en-US" sz="1400" b="1" dirty="0">
              <a:solidFill>
                <a:schemeClr val="accent4"/>
              </a:solidFill>
            </a:endParaRPr>
          </a:p>
        </p:txBody>
      </p:sp>
      <p:sp>
        <p:nvSpPr>
          <p:cNvPr id="114" name="Rechteck 46"/>
          <p:cNvSpPr/>
          <p:nvPr/>
        </p:nvSpPr>
        <p:spPr>
          <a:xfrm>
            <a:off x="3503220" y="1579084"/>
            <a:ext cx="2921330" cy="4438957"/>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115" name="Textfeld 54"/>
          <p:cNvSpPr txBox="1"/>
          <p:nvPr/>
        </p:nvSpPr>
        <p:spPr>
          <a:xfrm>
            <a:off x="3849262" y="1644458"/>
            <a:ext cx="2122615" cy="492443"/>
          </a:xfrm>
          <a:prstGeom prst="rect">
            <a:avLst/>
          </a:prstGeom>
          <a:solidFill>
            <a:schemeClr val="bg1"/>
          </a:solidFill>
        </p:spPr>
        <p:txBody>
          <a:bodyPr wrap="square" lIns="0" tIns="0" rIns="0" bIns="0" rtlCol="0">
            <a:spAutoFit/>
          </a:bodyPr>
          <a:lstStyle/>
          <a:p>
            <a:pPr algn="ctr"/>
            <a:r>
              <a:rPr lang="en-US" sz="1600" b="1" dirty="0" smtClean="0">
                <a:solidFill>
                  <a:schemeClr val="tx2"/>
                </a:solidFill>
              </a:rPr>
              <a:t>Transformative Agreement</a:t>
            </a:r>
            <a:endParaRPr lang="en-US" sz="1600" b="1" dirty="0">
              <a:solidFill>
                <a:schemeClr val="tx2"/>
              </a:solidFill>
            </a:endParaRPr>
          </a:p>
        </p:txBody>
      </p:sp>
    </p:spTree>
    <p:extLst>
      <p:ext uri="{BB962C8B-B14F-4D97-AF65-F5344CB8AC3E}">
        <p14:creationId xmlns:p14="http://schemas.microsoft.com/office/powerpoint/2010/main" val="287253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50000" decel="50000" fill="hold" nodeType="withEffect">
                                  <p:stCondLst>
                                    <p:cond delay="600"/>
                                  </p:stCondLst>
                                  <p:childTnLst>
                                    <p:animMotion origin="layout" path="M 4.06796E-6 1.05458E-6 L 0.13175 0.00092 " pathEditMode="relative" rAng="0" ptsTypes="AA">
                                      <p:cBhvr>
                                        <p:cTn id="6" dur="2000" fill="hold"/>
                                        <p:tgtEl>
                                          <p:spTgt spid="71"/>
                                        </p:tgtEl>
                                        <p:attrNameLst>
                                          <p:attrName>ppt_x</p:attrName>
                                          <p:attrName>ppt_y</p:attrName>
                                        </p:attrNameLst>
                                      </p:cBhvr>
                                      <p:rCtr x="6588" y="46"/>
                                    </p:animMotion>
                                  </p:childTnLst>
                                </p:cTn>
                              </p:par>
                              <p:par>
                                <p:cTn id="7" presetID="42" presetClass="path" presetSubtype="0" accel="50000" decel="50000" fill="hold" nodeType="withEffect">
                                  <p:stCondLst>
                                    <p:cond delay="300"/>
                                  </p:stCondLst>
                                  <p:childTnLst>
                                    <p:animMotion origin="layout" path="M -2.5004E-7 1.05458E-6 L 0.13191 0.00254 " pathEditMode="relative" rAng="0" ptsTypes="AA">
                                      <p:cBhvr>
                                        <p:cTn id="8" dur="2000" fill="hold"/>
                                        <p:tgtEl>
                                          <p:spTgt spid="72"/>
                                        </p:tgtEl>
                                        <p:attrNameLst>
                                          <p:attrName>ppt_x</p:attrName>
                                          <p:attrName>ppt_y</p:attrName>
                                        </p:attrNameLst>
                                      </p:cBhvr>
                                      <p:rCtr x="6588" y="116"/>
                                    </p:animMotion>
                                  </p:childTnLst>
                                </p:cTn>
                              </p:par>
                              <p:par>
                                <p:cTn id="9" presetID="42" presetClass="path" presetSubtype="0" accel="50000" decel="50000" fill="hold" nodeType="withEffect">
                                  <p:stCondLst>
                                    <p:cond delay="0"/>
                                  </p:stCondLst>
                                  <p:childTnLst>
                                    <p:animMotion origin="layout" path="M -4.28594E-6 1.05458E-6 L 0.13192 0.00092 " pathEditMode="relative" rAng="0" ptsTypes="AA">
                                      <p:cBhvr>
                                        <p:cTn id="10" dur="2000" fill="hold"/>
                                        <p:tgtEl>
                                          <p:spTgt spid="73"/>
                                        </p:tgtEl>
                                        <p:attrNameLst>
                                          <p:attrName>ppt_x</p:attrName>
                                          <p:attrName>ppt_y</p:attrName>
                                        </p:attrNameLst>
                                      </p:cBhvr>
                                      <p:rCtr x="6588" y="46"/>
                                    </p:animMotion>
                                  </p:childTnLst>
                                </p:cTn>
                              </p:par>
                              <p:par>
                                <p:cTn id="11" presetID="42" presetClass="path" presetSubtype="0" accel="50000" decel="50000" fill="hold" nodeType="withEffect">
                                  <p:stCondLst>
                                    <p:cond delay="300"/>
                                  </p:stCondLst>
                                  <p:childTnLst>
                                    <p:animMotion origin="layout" path="M -2.05128E-6 -3.7037E-7 L 0.13125 0.00069 " pathEditMode="relative" rAng="0" ptsTypes="AA">
                                      <p:cBhvr>
                                        <p:cTn id="12" dur="2000" fill="hold"/>
                                        <p:tgtEl>
                                          <p:spTgt spid="74"/>
                                        </p:tgtEl>
                                        <p:attrNameLst>
                                          <p:attrName>ppt_x</p:attrName>
                                          <p:attrName>ppt_y</p:attrName>
                                        </p:attrNameLst>
                                      </p:cBhvr>
                                      <p:rCtr x="6554" y="23"/>
                                    </p:animMotion>
                                  </p:childTnLst>
                                </p:cTn>
                              </p:par>
                              <p:par>
                                <p:cTn id="13" presetID="42" presetClass="path" presetSubtype="0" accel="50000" decel="50000" fill="hold" nodeType="withEffect">
                                  <p:stCondLst>
                                    <p:cond delay="0"/>
                                  </p:stCondLst>
                                  <p:childTnLst>
                                    <p:animMotion origin="layout" path="M -3.53743E-6 -2.11841E-6 L 0.13192 0.0007 " pathEditMode="relative" rAng="0" ptsTypes="AA">
                                      <p:cBhvr>
                                        <p:cTn id="14" dur="2000" fill="hold"/>
                                        <p:tgtEl>
                                          <p:spTgt spid="89"/>
                                        </p:tgtEl>
                                        <p:attrNameLst>
                                          <p:attrName>ppt_x</p:attrName>
                                          <p:attrName>ppt_y</p:attrName>
                                        </p:attrNameLst>
                                      </p:cBhvr>
                                      <p:rCtr x="6588" y="23"/>
                                    </p:animMotion>
                                  </p:childTnLst>
                                </p:cTn>
                              </p:par>
                              <p:par>
                                <p:cTn id="15" presetID="42" presetClass="path" presetSubtype="0" accel="50000" decel="50000" fill="hold" nodeType="withEffect">
                                  <p:stCondLst>
                                    <p:cond delay="600"/>
                                  </p:stCondLst>
                                  <p:childTnLst>
                                    <p:animMotion origin="layout" path="M 2.5641E-7 -1.11111E-6 L 0.12644 -0.00046 " pathEditMode="relative" rAng="0" ptsTypes="AA">
                                      <p:cBhvr>
                                        <p:cTn id="16" dur="2000" fill="hold"/>
                                        <p:tgtEl>
                                          <p:spTgt spid="90"/>
                                        </p:tgtEl>
                                        <p:attrNameLst>
                                          <p:attrName>ppt_x</p:attrName>
                                          <p:attrName>ppt_y</p:attrName>
                                        </p:attrNameLst>
                                      </p:cBhvr>
                                      <p:rCtr x="6314" y="-23"/>
                                    </p:animMotion>
                                  </p:childTnLst>
                                </p:cTn>
                              </p:par>
                              <p:par>
                                <p:cTn id="17" presetID="42" presetClass="path" presetSubtype="0" accel="50000" decel="50000" fill="hold" nodeType="withEffect">
                                  <p:stCondLst>
                                    <p:cond delay="300"/>
                                  </p:stCondLst>
                                  <p:childTnLst>
                                    <p:animMotion origin="layout" path="M 2.05128E-6 -1.11111E-6 L 0.12644 0.00093 " pathEditMode="relative" rAng="0" ptsTypes="AA">
                                      <p:cBhvr>
                                        <p:cTn id="18" dur="2000" fill="hold"/>
                                        <p:tgtEl>
                                          <p:spTgt spid="91"/>
                                        </p:tgtEl>
                                        <p:attrNameLst>
                                          <p:attrName>ppt_x</p:attrName>
                                          <p:attrName>ppt_y</p:attrName>
                                        </p:attrNameLst>
                                      </p:cBhvr>
                                      <p:rCtr x="6314" y="46"/>
                                    </p:animMotion>
                                  </p:childTnLst>
                                </p:cTn>
                              </p:par>
                              <p:par>
                                <p:cTn id="19" presetID="42" presetClass="path" presetSubtype="0" accel="50000" decel="50000" fill="hold" nodeType="withEffect">
                                  <p:stCondLst>
                                    <p:cond delay="0"/>
                                  </p:stCondLst>
                                  <p:childTnLst>
                                    <p:animMotion origin="layout" path="M 3.58974E-6 -1.11111E-6 L 0.12708 0.00093 " pathEditMode="relative" rAng="0" ptsTypes="AA">
                                      <p:cBhvr>
                                        <p:cTn id="20" dur="2000" fill="hold"/>
                                        <p:tgtEl>
                                          <p:spTgt spid="92"/>
                                        </p:tgtEl>
                                        <p:attrNameLst>
                                          <p:attrName>ppt_x</p:attrName>
                                          <p:attrName>ppt_y</p:attrName>
                                        </p:attrNameLst>
                                      </p:cBhvr>
                                      <p:rCtr x="6346" y="46"/>
                                    </p:animMotion>
                                  </p:childTnLst>
                                </p:cTn>
                              </p:par>
                              <p:par>
                                <p:cTn id="21" presetID="42" presetClass="path" presetSubtype="0" accel="50000" decel="50000" fill="hold" nodeType="withEffect">
                                  <p:stCondLst>
                                    <p:cond delay="300"/>
                                  </p:stCondLst>
                                  <p:childTnLst>
                                    <p:animMotion origin="layout" path="M 7.69231E-7 1.11111E-6 L 0.12692 -0.00116 " pathEditMode="relative" rAng="0" ptsTypes="AA">
                                      <p:cBhvr>
                                        <p:cTn id="22" dur="2000" fill="hold"/>
                                        <p:tgtEl>
                                          <p:spTgt spid="93"/>
                                        </p:tgtEl>
                                        <p:attrNameLst>
                                          <p:attrName>ppt_x</p:attrName>
                                          <p:attrName>ppt_y</p:attrName>
                                        </p:attrNameLst>
                                      </p:cBhvr>
                                      <p:rCtr x="6346" y="-69"/>
                                    </p:animMotion>
                                  </p:childTnLst>
                                </p:cTn>
                              </p:par>
                              <p:par>
                                <p:cTn id="23" presetID="42" presetClass="path" presetSubtype="0" accel="50000" decel="50000" fill="hold" nodeType="withEffect">
                                  <p:stCondLst>
                                    <p:cond delay="0"/>
                                  </p:stCondLst>
                                  <p:childTnLst>
                                    <p:animMotion origin="layout" path="M -1.15403E-6 3.51526E-6 L 0.12727 0.00069 " pathEditMode="relative" rAng="0" ptsTypes="AA">
                                      <p:cBhvr>
                                        <p:cTn id="24" dur="2000" fill="hold"/>
                                        <p:tgtEl>
                                          <p:spTgt spid="94"/>
                                        </p:tgtEl>
                                        <p:attrNameLst>
                                          <p:attrName>ppt_x</p:attrName>
                                          <p:attrName>ppt_y</p:attrName>
                                        </p:attrNameLst>
                                      </p:cBhvr>
                                      <p:rCtr x="6363" y="23"/>
                                    </p:animMotion>
                                  </p:childTnLst>
                                </p:cTn>
                              </p:par>
                              <p:par>
                                <p:cTn id="25" presetID="42" presetClass="path" presetSubtype="0" accel="50000" decel="50000" fill="hold" nodeType="withEffect">
                                  <p:stCondLst>
                                    <p:cond delay="600"/>
                                  </p:stCondLst>
                                  <p:childTnLst>
                                    <p:animMotion origin="layout" path="M -3.83074E-6 0.00023 L 0.12823 -0.00046 " pathEditMode="relative" rAng="0" ptsTypes="AA">
                                      <p:cBhvr>
                                        <p:cTn id="26" dur="2000" fill="hold"/>
                                        <p:tgtEl>
                                          <p:spTgt spid="100"/>
                                        </p:tgtEl>
                                        <p:attrNameLst>
                                          <p:attrName>ppt_x</p:attrName>
                                          <p:attrName>ppt_y</p:attrName>
                                        </p:attrNameLst>
                                      </p:cBhvr>
                                      <p:rCtr x="6411" y="-46"/>
                                    </p:animMotion>
                                  </p:childTnLst>
                                </p:cTn>
                              </p:par>
                              <p:par>
                                <p:cTn id="27" presetID="42" presetClass="path" presetSubtype="0" accel="50000" decel="50000" fill="hold" nodeType="withEffect">
                                  <p:stCondLst>
                                    <p:cond delay="300"/>
                                  </p:stCondLst>
                                  <p:childTnLst>
                                    <p:animMotion origin="layout" path="M 2.5641E-7 -3.7037E-6 L 0.12548 -0.00115 " pathEditMode="relative" rAng="0" ptsTypes="AA">
                                      <p:cBhvr>
                                        <p:cTn id="28" dur="2000" fill="hold"/>
                                        <p:tgtEl>
                                          <p:spTgt spid="101"/>
                                        </p:tgtEl>
                                        <p:attrNameLst>
                                          <p:attrName>ppt_x</p:attrName>
                                          <p:attrName>ppt_y</p:attrName>
                                        </p:attrNameLst>
                                      </p:cBhvr>
                                      <p:rCtr x="6266" y="-69"/>
                                    </p:animMotion>
                                  </p:childTnLst>
                                </p:cTn>
                              </p:par>
                              <p:par>
                                <p:cTn id="29" presetID="42" presetClass="path" presetSubtype="0" accel="50000" decel="50000" fill="hold" nodeType="withEffect">
                                  <p:stCondLst>
                                    <p:cond delay="0"/>
                                  </p:stCondLst>
                                  <p:childTnLst>
                                    <p:animMotion origin="layout" path="M 3.58974E-6 -1.11111E-6 L 0.12788 -0.00185 " pathEditMode="relative" rAng="0" ptsTypes="AA">
                                      <p:cBhvr>
                                        <p:cTn id="30" dur="2000" fill="hold"/>
                                        <p:tgtEl>
                                          <p:spTgt spid="102"/>
                                        </p:tgtEl>
                                        <p:attrNameLst>
                                          <p:attrName>ppt_x</p:attrName>
                                          <p:attrName>ppt_y</p:attrName>
                                        </p:attrNameLst>
                                      </p:cBhvr>
                                      <p:rCtr x="6394" y="-93"/>
                                    </p:animMotion>
                                  </p:childTnLst>
                                </p:cTn>
                              </p:par>
                              <p:par>
                                <p:cTn id="31" presetID="42" presetClass="path" presetSubtype="0" accel="50000" decel="50000" fill="hold" nodeType="withEffect">
                                  <p:stCondLst>
                                    <p:cond delay="300"/>
                                  </p:stCondLst>
                                  <p:childTnLst>
                                    <p:animMotion origin="layout" path="M 7.69231E-7 0.00023 L 0.12772 -0.00093 " pathEditMode="relative" rAng="0" ptsTypes="AA">
                                      <p:cBhvr>
                                        <p:cTn id="32" dur="2000" fill="hold"/>
                                        <p:tgtEl>
                                          <p:spTgt spid="103"/>
                                        </p:tgtEl>
                                        <p:attrNameLst>
                                          <p:attrName>ppt_x</p:attrName>
                                          <p:attrName>ppt_y</p:attrName>
                                        </p:attrNameLst>
                                      </p:cBhvr>
                                      <p:rCtr x="6378" y="-69"/>
                                    </p:animMotion>
                                  </p:childTnLst>
                                </p:cTn>
                              </p:par>
                              <p:par>
                                <p:cTn id="33" presetID="42" presetClass="path" presetSubtype="0" accel="50000" decel="50000" fill="hold" nodeType="withEffect">
                                  <p:stCondLst>
                                    <p:cond delay="0"/>
                                  </p:stCondLst>
                                  <p:childTnLst>
                                    <p:animMotion origin="layout" path="M 3.72816E-6 3.51526E-6 L 0.1271 -0.00093 " pathEditMode="relative" rAng="0" ptsTypes="AA">
                                      <p:cBhvr>
                                        <p:cTn id="34" dur="2000" fill="hold"/>
                                        <p:tgtEl>
                                          <p:spTgt spid="104"/>
                                        </p:tgtEl>
                                        <p:attrNameLst>
                                          <p:attrName>ppt_x</p:attrName>
                                          <p:attrName>ppt_y</p:attrName>
                                        </p:attrNameLst>
                                      </p:cBhvr>
                                      <p:rCtr x="6347" y="-46"/>
                                    </p:animMotion>
                                  </p:childTnLst>
                                </p:cTn>
                              </p:par>
                              <p:par>
                                <p:cTn id="35" presetID="42" presetClass="path" presetSubtype="0" accel="50000" decel="50000" fill="hold" nodeType="withEffect">
                                  <p:stCondLst>
                                    <p:cond delay="0"/>
                                  </p:stCondLst>
                                  <p:childTnLst>
                                    <p:animMotion origin="layout" path="M -1.28205E-6 1.48148E-6 L -1.28205E-6 0.35972 " pathEditMode="relative" rAng="0" ptsTypes="AA">
                                      <p:cBhvr>
                                        <p:cTn id="36" dur="2000" fill="hold"/>
                                        <p:tgtEl>
                                          <p:spTgt spid="67"/>
                                        </p:tgtEl>
                                        <p:attrNameLst>
                                          <p:attrName>ppt_x</p:attrName>
                                          <p:attrName>ppt_y</p:attrName>
                                        </p:attrNameLst>
                                      </p:cBhvr>
                                      <p:rCtr x="0" y="17986"/>
                                    </p:animMotion>
                                  </p:childTnLst>
                                </p:cTn>
                              </p:par>
                              <p:par>
                                <p:cTn id="37" presetID="10" presetClass="exit" presetSubtype="0" fill="hold" grpId="0" nodeType="withEffect">
                                  <p:stCondLst>
                                    <p:cond delay="0"/>
                                  </p:stCondLst>
                                  <p:childTnLst>
                                    <p:animEffect transition="out" filter="fade">
                                      <p:cBhvr>
                                        <p:cTn id="38" dur="500"/>
                                        <p:tgtEl>
                                          <p:spTgt spid="70"/>
                                        </p:tgtEl>
                                      </p:cBhvr>
                                    </p:animEffect>
                                    <p:set>
                                      <p:cBhvr>
                                        <p:cTn id="39" dur="1" fill="hold">
                                          <p:stCondLst>
                                            <p:cond delay="499"/>
                                          </p:stCondLst>
                                        </p:cTn>
                                        <p:tgtEl>
                                          <p:spTgt spid="70"/>
                                        </p:tgtEl>
                                        <p:attrNameLst>
                                          <p:attrName>style.visibility</p:attrName>
                                        </p:attrNameLst>
                                      </p:cBhvr>
                                      <p:to>
                                        <p:strVal val="hidden"/>
                                      </p:to>
                                    </p:set>
                                  </p:childTnLst>
                                </p:cTn>
                              </p:par>
                              <p:par>
                                <p:cTn id="40" presetID="22" presetClass="exit" presetSubtype="1" fill="hold" grpId="0" nodeType="withEffect">
                                  <p:stCondLst>
                                    <p:cond delay="0"/>
                                  </p:stCondLst>
                                  <p:childTnLst>
                                    <p:animEffect transition="out" filter="wipe(up)">
                                      <p:cBhvr>
                                        <p:cTn id="41" dur="2000"/>
                                        <p:tgtEl>
                                          <p:spTgt spid="68"/>
                                        </p:tgtEl>
                                      </p:cBhvr>
                                    </p:animEffect>
                                    <p:set>
                                      <p:cBhvr>
                                        <p:cTn id="42" dur="1" fill="hold">
                                          <p:stCondLst>
                                            <p:cond delay="1999"/>
                                          </p:stCondLst>
                                        </p:cTn>
                                        <p:tgtEl>
                                          <p:spTgt spid="68"/>
                                        </p:tgtEl>
                                        <p:attrNameLst>
                                          <p:attrName>style.visibility</p:attrName>
                                        </p:attrNameLst>
                                      </p:cBhvr>
                                      <p:to>
                                        <p:strVal val="hidden"/>
                                      </p:to>
                                    </p:set>
                                  </p:childTnLst>
                                </p:cTn>
                              </p:par>
                              <p:par>
                                <p:cTn id="43" presetID="42" presetClass="path" presetSubtype="0" accel="50000" decel="50000" fill="hold" nodeType="withEffect">
                                  <p:stCondLst>
                                    <p:cond delay="100"/>
                                  </p:stCondLst>
                                  <p:childTnLst>
                                    <p:animMotion origin="layout" path="M -6.98494E-7 1.85185E-6 L 0.00064 -0.3544 " pathEditMode="relative" rAng="0" ptsTypes="AA">
                                      <p:cBhvr>
                                        <p:cTn id="44" dur="2100" fill="hold"/>
                                        <p:tgtEl>
                                          <p:spTgt spid="66"/>
                                        </p:tgtEl>
                                        <p:attrNameLst>
                                          <p:attrName>ppt_x</p:attrName>
                                          <p:attrName>ppt_y</p:attrName>
                                        </p:attrNameLst>
                                      </p:cBhvr>
                                      <p:rCtr x="32" y="-17731"/>
                                    </p:animMotion>
                                  </p:childTnLst>
                                </p:cTn>
                              </p:par>
                              <p:par>
                                <p:cTn id="45" presetID="22" presetClass="entr" presetSubtype="4" fill="hold" grpId="0" nodeType="withEffect">
                                  <p:stCondLst>
                                    <p:cond delay="100"/>
                                  </p:stCondLst>
                                  <p:childTnLst>
                                    <p:set>
                                      <p:cBhvr>
                                        <p:cTn id="46" dur="1" fill="hold">
                                          <p:stCondLst>
                                            <p:cond delay="0"/>
                                          </p:stCondLst>
                                        </p:cTn>
                                        <p:tgtEl>
                                          <p:spTgt spid="69"/>
                                        </p:tgtEl>
                                        <p:attrNameLst>
                                          <p:attrName>style.visibility</p:attrName>
                                        </p:attrNameLst>
                                      </p:cBhvr>
                                      <p:to>
                                        <p:strVal val="visible"/>
                                      </p:to>
                                    </p:set>
                                    <p:animEffect transition="in" filter="wipe(down)">
                                      <p:cBhvr>
                                        <p:cTn id="47" dur="2200"/>
                                        <p:tgtEl>
                                          <p:spTgt spid="69"/>
                                        </p:tgtEl>
                                      </p:cBhvr>
                                    </p:animEffect>
                                  </p:childTnLst>
                                </p:cTn>
                              </p:par>
                              <p:par>
                                <p:cTn id="48" presetID="10" presetClass="entr" presetSubtype="0" fill="hold" grpId="0" nodeType="withEffect">
                                  <p:stCondLst>
                                    <p:cond delay="1800"/>
                                  </p:stCondLst>
                                  <p:childTnLst>
                                    <p:set>
                                      <p:cBhvr>
                                        <p:cTn id="49" dur="1" fill="hold">
                                          <p:stCondLst>
                                            <p:cond delay="0"/>
                                          </p:stCondLst>
                                        </p:cTn>
                                        <p:tgtEl>
                                          <p:spTgt spid="65"/>
                                        </p:tgtEl>
                                        <p:attrNameLst>
                                          <p:attrName>style.visibility</p:attrName>
                                        </p:attrNameLst>
                                      </p:cBhvr>
                                      <p:to>
                                        <p:strVal val="visible"/>
                                      </p:to>
                                    </p:set>
                                    <p:animEffect transition="in" filter="fade">
                                      <p:cBhvr>
                                        <p:cTn id="50" dur="500"/>
                                        <p:tgtEl>
                                          <p:spTgt spid="65"/>
                                        </p:tgtEl>
                                      </p:cBhvr>
                                    </p:animEffect>
                                  </p:childTnLst>
                                </p:cTn>
                              </p:par>
                            </p:childTnLst>
                          </p:cTn>
                        </p:par>
                        <p:par>
                          <p:cTn id="51" fill="hold">
                            <p:stCondLst>
                              <p:cond delay="2600"/>
                            </p:stCondLst>
                            <p:childTnLst>
                              <p:par>
                                <p:cTn id="52" presetID="1" presetClass="exit" presetSubtype="0" fill="hold" nodeType="afterEffect">
                                  <p:stCondLst>
                                    <p:cond delay="0"/>
                                  </p:stCondLst>
                                  <p:childTnLst>
                                    <p:set>
                                      <p:cBhvr>
                                        <p:cTn id="53" dur="1" fill="hold">
                                          <p:stCondLst>
                                            <p:cond delay="0"/>
                                          </p:stCondLst>
                                        </p:cTn>
                                        <p:tgtEl>
                                          <p:spTgt spid="66"/>
                                        </p:tgtEl>
                                        <p:attrNameLst>
                                          <p:attrName>style.visibility</p:attrName>
                                        </p:attrNameLst>
                                      </p:cBhvr>
                                      <p:to>
                                        <p:strVal val="hidden"/>
                                      </p:to>
                                    </p:set>
                                  </p:childTnLst>
                                </p:cTn>
                              </p:par>
                              <p:par>
                                <p:cTn id="54" presetID="10" presetClass="exit" presetSubtype="0" fill="hold" nodeType="withEffect">
                                  <p:stCondLst>
                                    <p:cond delay="0"/>
                                  </p:stCondLst>
                                  <p:childTnLst>
                                    <p:animEffect transition="out" filter="fade">
                                      <p:cBhvr>
                                        <p:cTn id="55" dur="500"/>
                                        <p:tgtEl>
                                          <p:spTgt spid="67"/>
                                        </p:tgtEl>
                                      </p:cBhvr>
                                    </p:animEffect>
                                    <p:set>
                                      <p:cBhvr>
                                        <p:cTn id="56" dur="1" fill="hold">
                                          <p:stCondLst>
                                            <p:cond delay="499"/>
                                          </p:stCondLst>
                                        </p:cTn>
                                        <p:tgtEl>
                                          <p:spTgt spid="6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 grpId="0" animBg="1"/>
      <p:bldP spid="68" grpId="0" animBg="1"/>
      <p:bldP spid="69" grpId="0" animBg="1"/>
      <p:bldP spid="70"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2"/>
          <p:cNvSpPr txBox="1">
            <a:spLocks/>
          </p:cNvSpPr>
          <p:nvPr/>
        </p:nvSpPr>
        <p:spPr>
          <a:xfrm>
            <a:off x="249073" y="390768"/>
            <a:ext cx="8929946" cy="697671"/>
          </a:xfrm>
          <a:prstGeom prst="rect">
            <a:avLst/>
          </a:prstGeom>
        </p:spPr>
        <p:txBody>
          <a:bodyPr anchor="t" anchorCtr="0"/>
          <a:lstStyle>
            <a:lvl1pPr marL="0" indent="0" algn="l" defTabSz="914400" rtl="0" eaLnBrk="1" latinLnBrk="0" hangingPunct="1">
              <a:spcBef>
                <a:spcPts val="200"/>
              </a:spcBef>
              <a:buClr>
                <a:schemeClr val="tx2"/>
              </a:buClr>
              <a:buFont typeface="Wingdings" pitchFamily="2" charset="2"/>
              <a:buNone/>
              <a:defRPr sz="1600" kern="1200">
                <a:solidFill>
                  <a:schemeClr val="tx2"/>
                </a:solidFill>
                <a:latin typeface="+mn-lt"/>
                <a:ea typeface="+mn-ea"/>
                <a:cs typeface="+mn-cs"/>
              </a:defRPr>
            </a:lvl1pPr>
            <a:lvl2pPr marL="180975" indent="-180975" algn="l" defTabSz="914400" rtl="0" eaLnBrk="1" latinLnBrk="0" hangingPunct="1">
              <a:spcBef>
                <a:spcPts val="200"/>
              </a:spcBef>
              <a:buClr>
                <a:schemeClr val="tx2"/>
              </a:buClr>
              <a:buFont typeface="Wingdings" pitchFamily="2" charset="2"/>
              <a:buChar char="§"/>
              <a:defRPr sz="1600" kern="1200">
                <a:solidFill>
                  <a:schemeClr val="tx2"/>
                </a:solidFill>
                <a:latin typeface="+mn-lt"/>
                <a:ea typeface="+mn-ea"/>
                <a:cs typeface="+mn-cs"/>
              </a:defRPr>
            </a:lvl2pPr>
            <a:lvl3pPr marL="355600" indent="-174625"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3pPr>
            <a:lvl4pPr marL="538163" indent="-182563"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4pPr>
            <a:lvl5pPr marL="719138" indent="-180975" algn="l" defTabSz="914400" rtl="0" eaLnBrk="1" latinLnBrk="0" hangingPunct="1">
              <a:spcBef>
                <a:spcPts val="200"/>
              </a:spcBef>
              <a:buClr>
                <a:schemeClr val="tx2"/>
              </a:buClr>
              <a:buFont typeface="Symbol" pitchFamily="18" charset="2"/>
              <a:buChar char="-"/>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200" b="1" dirty="0">
                <a:solidFill>
                  <a:schemeClr val="accent6"/>
                </a:solidFill>
              </a:rPr>
              <a:t>Costs and workflows shift from package level </a:t>
            </a:r>
            <a:r>
              <a:rPr lang="en-US" sz="3200" b="1" dirty="0" smtClean="0">
                <a:solidFill>
                  <a:schemeClr val="accent6"/>
                </a:solidFill>
              </a:rPr>
              <a:t>to </a:t>
            </a:r>
            <a:r>
              <a:rPr lang="en-US" sz="3200" b="1" dirty="0">
                <a:solidFill>
                  <a:schemeClr val="accent6"/>
                </a:solidFill>
              </a:rPr>
              <a:t>the individual article level</a:t>
            </a:r>
          </a:p>
        </p:txBody>
      </p:sp>
      <p:sp>
        <p:nvSpPr>
          <p:cNvPr id="65" name="Inhaltsplatzhalter 8"/>
          <p:cNvSpPr txBox="1">
            <a:spLocks/>
          </p:cNvSpPr>
          <p:nvPr/>
        </p:nvSpPr>
        <p:spPr>
          <a:xfrm>
            <a:off x="3716274" y="5648415"/>
            <a:ext cx="1372671" cy="215444"/>
          </a:xfrm>
          <a:prstGeom prst="rect">
            <a:avLst/>
          </a:prstGeom>
        </p:spPr>
        <p:txBody>
          <a:bodyPr vert="horz" wrap="square" lIns="0" tIns="0" rIns="0" bIns="0" rtlCol="0">
            <a:spAutoFit/>
          </a:bodyPr>
          <a:lstStyle>
            <a:lvl1pPr marL="0" indent="0" algn="l" defTabSz="914400" rtl="0" eaLnBrk="1" latinLnBrk="0" hangingPunct="1">
              <a:spcBef>
                <a:spcPts val="200"/>
              </a:spcBef>
              <a:buClr>
                <a:schemeClr val="tx2"/>
              </a:buClr>
              <a:buFont typeface="Wingdings" pitchFamily="2" charset="2"/>
              <a:buNone/>
              <a:defRPr sz="1600" kern="1200">
                <a:solidFill>
                  <a:schemeClr val="tx2"/>
                </a:solidFill>
                <a:latin typeface="+mn-lt"/>
                <a:ea typeface="+mn-ea"/>
                <a:cs typeface="+mn-cs"/>
              </a:defRPr>
            </a:lvl1pPr>
            <a:lvl2pPr marL="180975" indent="-180975" algn="l" defTabSz="914400" rtl="0" eaLnBrk="1" latinLnBrk="0" hangingPunct="1">
              <a:spcBef>
                <a:spcPts val="200"/>
              </a:spcBef>
              <a:buClr>
                <a:schemeClr val="tx2"/>
              </a:buClr>
              <a:buFont typeface="Wingdings" pitchFamily="2" charset="2"/>
              <a:buChar char="§"/>
              <a:defRPr sz="1600" kern="1200">
                <a:solidFill>
                  <a:schemeClr val="tx2"/>
                </a:solidFill>
                <a:latin typeface="+mn-lt"/>
                <a:ea typeface="+mn-ea"/>
                <a:cs typeface="+mn-cs"/>
              </a:defRPr>
            </a:lvl2pPr>
            <a:lvl3pPr marL="355600" indent="-174625"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3pPr>
            <a:lvl4pPr marL="538163" indent="-182563"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4pPr>
            <a:lvl5pPr marL="719138" indent="-180975" algn="l" defTabSz="914400" rtl="0" eaLnBrk="1" latinLnBrk="0" hangingPunct="1">
              <a:spcBef>
                <a:spcPts val="200"/>
              </a:spcBef>
              <a:buClr>
                <a:schemeClr val="tx2"/>
              </a:buClr>
              <a:buFont typeface="Symbol" pitchFamily="18" charset="2"/>
              <a:buChar char="-"/>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400" b="1" dirty="0" smtClean="0">
                <a:solidFill>
                  <a:schemeClr val="accent6"/>
                </a:solidFill>
              </a:rPr>
              <a:t>Reading fee</a:t>
            </a:r>
            <a:endParaRPr lang="en-US" sz="1400" b="1" dirty="0">
              <a:solidFill>
                <a:schemeClr val="accent6"/>
              </a:solidFill>
            </a:endParaRPr>
          </a:p>
        </p:txBody>
      </p:sp>
      <p:sp>
        <p:nvSpPr>
          <p:cNvPr id="66" name="Inhaltsplatzhalter 8"/>
          <p:cNvSpPr txBox="1">
            <a:spLocks/>
          </p:cNvSpPr>
          <p:nvPr/>
        </p:nvSpPr>
        <p:spPr>
          <a:xfrm>
            <a:off x="4912215" y="5648415"/>
            <a:ext cx="1377425" cy="215444"/>
          </a:xfrm>
          <a:prstGeom prst="rect">
            <a:avLst/>
          </a:prstGeom>
        </p:spPr>
        <p:txBody>
          <a:bodyPr vert="horz" wrap="square" lIns="0" tIns="0" rIns="0" bIns="0" rtlCol="0">
            <a:spAutoFit/>
          </a:bodyPr>
          <a:lstStyle>
            <a:lvl1pPr marL="0" indent="0" algn="l" defTabSz="914400" rtl="0" eaLnBrk="1" latinLnBrk="0" hangingPunct="1">
              <a:spcBef>
                <a:spcPts val="200"/>
              </a:spcBef>
              <a:buClr>
                <a:schemeClr val="tx2"/>
              </a:buClr>
              <a:buFont typeface="Wingdings" pitchFamily="2" charset="2"/>
              <a:buNone/>
              <a:defRPr sz="1600" kern="1200">
                <a:solidFill>
                  <a:schemeClr val="tx2"/>
                </a:solidFill>
                <a:latin typeface="+mn-lt"/>
                <a:ea typeface="+mn-ea"/>
                <a:cs typeface="+mn-cs"/>
              </a:defRPr>
            </a:lvl1pPr>
            <a:lvl2pPr marL="180975" indent="-180975" algn="l" defTabSz="914400" rtl="0" eaLnBrk="1" latinLnBrk="0" hangingPunct="1">
              <a:spcBef>
                <a:spcPts val="200"/>
              </a:spcBef>
              <a:buClr>
                <a:schemeClr val="tx2"/>
              </a:buClr>
              <a:buFont typeface="Wingdings" pitchFamily="2" charset="2"/>
              <a:buChar char="§"/>
              <a:defRPr sz="1600" kern="1200">
                <a:solidFill>
                  <a:schemeClr val="tx2"/>
                </a:solidFill>
                <a:latin typeface="+mn-lt"/>
                <a:ea typeface="+mn-ea"/>
                <a:cs typeface="+mn-cs"/>
              </a:defRPr>
            </a:lvl2pPr>
            <a:lvl3pPr marL="355600" indent="-174625"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3pPr>
            <a:lvl4pPr marL="538163" indent="-182563"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4pPr>
            <a:lvl5pPr marL="719138" indent="-180975" algn="l" defTabSz="914400" rtl="0" eaLnBrk="1" latinLnBrk="0" hangingPunct="1">
              <a:spcBef>
                <a:spcPts val="200"/>
              </a:spcBef>
              <a:buClr>
                <a:schemeClr val="tx2"/>
              </a:buClr>
              <a:buFont typeface="Symbol" pitchFamily="18" charset="2"/>
              <a:buChar char="-"/>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de-DE" sz="1400" b="1" dirty="0" smtClean="0">
                <a:solidFill>
                  <a:schemeClr val="accent4"/>
                </a:solidFill>
              </a:rPr>
              <a:t>OA Publishing</a:t>
            </a:r>
            <a:endParaRPr lang="de-DE" sz="1400" b="1" dirty="0">
              <a:solidFill>
                <a:schemeClr val="accent4"/>
              </a:solidFill>
            </a:endParaRPr>
          </a:p>
        </p:txBody>
      </p:sp>
      <p:grpSp>
        <p:nvGrpSpPr>
          <p:cNvPr id="67" name="Gruppieren 8"/>
          <p:cNvGrpSpPr/>
          <p:nvPr/>
        </p:nvGrpSpPr>
        <p:grpSpPr>
          <a:xfrm>
            <a:off x="3724768" y="4443837"/>
            <a:ext cx="1226054" cy="1097356"/>
            <a:chOff x="3724768" y="4315957"/>
            <a:chExt cx="1226054" cy="1097356"/>
          </a:xfrm>
        </p:grpSpPr>
        <p:sp>
          <p:nvSpPr>
            <p:cNvPr id="68" name="Rechteck 59"/>
            <p:cNvSpPr/>
            <p:nvPr/>
          </p:nvSpPr>
          <p:spPr>
            <a:xfrm>
              <a:off x="3724768" y="4315957"/>
              <a:ext cx="1226054" cy="1097356"/>
            </a:xfrm>
            <a:prstGeom prst="rect">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en-US" sz="1200" dirty="0" smtClean="0">
                <a:solidFill>
                  <a:schemeClr val="tx1"/>
                </a:solidFill>
              </a:endParaRPr>
            </a:p>
          </p:txBody>
        </p:sp>
        <p:grpSp>
          <p:nvGrpSpPr>
            <p:cNvPr id="69" name="Gruppieren 5"/>
            <p:cNvGrpSpPr/>
            <p:nvPr/>
          </p:nvGrpSpPr>
          <p:grpSpPr>
            <a:xfrm>
              <a:off x="3783503" y="4411249"/>
              <a:ext cx="989690" cy="881199"/>
              <a:chOff x="3783503" y="4411249"/>
              <a:chExt cx="989690" cy="881199"/>
            </a:xfrm>
          </p:grpSpPr>
          <p:pic>
            <p:nvPicPr>
              <p:cNvPr id="70"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3783503" y="4525865"/>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1"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4144565" y="4525865"/>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2"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4505628" y="4525865"/>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3"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3966095" y="4931135"/>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4"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4332047" y="4931135"/>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9" name="Grafik 86"/>
              <p:cNvPicPr>
                <a:picLocks noChangeAspect="1"/>
              </p:cNvPicPr>
              <p:nvPr/>
            </p:nvPicPr>
            <p:blipFill>
              <a:blip r:embed="rId4">
                <a:grayscl/>
                <a:extLst>
                  <a:ext uri="{28A0092B-C50C-407E-A947-70E740481C1C}">
                    <a14:useLocalDpi xmlns:a14="http://schemas.microsoft.com/office/drawing/2010/main" val="0"/>
                  </a:ext>
                </a:extLst>
              </a:blip>
              <a:stretch>
                <a:fillRect/>
              </a:stretch>
            </p:blipFill>
            <p:spPr>
              <a:xfrm>
                <a:off x="4051068" y="4411249"/>
                <a:ext cx="556741" cy="865555"/>
              </a:xfrm>
              <a:prstGeom prst="rect">
                <a:avLst/>
              </a:prstGeom>
            </p:spPr>
          </p:pic>
        </p:grpSp>
      </p:grpSp>
      <p:grpSp>
        <p:nvGrpSpPr>
          <p:cNvPr id="90" name="Gruppieren 7"/>
          <p:cNvGrpSpPr/>
          <p:nvPr/>
        </p:nvGrpSpPr>
        <p:grpSpPr>
          <a:xfrm>
            <a:off x="4978876" y="1969610"/>
            <a:ext cx="1222394" cy="3572907"/>
            <a:chOff x="4978876" y="1841730"/>
            <a:chExt cx="1222394" cy="3572907"/>
          </a:xfrm>
        </p:grpSpPr>
        <p:sp>
          <p:nvSpPr>
            <p:cNvPr id="91" name="Rechteck 60"/>
            <p:cNvSpPr/>
            <p:nvPr/>
          </p:nvSpPr>
          <p:spPr>
            <a:xfrm>
              <a:off x="4978876" y="1841730"/>
              <a:ext cx="1222394" cy="3572907"/>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grpSp>
          <p:nvGrpSpPr>
            <p:cNvPr id="92" name="Gruppieren 6"/>
            <p:cNvGrpSpPr/>
            <p:nvPr/>
          </p:nvGrpSpPr>
          <p:grpSpPr>
            <a:xfrm>
              <a:off x="5062220" y="1953555"/>
              <a:ext cx="1033552" cy="3341293"/>
              <a:chOff x="5062220" y="1953555"/>
              <a:chExt cx="1033552" cy="3341293"/>
            </a:xfrm>
          </p:grpSpPr>
          <p:pic>
            <p:nvPicPr>
              <p:cNvPr id="93"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5062220" y="2811761"/>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4"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5423282" y="2811761"/>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5"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5784345" y="2811761"/>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6"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5244812" y="3217031"/>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7"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5610764" y="3217031"/>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8"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5106082" y="1953555"/>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9"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5467144" y="1953555"/>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0"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5828207" y="1953555"/>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1"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5288674" y="2358825"/>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5654626" y="2358825"/>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3"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5106082" y="3667659"/>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4"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5467144" y="3667659"/>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5"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5828207" y="3667659"/>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6"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5288674" y="4072929"/>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7"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5654626" y="4072929"/>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8"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5087275" y="4528265"/>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9"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5448337" y="4528265"/>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0"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5809400" y="4528265"/>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1"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5269867" y="4933535"/>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2"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5635819" y="4933535"/>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3" name="Picture 4" descr="\\psf\Host\Volumes\Kerstin 2014\20141213\_Kerstin_141312\_form und glanz\Kunden\MPG_MPDL\18_Logo ESAC\220px-Open_Access_logo_PLoS_white.png"/>
              <p:cNvPicPr>
                <a:picLocks noChangeAspect="1" noChangeArrowheads="1"/>
              </p:cNvPicPr>
              <p:nvPr/>
            </p:nvPicPr>
            <p:blipFill>
              <a:blip r:embed="rId5" cstate="print">
                <a:clrChange>
                  <a:clrFrom>
                    <a:srgbClr val="FFFFFF"/>
                  </a:clrFrom>
                  <a:clrTo>
                    <a:srgbClr val="FFFFFF">
                      <a:alpha val="0"/>
                    </a:srgbClr>
                  </a:clrTo>
                </a:clrChange>
                <a:grayscl/>
                <a:extLst>
                  <a:ext uri="{28A0092B-C50C-407E-A947-70E740481C1C}">
                    <a14:useLocalDpi xmlns:a14="http://schemas.microsoft.com/office/drawing/2010/main" val="0"/>
                  </a:ext>
                </a:extLst>
              </a:blip>
              <a:srcRect/>
              <a:stretch>
                <a:fillRect/>
              </a:stretch>
            </p:blipFill>
            <p:spPr bwMode="auto">
              <a:xfrm>
                <a:off x="5318832" y="4414560"/>
                <a:ext cx="546170" cy="854012"/>
              </a:xfrm>
              <a:prstGeom prst="rect">
                <a:avLst/>
              </a:prstGeom>
              <a:noFill/>
              <a:extLst>
                <a:ext uri="{909E8E84-426E-40DD-AFC4-6F175D3DCCD1}">
                  <a14:hiddenFill xmlns:a14="http://schemas.microsoft.com/office/drawing/2010/main">
                    <a:solidFill>
                      <a:srgbClr val="FFFFFF"/>
                    </a:solidFill>
                  </a14:hiddenFill>
                </a:ext>
              </a:extLst>
            </p:spPr>
          </p:pic>
        </p:grpSp>
      </p:grpSp>
      <p:sp>
        <p:nvSpPr>
          <p:cNvPr id="114" name="Rechteck 97"/>
          <p:cNvSpPr/>
          <p:nvPr/>
        </p:nvSpPr>
        <p:spPr>
          <a:xfrm>
            <a:off x="4341964" y="1750534"/>
            <a:ext cx="1222394" cy="3572907"/>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115" name="Rechteck 55"/>
          <p:cNvSpPr/>
          <p:nvPr/>
        </p:nvSpPr>
        <p:spPr>
          <a:xfrm>
            <a:off x="4421811" y="1833466"/>
            <a:ext cx="309464" cy="478621"/>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116" name="Rechteck 56"/>
          <p:cNvSpPr/>
          <p:nvPr/>
        </p:nvSpPr>
        <p:spPr>
          <a:xfrm>
            <a:off x="5188992" y="2993304"/>
            <a:ext cx="309464" cy="478621"/>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117" name="Rechteck 57"/>
          <p:cNvSpPr/>
          <p:nvPr/>
        </p:nvSpPr>
        <p:spPr>
          <a:xfrm>
            <a:off x="4597273" y="3579359"/>
            <a:ext cx="309464" cy="478621"/>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118" name="Rechteck 58"/>
          <p:cNvSpPr/>
          <p:nvPr/>
        </p:nvSpPr>
        <p:spPr>
          <a:xfrm>
            <a:off x="4991723" y="3579359"/>
            <a:ext cx="309464" cy="478621"/>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119" name="Rechteck 87"/>
          <p:cNvSpPr/>
          <p:nvPr/>
        </p:nvSpPr>
        <p:spPr>
          <a:xfrm>
            <a:off x="5188992" y="1833466"/>
            <a:ext cx="309464" cy="478621"/>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120" name="Rechteck 96"/>
          <p:cNvSpPr/>
          <p:nvPr/>
        </p:nvSpPr>
        <p:spPr>
          <a:xfrm>
            <a:off x="4597273" y="2413439"/>
            <a:ext cx="309464" cy="478621"/>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135" name="Rechteck 100"/>
          <p:cNvSpPr/>
          <p:nvPr/>
        </p:nvSpPr>
        <p:spPr>
          <a:xfrm>
            <a:off x="4991723" y="2413439"/>
            <a:ext cx="309464" cy="478621"/>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136" name="Rechteck 101"/>
          <p:cNvSpPr/>
          <p:nvPr/>
        </p:nvSpPr>
        <p:spPr>
          <a:xfrm>
            <a:off x="4805401" y="2993304"/>
            <a:ext cx="309464" cy="478621"/>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137" name="Rechteck 102"/>
          <p:cNvSpPr/>
          <p:nvPr/>
        </p:nvSpPr>
        <p:spPr>
          <a:xfrm>
            <a:off x="4805401" y="4161663"/>
            <a:ext cx="309464" cy="478621"/>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138" name="Rechteck 103"/>
          <p:cNvSpPr/>
          <p:nvPr/>
        </p:nvSpPr>
        <p:spPr>
          <a:xfrm>
            <a:off x="4421811" y="4161663"/>
            <a:ext cx="309464" cy="478621"/>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139" name="Rechteck 104"/>
          <p:cNvSpPr/>
          <p:nvPr/>
        </p:nvSpPr>
        <p:spPr>
          <a:xfrm>
            <a:off x="5188992" y="4161663"/>
            <a:ext cx="309464" cy="478621"/>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140" name="Rechteck 105"/>
          <p:cNvSpPr/>
          <p:nvPr/>
        </p:nvSpPr>
        <p:spPr>
          <a:xfrm>
            <a:off x="4597273" y="4741750"/>
            <a:ext cx="309464" cy="478621"/>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141" name="Rechteck 106"/>
          <p:cNvSpPr/>
          <p:nvPr/>
        </p:nvSpPr>
        <p:spPr>
          <a:xfrm>
            <a:off x="4991723" y="4741750"/>
            <a:ext cx="309464" cy="478621"/>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142" name="Rechteck 72"/>
          <p:cNvSpPr/>
          <p:nvPr/>
        </p:nvSpPr>
        <p:spPr>
          <a:xfrm>
            <a:off x="3503220" y="1579084"/>
            <a:ext cx="2921330" cy="4438957"/>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143" name="Textfeld 74"/>
          <p:cNvSpPr txBox="1"/>
          <p:nvPr/>
        </p:nvSpPr>
        <p:spPr>
          <a:xfrm>
            <a:off x="3849262" y="1644458"/>
            <a:ext cx="2122615" cy="492443"/>
          </a:xfrm>
          <a:prstGeom prst="rect">
            <a:avLst/>
          </a:prstGeom>
          <a:solidFill>
            <a:schemeClr val="bg1"/>
          </a:solidFill>
        </p:spPr>
        <p:txBody>
          <a:bodyPr wrap="square" lIns="0" tIns="0" rIns="0" bIns="0" rtlCol="0">
            <a:spAutoFit/>
          </a:bodyPr>
          <a:lstStyle/>
          <a:p>
            <a:pPr algn="ctr"/>
            <a:r>
              <a:rPr lang="en-US" sz="1600" b="1" dirty="0" smtClean="0">
                <a:solidFill>
                  <a:schemeClr val="tx2"/>
                </a:solidFill>
              </a:rPr>
              <a:t>Transformative Agreement</a:t>
            </a:r>
            <a:endParaRPr lang="en-US" sz="1600" b="1" dirty="0">
              <a:solidFill>
                <a:schemeClr val="tx2"/>
              </a:solidFill>
            </a:endParaRPr>
          </a:p>
        </p:txBody>
      </p:sp>
      <p:sp>
        <p:nvSpPr>
          <p:cNvPr id="144" name="Inhaltsplatzhalter 8"/>
          <p:cNvSpPr txBox="1">
            <a:spLocks/>
          </p:cNvSpPr>
          <p:nvPr/>
        </p:nvSpPr>
        <p:spPr>
          <a:xfrm>
            <a:off x="1720159" y="5755119"/>
            <a:ext cx="1372671" cy="215444"/>
          </a:xfrm>
          <a:prstGeom prst="rect">
            <a:avLst/>
          </a:prstGeom>
        </p:spPr>
        <p:txBody>
          <a:bodyPr vert="horz" wrap="square" lIns="0" tIns="0" rIns="0" bIns="0" rtlCol="0">
            <a:spAutoFit/>
          </a:bodyPr>
          <a:lstStyle>
            <a:lvl1pPr marL="0" indent="0" algn="l" defTabSz="914400" rtl="0" eaLnBrk="1" latinLnBrk="0" hangingPunct="1">
              <a:spcBef>
                <a:spcPts val="200"/>
              </a:spcBef>
              <a:buClr>
                <a:schemeClr val="tx2"/>
              </a:buClr>
              <a:buFont typeface="Wingdings" pitchFamily="2" charset="2"/>
              <a:buNone/>
              <a:defRPr sz="1600" kern="1200">
                <a:solidFill>
                  <a:schemeClr val="tx2"/>
                </a:solidFill>
                <a:latin typeface="+mn-lt"/>
                <a:ea typeface="+mn-ea"/>
                <a:cs typeface="+mn-cs"/>
              </a:defRPr>
            </a:lvl1pPr>
            <a:lvl2pPr marL="180975" indent="-180975" algn="l" defTabSz="914400" rtl="0" eaLnBrk="1" latinLnBrk="0" hangingPunct="1">
              <a:spcBef>
                <a:spcPts val="200"/>
              </a:spcBef>
              <a:buClr>
                <a:schemeClr val="tx2"/>
              </a:buClr>
              <a:buFont typeface="Wingdings" pitchFamily="2" charset="2"/>
              <a:buChar char="§"/>
              <a:defRPr sz="1600" kern="1200">
                <a:solidFill>
                  <a:schemeClr val="tx2"/>
                </a:solidFill>
                <a:latin typeface="+mn-lt"/>
                <a:ea typeface="+mn-ea"/>
                <a:cs typeface="+mn-cs"/>
              </a:defRPr>
            </a:lvl2pPr>
            <a:lvl3pPr marL="355600" indent="-174625"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3pPr>
            <a:lvl4pPr marL="538163" indent="-182563"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4pPr>
            <a:lvl5pPr marL="719138" indent="-180975" algn="l" defTabSz="914400" rtl="0" eaLnBrk="1" latinLnBrk="0" hangingPunct="1">
              <a:spcBef>
                <a:spcPts val="200"/>
              </a:spcBef>
              <a:buClr>
                <a:schemeClr val="tx2"/>
              </a:buClr>
              <a:buFont typeface="Symbol" pitchFamily="18" charset="2"/>
              <a:buChar char="-"/>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400" b="1" dirty="0" smtClean="0">
                <a:solidFill>
                  <a:schemeClr val="accent6"/>
                </a:solidFill>
              </a:rPr>
              <a:t>Reading Fee</a:t>
            </a:r>
            <a:endParaRPr lang="en-US" sz="1400" b="1" dirty="0">
              <a:solidFill>
                <a:schemeClr val="accent6"/>
              </a:solidFill>
            </a:endParaRPr>
          </a:p>
        </p:txBody>
      </p:sp>
      <p:sp>
        <p:nvSpPr>
          <p:cNvPr id="145" name="Inhaltsplatzhalter 8"/>
          <p:cNvSpPr txBox="1">
            <a:spLocks/>
          </p:cNvSpPr>
          <p:nvPr/>
        </p:nvSpPr>
        <p:spPr>
          <a:xfrm>
            <a:off x="1720159" y="3361570"/>
            <a:ext cx="1377425" cy="215444"/>
          </a:xfrm>
          <a:prstGeom prst="rect">
            <a:avLst/>
          </a:prstGeom>
        </p:spPr>
        <p:txBody>
          <a:bodyPr vert="horz" wrap="square" lIns="0" tIns="0" rIns="0" bIns="0" rtlCol="0">
            <a:spAutoFit/>
          </a:bodyPr>
          <a:lstStyle>
            <a:lvl1pPr marL="0" indent="0" algn="l" defTabSz="914400" rtl="0" eaLnBrk="1" latinLnBrk="0" hangingPunct="1">
              <a:spcBef>
                <a:spcPts val="200"/>
              </a:spcBef>
              <a:buClr>
                <a:schemeClr val="tx2"/>
              </a:buClr>
              <a:buFont typeface="Wingdings" pitchFamily="2" charset="2"/>
              <a:buNone/>
              <a:defRPr sz="1600" kern="1200">
                <a:solidFill>
                  <a:schemeClr val="tx2"/>
                </a:solidFill>
                <a:latin typeface="+mn-lt"/>
                <a:ea typeface="+mn-ea"/>
                <a:cs typeface="+mn-cs"/>
              </a:defRPr>
            </a:lvl1pPr>
            <a:lvl2pPr marL="180975" indent="-180975" algn="l" defTabSz="914400" rtl="0" eaLnBrk="1" latinLnBrk="0" hangingPunct="1">
              <a:spcBef>
                <a:spcPts val="200"/>
              </a:spcBef>
              <a:buClr>
                <a:schemeClr val="tx2"/>
              </a:buClr>
              <a:buFont typeface="Wingdings" pitchFamily="2" charset="2"/>
              <a:buChar char="§"/>
              <a:defRPr sz="1600" kern="1200">
                <a:solidFill>
                  <a:schemeClr val="tx2"/>
                </a:solidFill>
                <a:latin typeface="+mn-lt"/>
                <a:ea typeface="+mn-ea"/>
                <a:cs typeface="+mn-cs"/>
              </a:defRPr>
            </a:lvl2pPr>
            <a:lvl3pPr marL="355600" indent="-174625"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3pPr>
            <a:lvl4pPr marL="538163" indent="-182563"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4pPr>
            <a:lvl5pPr marL="719138" indent="-180975" algn="l" defTabSz="914400" rtl="0" eaLnBrk="1" latinLnBrk="0" hangingPunct="1">
              <a:spcBef>
                <a:spcPts val="200"/>
              </a:spcBef>
              <a:buClr>
                <a:schemeClr val="tx2"/>
              </a:buClr>
              <a:buFont typeface="Symbol" pitchFamily="18" charset="2"/>
              <a:buChar char="-"/>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400" b="1" dirty="0" smtClean="0">
                <a:solidFill>
                  <a:schemeClr val="accent4"/>
                </a:solidFill>
              </a:rPr>
              <a:t>Publication Fee</a:t>
            </a:r>
            <a:endParaRPr lang="en-US" sz="1400" b="1" dirty="0">
              <a:solidFill>
                <a:schemeClr val="accent4"/>
              </a:solidFill>
            </a:endParaRPr>
          </a:p>
        </p:txBody>
      </p:sp>
    </p:spTree>
    <p:extLst>
      <p:ext uri="{BB962C8B-B14F-4D97-AF65-F5344CB8AC3E}">
        <p14:creationId xmlns:p14="http://schemas.microsoft.com/office/powerpoint/2010/main" val="34981156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7" presetClass="path" presetSubtype="0" accel="50000" decel="50000" fill="hold" nodeType="clickEffect">
                                  <p:stCondLst>
                                    <p:cond delay="0"/>
                                  </p:stCondLst>
                                  <p:childTnLst>
                                    <p:animMotion origin="layout" path="M -0.00064 4.81481E-6 L -0.06426 -0.03172 " pathEditMode="relative" rAng="0" ptsTypes="FF">
                                      <p:cBhvr>
                                        <p:cTn id="6" dur="2500" fill="hold"/>
                                        <p:tgtEl>
                                          <p:spTgt spid="90"/>
                                        </p:tgtEl>
                                        <p:attrNameLst>
                                          <p:attrName>ppt_x</p:attrName>
                                          <p:attrName>ppt_y</p:attrName>
                                        </p:attrNameLst>
                                      </p:cBhvr>
                                      <p:rCtr x="-3189" y="-1597"/>
                                    </p:animMotion>
                                  </p:childTnLst>
                                </p:cTn>
                              </p:par>
                              <p:par>
                                <p:cTn id="7" presetID="44" presetClass="path" presetSubtype="0" accel="50000" decel="50000" fill="hold" nodeType="withEffect">
                                  <p:stCondLst>
                                    <p:cond delay="0"/>
                                  </p:stCondLst>
                                  <p:childTnLst>
                                    <p:animMotion origin="layout" path="M -2.30695E-7 -1.05044E-6 L 0.062 0.13559 " pathEditMode="relative" rAng="0" ptsTypes="AA">
                                      <p:cBhvr>
                                        <p:cTn id="8" dur="2000" fill="hold"/>
                                        <p:tgtEl>
                                          <p:spTgt spid="67"/>
                                        </p:tgtEl>
                                        <p:attrNameLst>
                                          <p:attrName>ppt_x</p:attrName>
                                          <p:attrName>ppt_y</p:attrName>
                                        </p:attrNameLst>
                                      </p:cBhvr>
                                      <p:rCtr x="3092" y="6779"/>
                                    </p:animMotion>
                                  </p:childTnLst>
                                </p:cTn>
                              </p:par>
                              <p:par>
                                <p:cTn id="9" presetID="10" presetClass="exit" presetSubtype="0" fill="hold" grpId="0" nodeType="withEffect">
                                  <p:stCondLst>
                                    <p:cond delay="0"/>
                                  </p:stCondLst>
                                  <p:childTnLst>
                                    <p:animEffect transition="out" filter="fade">
                                      <p:cBhvr>
                                        <p:cTn id="10" dur="500"/>
                                        <p:tgtEl>
                                          <p:spTgt spid="65"/>
                                        </p:tgtEl>
                                      </p:cBhvr>
                                    </p:animEffect>
                                    <p:set>
                                      <p:cBhvr>
                                        <p:cTn id="11" dur="1" fill="hold">
                                          <p:stCondLst>
                                            <p:cond delay="499"/>
                                          </p:stCondLst>
                                        </p:cTn>
                                        <p:tgtEl>
                                          <p:spTgt spid="65"/>
                                        </p:tgtEl>
                                        <p:attrNameLst>
                                          <p:attrName>style.visibility</p:attrName>
                                        </p:attrNameLst>
                                      </p:cBhvr>
                                      <p:to>
                                        <p:strVal val="hidden"/>
                                      </p:to>
                                    </p:set>
                                  </p:childTnLst>
                                </p:cTn>
                              </p:par>
                              <p:par>
                                <p:cTn id="12" presetID="10" presetClass="exit" presetSubtype="0" fill="hold" grpId="0" nodeType="withEffect">
                                  <p:stCondLst>
                                    <p:cond delay="0"/>
                                  </p:stCondLst>
                                  <p:childTnLst>
                                    <p:animEffect transition="out" filter="fade">
                                      <p:cBhvr>
                                        <p:cTn id="13" dur="500"/>
                                        <p:tgtEl>
                                          <p:spTgt spid="66"/>
                                        </p:tgtEl>
                                      </p:cBhvr>
                                    </p:animEffect>
                                    <p:set>
                                      <p:cBhvr>
                                        <p:cTn id="14" dur="1" fill="hold">
                                          <p:stCondLst>
                                            <p:cond delay="499"/>
                                          </p:stCondLst>
                                        </p:cTn>
                                        <p:tgtEl>
                                          <p:spTgt spid="66"/>
                                        </p:tgtEl>
                                        <p:attrNameLst>
                                          <p:attrName>style.visibility</p:attrName>
                                        </p:attrNameLst>
                                      </p:cBhvr>
                                      <p:to>
                                        <p:strVal val="hidden"/>
                                      </p:to>
                                    </p:set>
                                  </p:childTnLst>
                                </p:cTn>
                              </p:par>
                              <p:par>
                                <p:cTn id="15" presetID="10" presetClass="exit" presetSubtype="0" fill="hold" grpId="0" nodeType="withEffect">
                                  <p:stCondLst>
                                    <p:cond delay="0"/>
                                  </p:stCondLst>
                                  <p:childTnLst>
                                    <p:animEffect transition="out" filter="fade">
                                      <p:cBhvr>
                                        <p:cTn id="16" dur="500"/>
                                        <p:tgtEl>
                                          <p:spTgt spid="143"/>
                                        </p:tgtEl>
                                      </p:cBhvr>
                                    </p:animEffect>
                                    <p:set>
                                      <p:cBhvr>
                                        <p:cTn id="17" dur="1" fill="hold">
                                          <p:stCondLst>
                                            <p:cond delay="499"/>
                                          </p:stCondLst>
                                        </p:cTn>
                                        <p:tgtEl>
                                          <p:spTgt spid="143"/>
                                        </p:tgtEl>
                                        <p:attrNameLst>
                                          <p:attrName>style.visibility</p:attrName>
                                        </p:attrNameLst>
                                      </p:cBhvr>
                                      <p:to>
                                        <p:strVal val="hidden"/>
                                      </p:to>
                                    </p:set>
                                  </p:childTnLst>
                                </p:cTn>
                              </p:par>
                              <p:par>
                                <p:cTn id="18" presetID="10" presetClass="exit" presetSubtype="0" fill="hold" grpId="0" nodeType="withEffect">
                                  <p:stCondLst>
                                    <p:cond delay="0"/>
                                  </p:stCondLst>
                                  <p:childTnLst>
                                    <p:animEffect transition="out" filter="fade">
                                      <p:cBhvr>
                                        <p:cTn id="19" dur="500"/>
                                        <p:tgtEl>
                                          <p:spTgt spid="142"/>
                                        </p:tgtEl>
                                      </p:cBhvr>
                                    </p:animEffect>
                                    <p:set>
                                      <p:cBhvr>
                                        <p:cTn id="20" dur="1" fill="hold">
                                          <p:stCondLst>
                                            <p:cond delay="499"/>
                                          </p:stCondLst>
                                        </p:cTn>
                                        <p:tgtEl>
                                          <p:spTgt spid="142"/>
                                        </p:tgtEl>
                                        <p:attrNameLst>
                                          <p:attrName>style.visibility</p:attrName>
                                        </p:attrNameLst>
                                      </p:cBhvr>
                                      <p:to>
                                        <p:strVal val="hidden"/>
                                      </p:to>
                                    </p:set>
                                  </p:childTnLst>
                                </p:cTn>
                              </p:par>
                            </p:childTnLst>
                          </p:cTn>
                        </p:par>
                        <p:par>
                          <p:cTn id="21" fill="hold">
                            <p:stCondLst>
                              <p:cond delay="2500"/>
                            </p:stCondLst>
                            <p:childTnLst>
                              <p:par>
                                <p:cTn id="22" presetID="10" presetClass="exit" presetSubtype="0" fill="hold" nodeType="afterEffect">
                                  <p:stCondLst>
                                    <p:cond delay="0"/>
                                  </p:stCondLst>
                                  <p:childTnLst>
                                    <p:animEffect transition="out" filter="fade">
                                      <p:cBhvr>
                                        <p:cTn id="23" dur="500"/>
                                        <p:tgtEl>
                                          <p:spTgt spid="90"/>
                                        </p:tgtEl>
                                      </p:cBhvr>
                                    </p:animEffect>
                                    <p:set>
                                      <p:cBhvr>
                                        <p:cTn id="24" dur="1" fill="hold">
                                          <p:stCondLst>
                                            <p:cond delay="499"/>
                                          </p:stCondLst>
                                        </p:cTn>
                                        <p:tgtEl>
                                          <p:spTgt spid="90"/>
                                        </p:tgtEl>
                                        <p:attrNameLst>
                                          <p:attrName>style.visibility</p:attrName>
                                        </p:attrNameLst>
                                      </p:cBhvr>
                                      <p:to>
                                        <p:strVal val="hidden"/>
                                      </p:to>
                                    </p:set>
                                  </p:childTnLst>
                                </p:cTn>
                              </p:par>
                              <p:par>
                                <p:cTn id="25" presetID="1" presetClass="entr" presetSubtype="0" fill="hold" grpId="0" nodeType="withEffect">
                                  <p:stCondLst>
                                    <p:cond delay="0"/>
                                  </p:stCondLst>
                                  <p:childTnLst>
                                    <p:set>
                                      <p:cBhvr>
                                        <p:cTn id="26" dur="1" fill="hold">
                                          <p:stCondLst>
                                            <p:cond delay="0"/>
                                          </p:stCondLst>
                                        </p:cTn>
                                        <p:tgtEl>
                                          <p:spTgt spid="114"/>
                                        </p:tgtEl>
                                        <p:attrNameLst>
                                          <p:attrName>style.visibility</p:attrName>
                                        </p:attrNameLst>
                                      </p:cBhvr>
                                      <p:to>
                                        <p:strVal val="visible"/>
                                      </p:to>
                                    </p:set>
                                  </p:childTnLst>
                                </p:cTn>
                              </p:par>
                              <p:par>
                                <p:cTn id="27" presetID="10" presetClass="entr" presetSubtype="0" fill="hold" grpId="0" nodeType="withEffect">
                                  <p:stCondLst>
                                    <p:cond delay="0"/>
                                  </p:stCondLst>
                                  <p:childTnLst>
                                    <p:set>
                                      <p:cBhvr>
                                        <p:cTn id="28" dur="1" fill="hold">
                                          <p:stCondLst>
                                            <p:cond delay="0"/>
                                          </p:stCondLst>
                                        </p:cTn>
                                        <p:tgtEl>
                                          <p:spTgt spid="115"/>
                                        </p:tgtEl>
                                        <p:attrNameLst>
                                          <p:attrName>style.visibility</p:attrName>
                                        </p:attrNameLst>
                                      </p:cBhvr>
                                      <p:to>
                                        <p:strVal val="visible"/>
                                      </p:to>
                                    </p:set>
                                    <p:animEffect transition="in" filter="fade">
                                      <p:cBhvr>
                                        <p:cTn id="29" dur="500"/>
                                        <p:tgtEl>
                                          <p:spTgt spid="115"/>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116"/>
                                        </p:tgtEl>
                                        <p:attrNameLst>
                                          <p:attrName>style.visibility</p:attrName>
                                        </p:attrNameLst>
                                      </p:cBhvr>
                                      <p:to>
                                        <p:strVal val="visible"/>
                                      </p:to>
                                    </p:set>
                                    <p:animEffect transition="in" filter="fade">
                                      <p:cBhvr>
                                        <p:cTn id="32" dur="500"/>
                                        <p:tgtEl>
                                          <p:spTgt spid="116"/>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117"/>
                                        </p:tgtEl>
                                        <p:attrNameLst>
                                          <p:attrName>style.visibility</p:attrName>
                                        </p:attrNameLst>
                                      </p:cBhvr>
                                      <p:to>
                                        <p:strVal val="visible"/>
                                      </p:to>
                                    </p:set>
                                    <p:animEffect transition="in" filter="fade">
                                      <p:cBhvr>
                                        <p:cTn id="35" dur="500"/>
                                        <p:tgtEl>
                                          <p:spTgt spid="117"/>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118"/>
                                        </p:tgtEl>
                                        <p:attrNameLst>
                                          <p:attrName>style.visibility</p:attrName>
                                        </p:attrNameLst>
                                      </p:cBhvr>
                                      <p:to>
                                        <p:strVal val="visible"/>
                                      </p:to>
                                    </p:set>
                                    <p:animEffect transition="in" filter="fade">
                                      <p:cBhvr>
                                        <p:cTn id="38" dur="500"/>
                                        <p:tgtEl>
                                          <p:spTgt spid="118"/>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19"/>
                                        </p:tgtEl>
                                        <p:attrNameLst>
                                          <p:attrName>style.visibility</p:attrName>
                                        </p:attrNameLst>
                                      </p:cBhvr>
                                      <p:to>
                                        <p:strVal val="visible"/>
                                      </p:to>
                                    </p:set>
                                    <p:animEffect transition="in" filter="fade">
                                      <p:cBhvr>
                                        <p:cTn id="41" dur="500"/>
                                        <p:tgtEl>
                                          <p:spTgt spid="119"/>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120"/>
                                        </p:tgtEl>
                                        <p:attrNameLst>
                                          <p:attrName>style.visibility</p:attrName>
                                        </p:attrNameLst>
                                      </p:cBhvr>
                                      <p:to>
                                        <p:strVal val="visible"/>
                                      </p:to>
                                    </p:set>
                                    <p:animEffect transition="in" filter="fade">
                                      <p:cBhvr>
                                        <p:cTn id="44" dur="500"/>
                                        <p:tgtEl>
                                          <p:spTgt spid="120"/>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135"/>
                                        </p:tgtEl>
                                        <p:attrNameLst>
                                          <p:attrName>style.visibility</p:attrName>
                                        </p:attrNameLst>
                                      </p:cBhvr>
                                      <p:to>
                                        <p:strVal val="visible"/>
                                      </p:to>
                                    </p:set>
                                    <p:animEffect transition="in" filter="fade">
                                      <p:cBhvr>
                                        <p:cTn id="47" dur="500"/>
                                        <p:tgtEl>
                                          <p:spTgt spid="135"/>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136"/>
                                        </p:tgtEl>
                                        <p:attrNameLst>
                                          <p:attrName>style.visibility</p:attrName>
                                        </p:attrNameLst>
                                      </p:cBhvr>
                                      <p:to>
                                        <p:strVal val="visible"/>
                                      </p:to>
                                    </p:set>
                                    <p:animEffect transition="in" filter="fade">
                                      <p:cBhvr>
                                        <p:cTn id="50" dur="500"/>
                                        <p:tgtEl>
                                          <p:spTgt spid="136"/>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137"/>
                                        </p:tgtEl>
                                        <p:attrNameLst>
                                          <p:attrName>style.visibility</p:attrName>
                                        </p:attrNameLst>
                                      </p:cBhvr>
                                      <p:to>
                                        <p:strVal val="visible"/>
                                      </p:to>
                                    </p:set>
                                    <p:animEffect transition="in" filter="fade">
                                      <p:cBhvr>
                                        <p:cTn id="53" dur="500"/>
                                        <p:tgtEl>
                                          <p:spTgt spid="137"/>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138"/>
                                        </p:tgtEl>
                                        <p:attrNameLst>
                                          <p:attrName>style.visibility</p:attrName>
                                        </p:attrNameLst>
                                      </p:cBhvr>
                                      <p:to>
                                        <p:strVal val="visible"/>
                                      </p:to>
                                    </p:set>
                                    <p:animEffect transition="in" filter="fade">
                                      <p:cBhvr>
                                        <p:cTn id="56" dur="500"/>
                                        <p:tgtEl>
                                          <p:spTgt spid="138"/>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139"/>
                                        </p:tgtEl>
                                        <p:attrNameLst>
                                          <p:attrName>style.visibility</p:attrName>
                                        </p:attrNameLst>
                                      </p:cBhvr>
                                      <p:to>
                                        <p:strVal val="visible"/>
                                      </p:to>
                                    </p:set>
                                    <p:animEffect transition="in" filter="fade">
                                      <p:cBhvr>
                                        <p:cTn id="59" dur="500"/>
                                        <p:tgtEl>
                                          <p:spTgt spid="139"/>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140"/>
                                        </p:tgtEl>
                                        <p:attrNameLst>
                                          <p:attrName>style.visibility</p:attrName>
                                        </p:attrNameLst>
                                      </p:cBhvr>
                                      <p:to>
                                        <p:strVal val="visible"/>
                                      </p:to>
                                    </p:set>
                                    <p:animEffect transition="in" filter="fade">
                                      <p:cBhvr>
                                        <p:cTn id="62" dur="500"/>
                                        <p:tgtEl>
                                          <p:spTgt spid="140"/>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141"/>
                                        </p:tgtEl>
                                        <p:attrNameLst>
                                          <p:attrName>style.visibility</p:attrName>
                                        </p:attrNameLst>
                                      </p:cBhvr>
                                      <p:to>
                                        <p:strVal val="visible"/>
                                      </p:to>
                                    </p:set>
                                    <p:animEffect transition="in" filter="fade">
                                      <p:cBhvr>
                                        <p:cTn id="65" dur="500"/>
                                        <p:tgtEl>
                                          <p:spTgt spid="141"/>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144"/>
                                        </p:tgtEl>
                                        <p:attrNameLst>
                                          <p:attrName>style.visibility</p:attrName>
                                        </p:attrNameLst>
                                      </p:cBhvr>
                                      <p:to>
                                        <p:strVal val="visible"/>
                                      </p:to>
                                    </p:set>
                                    <p:animEffect transition="in" filter="fade">
                                      <p:cBhvr>
                                        <p:cTn id="68" dur="500"/>
                                        <p:tgtEl>
                                          <p:spTgt spid="144"/>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145"/>
                                        </p:tgtEl>
                                        <p:attrNameLst>
                                          <p:attrName>style.visibility</p:attrName>
                                        </p:attrNameLst>
                                      </p:cBhvr>
                                      <p:to>
                                        <p:strVal val="visible"/>
                                      </p:to>
                                    </p:set>
                                    <p:animEffect transition="in" filter="fade">
                                      <p:cBhvr>
                                        <p:cTn id="71" dur="500"/>
                                        <p:tgtEl>
                                          <p:spTgt spid="1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 grpId="0"/>
      <p:bldP spid="66" grpId="0"/>
      <p:bldP spid="114" grpId="0" animBg="1"/>
      <p:bldP spid="115" grpId="0" animBg="1"/>
      <p:bldP spid="116" grpId="0" animBg="1"/>
      <p:bldP spid="117" grpId="0" animBg="1"/>
      <p:bldP spid="118" grpId="0" animBg="1"/>
      <p:bldP spid="119" grpId="0" animBg="1"/>
      <p:bldP spid="120" grpId="0" animBg="1"/>
      <p:bldP spid="135" grpId="0" animBg="1"/>
      <p:bldP spid="136" grpId="0" animBg="1"/>
      <p:bldP spid="137" grpId="0" animBg="1"/>
      <p:bldP spid="138" grpId="0" animBg="1"/>
      <p:bldP spid="139" grpId="0" animBg="1"/>
      <p:bldP spid="140" grpId="0" animBg="1"/>
      <p:bldP spid="141" grpId="0" animBg="1"/>
      <p:bldP spid="142" grpId="0" animBg="1"/>
      <p:bldP spid="143" grpId="0" animBg="1"/>
      <p:bldP spid="144" grpId="0"/>
      <p:bldP spid="145"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2"/>
          <p:cNvSpPr txBox="1">
            <a:spLocks/>
          </p:cNvSpPr>
          <p:nvPr/>
        </p:nvSpPr>
        <p:spPr>
          <a:xfrm>
            <a:off x="249073" y="390768"/>
            <a:ext cx="8929946" cy="697671"/>
          </a:xfrm>
          <a:prstGeom prst="rect">
            <a:avLst/>
          </a:prstGeom>
        </p:spPr>
        <p:txBody>
          <a:bodyPr anchor="t" anchorCtr="0"/>
          <a:lstStyle>
            <a:lvl1pPr marL="0" indent="0" algn="l" defTabSz="914400" rtl="0" eaLnBrk="1" latinLnBrk="0" hangingPunct="1">
              <a:spcBef>
                <a:spcPts val="200"/>
              </a:spcBef>
              <a:buClr>
                <a:schemeClr val="tx2"/>
              </a:buClr>
              <a:buFont typeface="Wingdings" pitchFamily="2" charset="2"/>
              <a:buNone/>
              <a:defRPr sz="1600" kern="1200">
                <a:solidFill>
                  <a:schemeClr val="tx2"/>
                </a:solidFill>
                <a:latin typeface="+mn-lt"/>
                <a:ea typeface="+mn-ea"/>
                <a:cs typeface="+mn-cs"/>
              </a:defRPr>
            </a:lvl1pPr>
            <a:lvl2pPr marL="180975" indent="-180975" algn="l" defTabSz="914400" rtl="0" eaLnBrk="1" latinLnBrk="0" hangingPunct="1">
              <a:spcBef>
                <a:spcPts val="200"/>
              </a:spcBef>
              <a:buClr>
                <a:schemeClr val="tx2"/>
              </a:buClr>
              <a:buFont typeface="Wingdings" pitchFamily="2" charset="2"/>
              <a:buChar char="§"/>
              <a:defRPr sz="1600" kern="1200">
                <a:solidFill>
                  <a:schemeClr val="tx2"/>
                </a:solidFill>
                <a:latin typeface="+mn-lt"/>
                <a:ea typeface="+mn-ea"/>
                <a:cs typeface="+mn-cs"/>
              </a:defRPr>
            </a:lvl2pPr>
            <a:lvl3pPr marL="355600" indent="-174625"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3pPr>
            <a:lvl4pPr marL="538163" indent="-182563"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4pPr>
            <a:lvl5pPr marL="719138" indent="-180975" algn="l" defTabSz="914400" rtl="0" eaLnBrk="1" latinLnBrk="0" hangingPunct="1">
              <a:spcBef>
                <a:spcPts val="200"/>
              </a:spcBef>
              <a:buClr>
                <a:schemeClr val="tx2"/>
              </a:buClr>
              <a:buFont typeface="Symbol" pitchFamily="18" charset="2"/>
              <a:buChar char="-"/>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200" b="1" dirty="0">
                <a:solidFill>
                  <a:schemeClr val="accent6"/>
                </a:solidFill>
              </a:rPr>
              <a:t>Reading fees are eliminated and costs are associated only with actual publication</a:t>
            </a:r>
          </a:p>
        </p:txBody>
      </p:sp>
      <p:sp>
        <p:nvSpPr>
          <p:cNvPr id="89" name="Inhaltsplatzhalter 8"/>
          <p:cNvSpPr txBox="1">
            <a:spLocks/>
          </p:cNvSpPr>
          <p:nvPr/>
        </p:nvSpPr>
        <p:spPr>
          <a:xfrm>
            <a:off x="1720159" y="5755119"/>
            <a:ext cx="1372671" cy="215444"/>
          </a:xfrm>
          <a:prstGeom prst="rect">
            <a:avLst/>
          </a:prstGeom>
        </p:spPr>
        <p:txBody>
          <a:bodyPr vert="horz" wrap="square" lIns="0" tIns="0" rIns="0" bIns="0" rtlCol="0">
            <a:spAutoFit/>
          </a:bodyPr>
          <a:lstStyle>
            <a:lvl1pPr marL="0" indent="0" algn="l" defTabSz="914400" rtl="0" eaLnBrk="1" latinLnBrk="0" hangingPunct="1">
              <a:spcBef>
                <a:spcPts val="200"/>
              </a:spcBef>
              <a:buClr>
                <a:schemeClr val="tx2"/>
              </a:buClr>
              <a:buFont typeface="Wingdings" pitchFamily="2" charset="2"/>
              <a:buNone/>
              <a:defRPr sz="1600" kern="1200">
                <a:solidFill>
                  <a:schemeClr val="tx2"/>
                </a:solidFill>
                <a:latin typeface="+mn-lt"/>
                <a:ea typeface="+mn-ea"/>
                <a:cs typeface="+mn-cs"/>
              </a:defRPr>
            </a:lvl1pPr>
            <a:lvl2pPr marL="180975" indent="-180975" algn="l" defTabSz="914400" rtl="0" eaLnBrk="1" latinLnBrk="0" hangingPunct="1">
              <a:spcBef>
                <a:spcPts val="200"/>
              </a:spcBef>
              <a:buClr>
                <a:schemeClr val="tx2"/>
              </a:buClr>
              <a:buFont typeface="Wingdings" pitchFamily="2" charset="2"/>
              <a:buChar char="§"/>
              <a:defRPr sz="1600" kern="1200">
                <a:solidFill>
                  <a:schemeClr val="tx2"/>
                </a:solidFill>
                <a:latin typeface="+mn-lt"/>
                <a:ea typeface="+mn-ea"/>
                <a:cs typeface="+mn-cs"/>
              </a:defRPr>
            </a:lvl2pPr>
            <a:lvl3pPr marL="355600" indent="-174625"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3pPr>
            <a:lvl4pPr marL="538163" indent="-182563"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4pPr>
            <a:lvl5pPr marL="719138" indent="-180975" algn="l" defTabSz="914400" rtl="0" eaLnBrk="1" latinLnBrk="0" hangingPunct="1">
              <a:spcBef>
                <a:spcPts val="200"/>
              </a:spcBef>
              <a:buClr>
                <a:schemeClr val="tx2"/>
              </a:buClr>
              <a:buFont typeface="Symbol" pitchFamily="18" charset="2"/>
              <a:buChar char="-"/>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400" b="1" dirty="0" smtClean="0">
                <a:solidFill>
                  <a:schemeClr val="accent6"/>
                </a:solidFill>
              </a:rPr>
              <a:t>Reading Fee</a:t>
            </a:r>
            <a:endParaRPr lang="en-US" sz="1400" b="1" dirty="0">
              <a:solidFill>
                <a:schemeClr val="accent6"/>
              </a:solidFill>
            </a:endParaRPr>
          </a:p>
        </p:txBody>
      </p:sp>
      <p:sp>
        <p:nvSpPr>
          <p:cNvPr id="90" name="Inhaltsplatzhalter 8"/>
          <p:cNvSpPr txBox="1">
            <a:spLocks/>
          </p:cNvSpPr>
          <p:nvPr/>
        </p:nvSpPr>
        <p:spPr>
          <a:xfrm>
            <a:off x="1720159" y="3361570"/>
            <a:ext cx="1377425" cy="215444"/>
          </a:xfrm>
          <a:prstGeom prst="rect">
            <a:avLst/>
          </a:prstGeom>
        </p:spPr>
        <p:txBody>
          <a:bodyPr vert="horz" wrap="square" lIns="0" tIns="0" rIns="0" bIns="0" rtlCol="0">
            <a:spAutoFit/>
          </a:bodyPr>
          <a:lstStyle>
            <a:lvl1pPr marL="0" indent="0" algn="l" defTabSz="914400" rtl="0" eaLnBrk="1" latinLnBrk="0" hangingPunct="1">
              <a:spcBef>
                <a:spcPts val="200"/>
              </a:spcBef>
              <a:buClr>
                <a:schemeClr val="tx2"/>
              </a:buClr>
              <a:buFont typeface="Wingdings" pitchFamily="2" charset="2"/>
              <a:buNone/>
              <a:defRPr sz="1600" kern="1200">
                <a:solidFill>
                  <a:schemeClr val="tx2"/>
                </a:solidFill>
                <a:latin typeface="+mn-lt"/>
                <a:ea typeface="+mn-ea"/>
                <a:cs typeface="+mn-cs"/>
              </a:defRPr>
            </a:lvl1pPr>
            <a:lvl2pPr marL="180975" indent="-180975" algn="l" defTabSz="914400" rtl="0" eaLnBrk="1" latinLnBrk="0" hangingPunct="1">
              <a:spcBef>
                <a:spcPts val="200"/>
              </a:spcBef>
              <a:buClr>
                <a:schemeClr val="tx2"/>
              </a:buClr>
              <a:buFont typeface="Wingdings" pitchFamily="2" charset="2"/>
              <a:buChar char="§"/>
              <a:defRPr sz="1600" kern="1200">
                <a:solidFill>
                  <a:schemeClr val="tx2"/>
                </a:solidFill>
                <a:latin typeface="+mn-lt"/>
                <a:ea typeface="+mn-ea"/>
                <a:cs typeface="+mn-cs"/>
              </a:defRPr>
            </a:lvl2pPr>
            <a:lvl3pPr marL="355600" indent="-174625"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3pPr>
            <a:lvl4pPr marL="538163" indent="-182563"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4pPr>
            <a:lvl5pPr marL="719138" indent="-180975" algn="l" defTabSz="914400" rtl="0" eaLnBrk="1" latinLnBrk="0" hangingPunct="1">
              <a:spcBef>
                <a:spcPts val="200"/>
              </a:spcBef>
              <a:buClr>
                <a:schemeClr val="tx2"/>
              </a:buClr>
              <a:buFont typeface="Symbol" pitchFamily="18" charset="2"/>
              <a:buChar char="-"/>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400" b="1" dirty="0" smtClean="0">
                <a:solidFill>
                  <a:schemeClr val="accent4"/>
                </a:solidFill>
              </a:rPr>
              <a:t>Publication Fee</a:t>
            </a:r>
            <a:endParaRPr lang="en-US" sz="1400" b="1" dirty="0">
              <a:solidFill>
                <a:schemeClr val="accent4"/>
              </a:solidFill>
            </a:endParaRPr>
          </a:p>
        </p:txBody>
      </p:sp>
      <p:grpSp>
        <p:nvGrpSpPr>
          <p:cNvPr id="105" name="Gruppieren 32"/>
          <p:cNvGrpSpPr/>
          <p:nvPr/>
        </p:nvGrpSpPr>
        <p:grpSpPr>
          <a:xfrm>
            <a:off x="4344230" y="5373600"/>
            <a:ext cx="1226054" cy="1097356"/>
            <a:chOff x="3724768" y="4315957"/>
            <a:chExt cx="1226054" cy="1097356"/>
          </a:xfrm>
        </p:grpSpPr>
        <p:sp>
          <p:nvSpPr>
            <p:cNvPr id="106" name="Rechteck 33"/>
            <p:cNvSpPr/>
            <p:nvPr/>
          </p:nvSpPr>
          <p:spPr>
            <a:xfrm>
              <a:off x="3724768" y="4315957"/>
              <a:ext cx="1226054" cy="1097356"/>
            </a:xfrm>
            <a:prstGeom prst="rect">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en-US" sz="1200" dirty="0" smtClean="0">
                <a:solidFill>
                  <a:schemeClr val="tx1"/>
                </a:solidFill>
              </a:endParaRPr>
            </a:p>
          </p:txBody>
        </p:sp>
        <p:grpSp>
          <p:nvGrpSpPr>
            <p:cNvPr id="107" name="Gruppieren 34"/>
            <p:cNvGrpSpPr/>
            <p:nvPr/>
          </p:nvGrpSpPr>
          <p:grpSpPr>
            <a:xfrm>
              <a:off x="3783503" y="4411249"/>
              <a:ext cx="989690" cy="881199"/>
              <a:chOff x="3783503" y="4411249"/>
              <a:chExt cx="989690" cy="881199"/>
            </a:xfrm>
          </p:grpSpPr>
          <p:pic>
            <p:nvPicPr>
              <p:cNvPr id="108"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3783503" y="4525865"/>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9"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4144565" y="4525865"/>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0"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4505628" y="4525865"/>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1"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3966095" y="4931135"/>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2" name="Picture 3"/>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2597" t="28658" r="34806" b="35671"/>
              <a:stretch/>
            </p:blipFill>
            <p:spPr bwMode="auto">
              <a:xfrm>
                <a:off x="4332047" y="4931135"/>
                <a:ext cx="267565" cy="361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3" name="Grafik 64"/>
              <p:cNvPicPr>
                <a:picLocks noChangeAspect="1"/>
              </p:cNvPicPr>
              <p:nvPr/>
            </p:nvPicPr>
            <p:blipFill>
              <a:blip r:embed="rId4">
                <a:grayscl/>
                <a:extLst>
                  <a:ext uri="{28A0092B-C50C-407E-A947-70E740481C1C}">
                    <a14:useLocalDpi xmlns:a14="http://schemas.microsoft.com/office/drawing/2010/main" val="0"/>
                  </a:ext>
                </a:extLst>
              </a:blip>
              <a:stretch>
                <a:fillRect/>
              </a:stretch>
            </p:blipFill>
            <p:spPr>
              <a:xfrm>
                <a:off x="4051068" y="4411249"/>
                <a:ext cx="556741" cy="865555"/>
              </a:xfrm>
              <a:prstGeom prst="rect">
                <a:avLst/>
              </a:prstGeom>
            </p:spPr>
          </p:pic>
        </p:grpSp>
      </p:grpSp>
      <p:sp>
        <p:nvSpPr>
          <p:cNvPr id="114" name="Rechteck 92"/>
          <p:cNvSpPr/>
          <p:nvPr/>
        </p:nvSpPr>
        <p:spPr>
          <a:xfrm>
            <a:off x="4341964" y="1750534"/>
            <a:ext cx="1222394" cy="3572907"/>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115" name="Inhaltsplatzhalter 8"/>
          <p:cNvSpPr txBox="1">
            <a:spLocks/>
          </p:cNvSpPr>
          <p:nvPr/>
        </p:nvSpPr>
        <p:spPr>
          <a:xfrm>
            <a:off x="1720159" y="5755119"/>
            <a:ext cx="1372671" cy="215444"/>
          </a:xfrm>
          <a:prstGeom prst="rect">
            <a:avLst/>
          </a:prstGeom>
        </p:spPr>
        <p:txBody>
          <a:bodyPr vert="horz" wrap="square" lIns="0" tIns="0" rIns="0" bIns="0" rtlCol="0">
            <a:spAutoFit/>
          </a:bodyPr>
          <a:lstStyle>
            <a:lvl1pPr marL="0" indent="0" algn="l" defTabSz="914400" rtl="0" eaLnBrk="1" latinLnBrk="0" hangingPunct="1">
              <a:spcBef>
                <a:spcPts val="200"/>
              </a:spcBef>
              <a:buClr>
                <a:schemeClr val="tx2"/>
              </a:buClr>
              <a:buFont typeface="Wingdings" pitchFamily="2" charset="2"/>
              <a:buNone/>
              <a:defRPr sz="1600" kern="1200">
                <a:solidFill>
                  <a:schemeClr val="tx2"/>
                </a:solidFill>
                <a:latin typeface="+mn-lt"/>
                <a:ea typeface="+mn-ea"/>
                <a:cs typeface="+mn-cs"/>
              </a:defRPr>
            </a:lvl1pPr>
            <a:lvl2pPr marL="180975" indent="-180975" algn="l" defTabSz="914400" rtl="0" eaLnBrk="1" latinLnBrk="0" hangingPunct="1">
              <a:spcBef>
                <a:spcPts val="200"/>
              </a:spcBef>
              <a:buClr>
                <a:schemeClr val="tx2"/>
              </a:buClr>
              <a:buFont typeface="Wingdings" pitchFamily="2" charset="2"/>
              <a:buChar char="§"/>
              <a:defRPr sz="1600" kern="1200">
                <a:solidFill>
                  <a:schemeClr val="tx2"/>
                </a:solidFill>
                <a:latin typeface="+mn-lt"/>
                <a:ea typeface="+mn-ea"/>
                <a:cs typeface="+mn-cs"/>
              </a:defRPr>
            </a:lvl2pPr>
            <a:lvl3pPr marL="355600" indent="-174625"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3pPr>
            <a:lvl4pPr marL="538163" indent="-182563"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4pPr>
            <a:lvl5pPr marL="719138" indent="-180975" algn="l" defTabSz="914400" rtl="0" eaLnBrk="1" latinLnBrk="0" hangingPunct="1">
              <a:spcBef>
                <a:spcPts val="200"/>
              </a:spcBef>
              <a:buClr>
                <a:schemeClr val="tx2"/>
              </a:buClr>
              <a:buFont typeface="Symbol" pitchFamily="18" charset="2"/>
              <a:buChar char="-"/>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400" b="1" dirty="0" smtClean="0">
                <a:solidFill>
                  <a:schemeClr val="accent6"/>
                </a:solidFill>
              </a:rPr>
              <a:t>Reading Fee</a:t>
            </a:r>
            <a:endParaRPr lang="en-US" sz="1400" b="1" dirty="0">
              <a:solidFill>
                <a:schemeClr val="accent6"/>
              </a:solidFill>
            </a:endParaRPr>
          </a:p>
        </p:txBody>
      </p:sp>
      <p:sp>
        <p:nvSpPr>
          <p:cNvPr id="116" name="Inhaltsplatzhalter 8"/>
          <p:cNvSpPr txBox="1">
            <a:spLocks/>
          </p:cNvSpPr>
          <p:nvPr/>
        </p:nvSpPr>
        <p:spPr>
          <a:xfrm>
            <a:off x="1720159" y="3361570"/>
            <a:ext cx="1377425" cy="215444"/>
          </a:xfrm>
          <a:prstGeom prst="rect">
            <a:avLst/>
          </a:prstGeom>
        </p:spPr>
        <p:txBody>
          <a:bodyPr vert="horz" wrap="square" lIns="0" tIns="0" rIns="0" bIns="0" rtlCol="0">
            <a:spAutoFit/>
          </a:bodyPr>
          <a:lstStyle>
            <a:lvl1pPr marL="0" indent="0" algn="l" defTabSz="914400" rtl="0" eaLnBrk="1" latinLnBrk="0" hangingPunct="1">
              <a:spcBef>
                <a:spcPts val="200"/>
              </a:spcBef>
              <a:buClr>
                <a:schemeClr val="tx2"/>
              </a:buClr>
              <a:buFont typeface="Wingdings" pitchFamily="2" charset="2"/>
              <a:buNone/>
              <a:defRPr sz="1600" kern="1200">
                <a:solidFill>
                  <a:schemeClr val="tx2"/>
                </a:solidFill>
                <a:latin typeface="+mn-lt"/>
                <a:ea typeface="+mn-ea"/>
                <a:cs typeface="+mn-cs"/>
              </a:defRPr>
            </a:lvl1pPr>
            <a:lvl2pPr marL="180975" indent="-180975" algn="l" defTabSz="914400" rtl="0" eaLnBrk="1" latinLnBrk="0" hangingPunct="1">
              <a:spcBef>
                <a:spcPts val="200"/>
              </a:spcBef>
              <a:buClr>
                <a:schemeClr val="tx2"/>
              </a:buClr>
              <a:buFont typeface="Wingdings" pitchFamily="2" charset="2"/>
              <a:buChar char="§"/>
              <a:defRPr sz="1600" kern="1200">
                <a:solidFill>
                  <a:schemeClr val="tx2"/>
                </a:solidFill>
                <a:latin typeface="+mn-lt"/>
                <a:ea typeface="+mn-ea"/>
                <a:cs typeface="+mn-cs"/>
              </a:defRPr>
            </a:lvl2pPr>
            <a:lvl3pPr marL="355600" indent="-174625"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3pPr>
            <a:lvl4pPr marL="538163" indent="-182563"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4pPr>
            <a:lvl5pPr marL="719138" indent="-180975" algn="l" defTabSz="914400" rtl="0" eaLnBrk="1" latinLnBrk="0" hangingPunct="1">
              <a:spcBef>
                <a:spcPts val="200"/>
              </a:spcBef>
              <a:buClr>
                <a:schemeClr val="tx2"/>
              </a:buClr>
              <a:buFont typeface="Symbol" pitchFamily="18" charset="2"/>
              <a:buChar char="-"/>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400" b="1" dirty="0" smtClean="0">
                <a:solidFill>
                  <a:schemeClr val="accent4"/>
                </a:solidFill>
              </a:rPr>
              <a:t>Publication Fee</a:t>
            </a:r>
            <a:endParaRPr lang="en-US" sz="1400" b="1" dirty="0">
              <a:solidFill>
                <a:schemeClr val="accent4"/>
              </a:solidFill>
            </a:endParaRPr>
          </a:p>
        </p:txBody>
      </p:sp>
      <p:sp>
        <p:nvSpPr>
          <p:cNvPr id="117" name="Rechteck 95"/>
          <p:cNvSpPr/>
          <p:nvPr/>
        </p:nvSpPr>
        <p:spPr>
          <a:xfrm>
            <a:off x="4421811" y="1833466"/>
            <a:ext cx="309464" cy="478621"/>
          </a:xfrm>
          <a:prstGeom prst="rect">
            <a:avLst/>
          </a:prstGeom>
          <a:solidFill>
            <a:schemeClr val="bg1"/>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118" name="Rechteck 96"/>
          <p:cNvSpPr/>
          <p:nvPr/>
        </p:nvSpPr>
        <p:spPr>
          <a:xfrm>
            <a:off x="5188992" y="2993304"/>
            <a:ext cx="309464" cy="478621"/>
          </a:xfrm>
          <a:prstGeom prst="rect">
            <a:avLst/>
          </a:prstGeom>
          <a:solidFill>
            <a:schemeClr val="bg1"/>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119" name="Rechteck 97"/>
          <p:cNvSpPr/>
          <p:nvPr/>
        </p:nvSpPr>
        <p:spPr>
          <a:xfrm>
            <a:off x="4597273" y="3579359"/>
            <a:ext cx="309464" cy="478621"/>
          </a:xfrm>
          <a:prstGeom prst="rect">
            <a:avLst/>
          </a:prstGeom>
          <a:solidFill>
            <a:schemeClr val="bg1"/>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120" name="Rechteck 98"/>
          <p:cNvSpPr/>
          <p:nvPr/>
        </p:nvSpPr>
        <p:spPr>
          <a:xfrm>
            <a:off x="4991723" y="3579359"/>
            <a:ext cx="309464" cy="478621"/>
          </a:xfrm>
          <a:prstGeom prst="rect">
            <a:avLst/>
          </a:prstGeom>
          <a:solidFill>
            <a:schemeClr val="bg1"/>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135" name="Rechteck 99"/>
          <p:cNvSpPr/>
          <p:nvPr/>
        </p:nvSpPr>
        <p:spPr>
          <a:xfrm>
            <a:off x="5188992" y="1833466"/>
            <a:ext cx="309464" cy="478621"/>
          </a:xfrm>
          <a:prstGeom prst="rect">
            <a:avLst/>
          </a:prstGeom>
          <a:solidFill>
            <a:schemeClr val="bg1"/>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136" name="Rechteck 100"/>
          <p:cNvSpPr/>
          <p:nvPr/>
        </p:nvSpPr>
        <p:spPr>
          <a:xfrm>
            <a:off x="4597273" y="2413439"/>
            <a:ext cx="309464" cy="478621"/>
          </a:xfrm>
          <a:prstGeom prst="rect">
            <a:avLst/>
          </a:prstGeom>
          <a:solidFill>
            <a:schemeClr val="bg1"/>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137" name="Rechteck 101"/>
          <p:cNvSpPr/>
          <p:nvPr/>
        </p:nvSpPr>
        <p:spPr>
          <a:xfrm>
            <a:off x="4991723" y="2413439"/>
            <a:ext cx="309464" cy="478621"/>
          </a:xfrm>
          <a:prstGeom prst="rect">
            <a:avLst/>
          </a:prstGeom>
          <a:solidFill>
            <a:schemeClr val="bg1"/>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138" name="Rechteck 102"/>
          <p:cNvSpPr/>
          <p:nvPr/>
        </p:nvSpPr>
        <p:spPr>
          <a:xfrm>
            <a:off x="4805401" y="2993304"/>
            <a:ext cx="309464" cy="478621"/>
          </a:xfrm>
          <a:prstGeom prst="rect">
            <a:avLst/>
          </a:prstGeom>
          <a:solidFill>
            <a:schemeClr val="bg1"/>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139" name="Rechteck 103"/>
          <p:cNvSpPr/>
          <p:nvPr/>
        </p:nvSpPr>
        <p:spPr>
          <a:xfrm>
            <a:off x="4805401" y="4161663"/>
            <a:ext cx="309464" cy="478621"/>
          </a:xfrm>
          <a:prstGeom prst="rect">
            <a:avLst/>
          </a:prstGeom>
          <a:solidFill>
            <a:schemeClr val="bg1"/>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140" name="Rechteck 104"/>
          <p:cNvSpPr/>
          <p:nvPr/>
        </p:nvSpPr>
        <p:spPr>
          <a:xfrm>
            <a:off x="4421811" y="4161663"/>
            <a:ext cx="309464" cy="478621"/>
          </a:xfrm>
          <a:prstGeom prst="rect">
            <a:avLst/>
          </a:prstGeom>
          <a:solidFill>
            <a:schemeClr val="bg1"/>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141" name="Rechteck 105"/>
          <p:cNvSpPr/>
          <p:nvPr/>
        </p:nvSpPr>
        <p:spPr>
          <a:xfrm>
            <a:off x="5188992" y="4161663"/>
            <a:ext cx="309464" cy="478621"/>
          </a:xfrm>
          <a:prstGeom prst="rect">
            <a:avLst/>
          </a:prstGeom>
          <a:solidFill>
            <a:schemeClr val="bg1"/>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142" name="Rechteck 106"/>
          <p:cNvSpPr/>
          <p:nvPr/>
        </p:nvSpPr>
        <p:spPr>
          <a:xfrm>
            <a:off x="4597273" y="4741750"/>
            <a:ext cx="309464" cy="478621"/>
          </a:xfrm>
          <a:prstGeom prst="rect">
            <a:avLst/>
          </a:prstGeom>
          <a:solidFill>
            <a:schemeClr val="bg1"/>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143" name="Rechteck 107"/>
          <p:cNvSpPr/>
          <p:nvPr/>
        </p:nvSpPr>
        <p:spPr>
          <a:xfrm>
            <a:off x="4991723" y="4741750"/>
            <a:ext cx="309464" cy="478621"/>
          </a:xfrm>
          <a:prstGeom prst="rect">
            <a:avLst/>
          </a:prstGeom>
          <a:solidFill>
            <a:schemeClr val="bg1"/>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144" name="Rechteck 1"/>
          <p:cNvSpPr/>
          <p:nvPr/>
        </p:nvSpPr>
        <p:spPr>
          <a:xfrm>
            <a:off x="4246714" y="5379211"/>
            <a:ext cx="1468286" cy="12764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145" name="Rechteck 136"/>
          <p:cNvSpPr/>
          <p:nvPr/>
        </p:nvSpPr>
        <p:spPr>
          <a:xfrm>
            <a:off x="4246714" y="5350565"/>
            <a:ext cx="1468286" cy="2329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Tree>
    <p:extLst>
      <p:ext uri="{BB962C8B-B14F-4D97-AF65-F5344CB8AC3E}">
        <p14:creationId xmlns:p14="http://schemas.microsoft.com/office/powerpoint/2010/main" val="11388645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50000" decel="50000" fill="hold" grpId="0" nodeType="withEffect">
                                  <p:stCondLst>
                                    <p:cond delay="0"/>
                                  </p:stCondLst>
                                  <p:childTnLst>
                                    <p:animMotion origin="layout" path="M -4.10256E-6 -1.11111E-6 L 0.00097 -0.07361 " pathEditMode="relative" rAng="0" ptsTypes="AA">
                                      <p:cBhvr>
                                        <p:cTn id="6" dur="2000" fill="hold"/>
                                        <p:tgtEl>
                                          <p:spTgt spid="89"/>
                                        </p:tgtEl>
                                        <p:attrNameLst>
                                          <p:attrName>ppt_x</p:attrName>
                                          <p:attrName>ppt_y</p:attrName>
                                        </p:attrNameLst>
                                      </p:cBhvr>
                                      <p:rCtr x="48" y="-3681"/>
                                    </p:animMotion>
                                  </p:childTnLst>
                                </p:cTn>
                              </p:par>
                              <p:par>
                                <p:cTn id="7" presetID="10" presetClass="exit" presetSubtype="0" fill="hold" grpId="0" nodeType="withEffect">
                                  <p:stCondLst>
                                    <p:cond delay="0"/>
                                  </p:stCondLst>
                                  <p:childTnLst>
                                    <p:animEffect transition="out" filter="fade">
                                      <p:cBhvr>
                                        <p:cTn id="8" dur="500"/>
                                        <p:tgtEl>
                                          <p:spTgt spid="114"/>
                                        </p:tgtEl>
                                      </p:cBhvr>
                                    </p:animEffect>
                                    <p:set>
                                      <p:cBhvr>
                                        <p:cTn id="9" dur="1" fill="hold">
                                          <p:stCondLst>
                                            <p:cond delay="499"/>
                                          </p:stCondLst>
                                        </p:cTn>
                                        <p:tgtEl>
                                          <p:spTgt spid="114"/>
                                        </p:tgtEl>
                                        <p:attrNameLst>
                                          <p:attrName>style.visibility</p:attrName>
                                        </p:attrNameLst>
                                      </p:cBhvr>
                                      <p:to>
                                        <p:strVal val="hidden"/>
                                      </p:to>
                                    </p:set>
                                  </p:childTnLst>
                                </p:cTn>
                              </p:par>
                            </p:childTnLst>
                          </p:cTn>
                        </p:par>
                        <p:par>
                          <p:cTn id="10" fill="hold">
                            <p:stCondLst>
                              <p:cond delay="2000"/>
                            </p:stCondLst>
                            <p:childTnLst>
                              <p:par>
                                <p:cTn id="11" presetID="42" presetClass="path" presetSubtype="0" accel="50000" decel="50000" fill="hold" grpId="0" nodeType="afterEffect">
                                  <p:stCondLst>
                                    <p:cond delay="0"/>
                                  </p:stCondLst>
                                  <p:childTnLst>
                                    <p:animMotion origin="layout" path="M 5.12821E-7 3.33333E-6 L 0.01827 -0.01111 " pathEditMode="relative" rAng="0" ptsTypes="AA">
                                      <p:cBhvr>
                                        <p:cTn id="12" dur="2000" fill="hold"/>
                                        <p:tgtEl>
                                          <p:spTgt spid="137"/>
                                        </p:tgtEl>
                                        <p:attrNameLst>
                                          <p:attrName>ppt_x</p:attrName>
                                          <p:attrName>ppt_y</p:attrName>
                                        </p:attrNameLst>
                                      </p:cBhvr>
                                      <p:rCtr x="913" y="-556"/>
                                    </p:animMotion>
                                  </p:childTnLst>
                                </p:cTn>
                              </p:par>
                              <p:par>
                                <p:cTn id="13" presetID="42" presetClass="path" presetSubtype="0" accel="50000" decel="50000" fill="hold" grpId="0" nodeType="withEffect">
                                  <p:stCondLst>
                                    <p:cond delay="0"/>
                                  </p:stCondLst>
                                  <p:childTnLst>
                                    <p:animMotion origin="layout" path="M -3.07692E-6 -4.81481E-6 L 0.05481 -4.81481E-6 " pathEditMode="relative" rAng="0" ptsTypes="AA">
                                      <p:cBhvr>
                                        <p:cTn id="14" dur="2000" fill="hold"/>
                                        <p:tgtEl>
                                          <p:spTgt spid="135"/>
                                        </p:tgtEl>
                                        <p:attrNameLst>
                                          <p:attrName>ppt_x</p:attrName>
                                          <p:attrName>ppt_y</p:attrName>
                                        </p:attrNameLst>
                                      </p:cBhvr>
                                      <p:rCtr x="2740" y="0"/>
                                    </p:animMotion>
                                  </p:childTnLst>
                                </p:cTn>
                              </p:par>
                              <p:par>
                                <p:cTn id="15" presetID="42" presetClass="path" presetSubtype="0" accel="50000" decel="50000" fill="hold" grpId="0" nodeType="withEffect">
                                  <p:stCondLst>
                                    <p:cond delay="0"/>
                                  </p:stCondLst>
                                  <p:childTnLst>
                                    <p:animMotion origin="layout" path="M 1.02564E-6 -4.81481E-6 L 0.02788 0.01112 " pathEditMode="relative" rAng="0" ptsTypes="AA">
                                      <p:cBhvr>
                                        <p:cTn id="16" dur="2000" fill="hold"/>
                                        <p:tgtEl>
                                          <p:spTgt spid="117"/>
                                        </p:tgtEl>
                                        <p:attrNameLst>
                                          <p:attrName>ppt_x</p:attrName>
                                          <p:attrName>ppt_y</p:attrName>
                                        </p:attrNameLst>
                                      </p:cBhvr>
                                      <p:rCtr x="1394" y="556"/>
                                    </p:animMotion>
                                  </p:childTnLst>
                                </p:cTn>
                              </p:par>
                              <p:par>
                                <p:cTn id="17" presetID="42" presetClass="path" presetSubtype="0" accel="50000" decel="50000" fill="hold" grpId="0" nodeType="withEffect">
                                  <p:stCondLst>
                                    <p:cond delay="0"/>
                                  </p:stCondLst>
                                  <p:childTnLst>
                                    <p:animMotion origin="layout" path="M 2.5641E-6 4.44444E-6 L -0.05096 -0.01042 " pathEditMode="relative" rAng="0" ptsTypes="AA">
                                      <p:cBhvr>
                                        <p:cTn id="18" dur="2000" fill="hold"/>
                                        <p:tgtEl>
                                          <p:spTgt spid="136"/>
                                        </p:tgtEl>
                                        <p:attrNameLst>
                                          <p:attrName>ppt_x</p:attrName>
                                          <p:attrName>ppt_y</p:attrName>
                                        </p:attrNameLst>
                                      </p:cBhvr>
                                      <p:rCtr x="-2548" y="-532"/>
                                    </p:animMotion>
                                  </p:childTnLst>
                                </p:cTn>
                              </p:par>
                              <p:par>
                                <p:cTn id="19" presetID="42" presetClass="path" presetSubtype="0" accel="50000" decel="50000" fill="hold" grpId="0" nodeType="withEffect">
                                  <p:stCondLst>
                                    <p:cond delay="0"/>
                                  </p:stCondLst>
                                  <p:childTnLst>
                                    <p:animMotion origin="layout" path="M -1.02564E-6 3.7037E-6 L -0.12788 -0.01945 " pathEditMode="relative" rAng="0" ptsTypes="AA">
                                      <p:cBhvr>
                                        <p:cTn id="20" dur="2000" fill="hold"/>
                                        <p:tgtEl>
                                          <p:spTgt spid="138"/>
                                        </p:tgtEl>
                                        <p:attrNameLst>
                                          <p:attrName>ppt_x</p:attrName>
                                          <p:attrName>ppt_y</p:attrName>
                                        </p:attrNameLst>
                                      </p:cBhvr>
                                      <p:rCtr x="-6394" y="-972"/>
                                    </p:animMotion>
                                  </p:childTnLst>
                                </p:cTn>
                              </p:par>
                              <p:par>
                                <p:cTn id="21" presetID="42" presetClass="path" presetSubtype="0" accel="50000" decel="50000" fill="hold" grpId="0" nodeType="withEffect">
                                  <p:stCondLst>
                                    <p:cond delay="0"/>
                                  </p:stCondLst>
                                  <p:childTnLst>
                                    <p:animMotion origin="layout" path="M -3.07692E-6 3.7037E-6 L 0.04568 -0.02639 " pathEditMode="relative" rAng="0" ptsTypes="AA">
                                      <p:cBhvr>
                                        <p:cTn id="22" dur="2000" fill="hold"/>
                                        <p:tgtEl>
                                          <p:spTgt spid="118"/>
                                        </p:tgtEl>
                                        <p:attrNameLst>
                                          <p:attrName>ppt_x</p:attrName>
                                          <p:attrName>ppt_y</p:attrName>
                                        </p:attrNameLst>
                                      </p:cBhvr>
                                      <p:rCtr x="2276" y="-1319"/>
                                    </p:animMotion>
                                  </p:childTnLst>
                                </p:cTn>
                              </p:par>
                              <p:par>
                                <p:cTn id="23" presetID="42" presetClass="path" presetSubtype="0" accel="50000" decel="50000" fill="hold" grpId="0" nodeType="withEffect">
                                  <p:stCondLst>
                                    <p:cond delay="0"/>
                                  </p:stCondLst>
                                  <p:childTnLst>
                                    <p:animMotion origin="layout" path="M -1.02564E-6 -4.44444E-6 L 0.01827 -0.02222 " pathEditMode="relative" rAng="0" ptsTypes="AA">
                                      <p:cBhvr>
                                        <p:cTn id="24" dur="2000" fill="hold"/>
                                        <p:tgtEl>
                                          <p:spTgt spid="120"/>
                                        </p:tgtEl>
                                        <p:attrNameLst>
                                          <p:attrName>ppt_x</p:attrName>
                                          <p:attrName>ppt_y</p:attrName>
                                        </p:attrNameLst>
                                      </p:cBhvr>
                                      <p:rCtr x="913" y="-1111"/>
                                    </p:animMotion>
                                  </p:childTnLst>
                                </p:cTn>
                              </p:par>
                              <p:par>
                                <p:cTn id="25" presetID="42" presetClass="path" presetSubtype="0" accel="50000" decel="50000" fill="hold" grpId="0" nodeType="withEffect">
                                  <p:stCondLst>
                                    <p:cond delay="0"/>
                                  </p:stCondLst>
                                  <p:childTnLst>
                                    <p:animMotion origin="layout" path="M 2.5641E-6 -4.44444E-6 L -0.08173 -0.00625 " pathEditMode="relative" rAng="0" ptsTypes="AA">
                                      <p:cBhvr>
                                        <p:cTn id="26" dur="2000" fill="hold"/>
                                        <p:tgtEl>
                                          <p:spTgt spid="119"/>
                                        </p:tgtEl>
                                        <p:attrNameLst>
                                          <p:attrName>ppt_x</p:attrName>
                                          <p:attrName>ppt_y</p:attrName>
                                        </p:attrNameLst>
                                      </p:cBhvr>
                                      <p:rCtr x="-4087" y="-324"/>
                                    </p:animMotion>
                                  </p:childTnLst>
                                </p:cTn>
                              </p:par>
                              <p:par>
                                <p:cTn id="27" presetID="42" presetClass="path" presetSubtype="0" accel="50000" decel="50000" fill="hold" grpId="0" nodeType="withEffect">
                                  <p:stCondLst>
                                    <p:cond delay="0"/>
                                  </p:stCondLst>
                                  <p:childTnLst>
                                    <p:animMotion origin="layout" path="M 1.02564E-6 3.33333E-6 L -0.07404 0.05555 " pathEditMode="relative" rAng="0" ptsTypes="AA">
                                      <p:cBhvr>
                                        <p:cTn id="28" dur="2000" fill="hold"/>
                                        <p:tgtEl>
                                          <p:spTgt spid="140"/>
                                        </p:tgtEl>
                                        <p:attrNameLst>
                                          <p:attrName>ppt_x</p:attrName>
                                          <p:attrName>ppt_y</p:attrName>
                                        </p:attrNameLst>
                                      </p:cBhvr>
                                      <p:rCtr x="-3702" y="2778"/>
                                    </p:animMotion>
                                  </p:childTnLst>
                                </p:cTn>
                              </p:par>
                              <p:par>
                                <p:cTn id="29" presetID="42" presetClass="path" presetSubtype="0" accel="50000" decel="50000" fill="hold" grpId="0" nodeType="withEffect">
                                  <p:stCondLst>
                                    <p:cond delay="0"/>
                                  </p:stCondLst>
                                  <p:childTnLst>
                                    <p:animMotion origin="layout" path="M -1.02564E-6 3.33333E-6 L -0.03365 -0.16111 " pathEditMode="relative" rAng="0" ptsTypes="AA">
                                      <p:cBhvr>
                                        <p:cTn id="30" dur="2000" fill="hold"/>
                                        <p:tgtEl>
                                          <p:spTgt spid="139"/>
                                        </p:tgtEl>
                                        <p:attrNameLst>
                                          <p:attrName>ppt_x</p:attrName>
                                          <p:attrName>ppt_y</p:attrName>
                                        </p:attrNameLst>
                                      </p:cBhvr>
                                      <p:rCtr x="-1683" y="-8056"/>
                                    </p:animMotion>
                                  </p:childTnLst>
                                </p:cTn>
                              </p:par>
                              <p:par>
                                <p:cTn id="31" presetID="42" presetClass="path" presetSubtype="0" accel="50000" decel="50000" fill="hold" grpId="0" nodeType="withEffect">
                                  <p:stCondLst>
                                    <p:cond delay="0"/>
                                  </p:stCondLst>
                                  <p:childTnLst>
                                    <p:animMotion origin="layout" path="M -3.07692E-6 3.33333E-6 L 0.05481 -0.04861 " pathEditMode="relative" rAng="0" ptsTypes="AA">
                                      <p:cBhvr>
                                        <p:cTn id="32" dur="2000" fill="hold"/>
                                        <p:tgtEl>
                                          <p:spTgt spid="141"/>
                                        </p:tgtEl>
                                        <p:attrNameLst>
                                          <p:attrName>ppt_x</p:attrName>
                                          <p:attrName>ppt_y</p:attrName>
                                        </p:attrNameLst>
                                      </p:cBhvr>
                                      <p:rCtr x="2740" y="-2431"/>
                                    </p:animMotion>
                                  </p:childTnLst>
                                </p:cTn>
                              </p:par>
                              <p:par>
                                <p:cTn id="33" presetID="42" presetClass="path" presetSubtype="0" accel="50000" decel="50000" fill="hold" grpId="0" nodeType="withEffect">
                                  <p:stCondLst>
                                    <p:cond delay="0"/>
                                  </p:stCondLst>
                                  <p:childTnLst>
                                    <p:animMotion origin="layout" path="M -1.02564E-6 1.11111E-6 L 0.03942 0.00139 " pathEditMode="relative" rAng="0" ptsTypes="AA">
                                      <p:cBhvr>
                                        <p:cTn id="34" dur="2000" fill="hold"/>
                                        <p:tgtEl>
                                          <p:spTgt spid="143"/>
                                        </p:tgtEl>
                                        <p:attrNameLst>
                                          <p:attrName>ppt_x</p:attrName>
                                          <p:attrName>ppt_y</p:attrName>
                                        </p:attrNameLst>
                                      </p:cBhvr>
                                      <p:rCtr x="1971" y="69"/>
                                    </p:animMotion>
                                  </p:childTnLst>
                                </p:cTn>
                              </p:par>
                              <p:par>
                                <p:cTn id="35" presetID="42" presetClass="path" presetSubtype="0" accel="50000" decel="50000" fill="hold" grpId="0" nodeType="withEffect">
                                  <p:stCondLst>
                                    <p:cond delay="0"/>
                                  </p:stCondLst>
                                  <p:childTnLst>
                                    <p:animMotion origin="layout" path="M 1.79487E-6 2.22222E-6 L -0.01827 -0.08056 " pathEditMode="relative" rAng="0" ptsTypes="AA">
                                      <p:cBhvr>
                                        <p:cTn id="36" dur="2000" fill="hold"/>
                                        <p:tgtEl>
                                          <p:spTgt spid="142"/>
                                        </p:tgtEl>
                                        <p:attrNameLst>
                                          <p:attrName>ppt_x</p:attrName>
                                          <p:attrName>ppt_y</p:attrName>
                                        </p:attrNameLst>
                                      </p:cBhvr>
                                      <p:rCtr x="-913" y="-4028"/>
                                    </p:animMotion>
                                  </p:childTnLst>
                                </p:cTn>
                              </p:par>
                              <p:par>
                                <p:cTn id="37" presetID="2" presetClass="entr" presetSubtype="4" fill="hold" grpId="0" nodeType="withEffect">
                                  <p:stCondLst>
                                    <p:cond delay="0"/>
                                  </p:stCondLst>
                                  <p:childTnLst>
                                    <p:set>
                                      <p:cBhvr>
                                        <p:cTn id="38" dur="1" fill="hold">
                                          <p:stCondLst>
                                            <p:cond delay="0"/>
                                          </p:stCondLst>
                                        </p:cTn>
                                        <p:tgtEl>
                                          <p:spTgt spid="144"/>
                                        </p:tgtEl>
                                        <p:attrNameLst>
                                          <p:attrName>style.visibility</p:attrName>
                                        </p:attrNameLst>
                                      </p:cBhvr>
                                      <p:to>
                                        <p:strVal val="visible"/>
                                      </p:to>
                                    </p:set>
                                    <p:anim calcmode="lin" valueType="num">
                                      <p:cBhvr additive="base">
                                        <p:cTn id="39" dur="2000" fill="hold"/>
                                        <p:tgtEl>
                                          <p:spTgt spid="144"/>
                                        </p:tgtEl>
                                        <p:attrNameLst>
                                          <p:attrName>ppt_x</p:attrName>
                                        </p:attrNameLst>
                                      </p:cBhvr>
                                      <p:tavLst>
                                        <p:tav tm="0">
                                          <p:val>
                                            <p:strVal val="#ppt_x"/>
                                          </p:val>
                                        </p:tav>
                                        <p:tav tm="100000">
                                          <p:val>
                                            <p:strVal val="#ppt_x"/>
                                          </p:val>
                                        </p:tav>
                                      </p:tavLst>
                                    </p:anim>
                                    <p:anim calcmode="lin" valueType="num">
                                      <p:cBhvr additive="base">
                                        <p:cTn id="40" dur="2000" fill="hold"/>
                                        <p:tgtEl>
                                          <p:spTgt spid="144"/>
                                        </p:tgtEl>
                                        <p:attrNameLst>
                                          <p:attrName>ppt_y</p:attrName>
                                        </p:attrNameLst>
                                      </p:cBhvr>
                                      <p:tavLst>
                                        <p:tav tm="0">
                                          <p:val>
                                            <p:strVal val="1+#ppt_h/2"/>
                                          </p:val>
                                        </p:tav>
                                        <p:tav tm="100000">
                                          <p:val>
                                            <p:strVal val="#ppt_y"/>
                                          </p:val>
                                        </p:tav>
                                      </p:tavLst>
                                    </p:anim>
                                  </p:childTnLst>
                                </p:cTn>
                              </p:par>
                              <p:par>
                                <p:cTn id="41" presetID="42" presetClass="path" presetSubtype="0" accel="50000" decel="50000" fill="hold" grpId="0" nodeType="withEffect">
                                  <p:stCondLst>
                                    <p:cond delay="0"/>
                                  </p:stCondLst>
                                  <p:childTnLst>
                                    <p:animMotion origin="layout" path="M -4.10256E-6 -1.11111E-6 L 0.00097 -0.07361 " pathEditMode="relative" rAng="0" ptsTypes="AA">
                                      <p:cBhvr>
                                        <p:cTn id="42" dur="2000" fill="hold"/>
                                        <p:tgtEl>
                                          <p:spTgt spid="115"/>
                                        </p:tgtEl>
                                        <p:attrNameLst>
                                          <p:attrName>ppt_x</p:attrName>
                                          <p:attrName>ppt_y</p:attrName>
                                        </p:attrNameLst>
                                      </p:cBhvr>
                                      <p:rCtr x="48" y="-3681"/>
                                    </p:animMotion>
                                  </p:childTnLst>
                                </p:cTn>
                              </p:par>
                            </p:childTnLst>
                          </p:cTn>
                        </p:par>
                        <p:par>
                          <p:cTn id="43" fill="hold">
                            <p:stCondLst>
                              <p:cond delay="4000"/>
                            </p:stCondLst>
                            <p:childTnLst>
                              <p:par>
                                <p:cTn id="44" presetID="1" presetClass="entr" presetSubtype="0" fill="hold" grpId="4" nodeType="afterEffect">
                                  <p:stCondLst>
                                    <p:cond delay="500"/>
                                  </p:stCondLst>
                                  <p:childTnLst>
                                    <p:set>
                                      <p:cBhvr>
                                        <p:cTn id="45" dur="1" fill="hold">
                                          <p:stCondLst>
                                            <p:cond delay="0"/>
                                          </p:stCondLst>
                                        </p:cTn>
                                        <p:tgtEl>
                                          <p:spTgt spid="145"/>
                                        </p:tgtEl>
                                        <p:attrNameLst>
                                          <p:attrName>style.visibility</p:attrName>
                                        </p:attrNameLst>
                                      </p:cBhvr>
                                      <p:to>
                                        <p:strVal val="visible"/>
                                      </p:to>
                                    </p:set>
                                  </p:childTnLst>
                                </p:cTn>
                              </p:par>
                            </p:childTnLst>
                          </p:cTn>
                        </p:par>
                        <p:par>
                          <p:cTn id="46" fill="hold">
                            <p:stCondLst>
                              <p:cond delay="4500"/>
                            </p:stCondLst>
                            <p:childTnLst>
                              <p:par>
                                <p:cTn id="47" presetID="1" presetClass="exit" presetSubtype="0" fill="hold" grpId="0" nodeType="afterEffect">
                                  <p:stCondLst>
                                    <p:cond delay="500"/>
                                  </p:stCondLst>
                                  <p:childTnLst>
                                    <p:set>
                                      <p:cBhvr>
                                        <p:cTn id="48" dur="1" fill="hold">
                                          <p:stCondLst>
                                            <p:cond delay="0"/>
                                          </p:stCondLst>
                                        </p:cTn>
                                        <p:tgtEl>
                                          <p:spTgt spid="145"/>
                                        </p:tgtEl>
                                        <p:attrNameLst>
                                          <p:attrName>style.visibility</p:attrName>
                                        </p:attrNameLst>
                                      </p:cBhvr>
                                      <p:to>
                                        <p:strVal val="hidden"/>
                                      </p:to>
                                    </p:set>
                                  </p:childTnLst>
                                </p:cTn>
                              </p:par>
                            </p:childTnLst>
                          </p:cTn>
                        </p:par>
                        <p:par>
                          <p:cTn id="49" fill="hold">
                            <p:stCondLst>
                              <p:cond delay="5000"/>
                            </p:stCondLst>
                            <p:childTnLst>
                              <p:par>
                                <p:cTn id="50" presetID="1" presetClass="entr" presetSubtype="0" fill="hold" grpId="1" nodeType="afterEffect">
                                  <p:stCondLst>
                                    <p:cond delay="500"/>
                                  </p:stCondLst>
                                  <p:childTnLst>
                                    <p:set>
                                      <p:cBhvr>
                                        <p:cTn id="51" dur="1" fill="hold">
                                          <p:stCondLst>
                                            <p:cond delay="0"/>
                                          </p:stCondLst>
                                        </p:cTn>
                                        <p:tgtEl>
                                          <p:spTgt spid="145"/>
                                        </p:tgtEl>
                                        <p:attrNameLst>
                                          <p:attrName>style.visibility</p:attrName>
                                        </p:attrNameLst>
                                      </p:cBhvr>
                                      <p:to>
                                        <p:strVal val="visible"/>
                                      </p:to>
                                    </p:set>
                                  </p:childTnLst>
                                </p:cTn>
                              </p:par>
                            </p:childTnLst>
                          </p:cTn>
                        </p:par>
                        <p:par>
                          <p:cTn id="52" fill="hold">
                            <p:stCondLst>
                              <p:cond delay="5500"/>
                            </p:stCondLst>
                            <p:childTnLst>
                              <p:par>
                                <p:cTn id="53" presetID="1" presetClass="exit" presetSubtype="0" fill="hold" grpId="2" nodeType="afterEffect">
                                  <p:stCondLst>
                                    <p:cond delay="500"/>
                                  </p:stCondLst>
                                  <p:childTnLst>
                                    <p:set>
                                      <p:cBhvr>
                                        <p:cTn id="54" dur="1" fill="hold">
                                          <p:stCondLst>
                                            <p:cond delay="0"/>
                                          </p:stCondLst>
                                        </p:cTn>
                                        <p:tgtEl>
                                          <p:spTgt spid="145"/>
                                        </p:tgtEl>
                                        <p:attrNameLst>
                                          <p:attrName>style.visibility</p:attrName>
                                        </p:attrNameLst>
                                      </p:cBhvr>
                                      <p:to>
                                        <p:strVal val="hidden"/>
                                      </p:to>
                                    </p:set>
                                  </p:childTnLst>
                                </p:cTn>
                              </p:par>
                            </p:childTnLst>
                          </p:cTn>
                        </p:par>
                        <p:par>
                          <p:cTn id="55" fill="hold">
                            <p:stCondLst>
                              <p:cond delay="6000"/>
                            </p:stCondLst>
                            <p:childTnLst>
                              <p:par>
                                <p:cTn id="56" presetID="1" presetClass="entr" presetSubtype="0" fill="hold" grpId="3" nodeType="afterEffect">
                                  <p:stCondLst>
                                    <p:cond delay="500"/>
                                  </p:stCondLst>
                                  <p:childTnLst>
                                    <p:set>
                                      <p:cBhvr>
                                        <p:cTn id="57" dur="1" fill="hold">
                                          <p:stCondLst>
                                            <p:cond delay="0"/>
                                          </p:stCondLst>
                                        </p:cTn>
                                        <p:tgtEl>
                                          <p:spTgt spid="145"/>
                                        </p:tgtEl>
                                        <p:attrNameLst>
                                          <p:attrName>style.visibility</p:attrName>
                                        </p:attrNameLst>
                                      </p:cBhvr>
                                      <p:to>
                                        <p:strVal val="visible"/>
                                      </p:to>
                                    </p:set>
                                  </p:childTnLst>
                                </p:cTn>
                              </p:par>
                            </p:childTnLst>
                          </p:cTn>
                        </p:par>
                        <p:par>
                          <p:cTn id="58" fill="hold">
                            <p:stCondLst>
                              <p:cond delay="6500"/>
                            </p:stCondLst>
                            <p:childTnLst>
                              <p:par>
                                <p:cTn id="59" presetID="1" presetClass="exit" presetSubtype="0" fill="hold" grpId="5" nodeType="afterEffect">
                                  <p:stCondLst>
                                    <p:cond delay="500"/>
                                  </p:stCondLst>
                                  <p:childTnLst>
                                    <p:set>
                                      <p:cBhvr>
                                        <p:cTn id="60" dur="1" fill="hold">
                                          <p:stCondLst>
                                            <p:cond delay="0"/>
                                          </p:stCondLst>
                                        </p:cTn>
                                        <p:tgtEl>
                                          <p:spTgt spid="145"/>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9" grpId="0"/>
      <p:bldP spid="114" grpId="0" animBg="1"/>
      <p:bldP spid="115" grpId="0"/>
      <p:bldP spid="117" grpId="0" animBg="1"/>
      <p:bldP spid="118" grpId="0" animBg="1"/>
      <p:bldP spid="119" grpId="0" animBg="1"/>
      <p:bldP spid="120" grpId="0" animBg="1"/>
      <p:bldP spid="135" grpId="0" animBg="1"/>
      <p:bldP spid="136" grpId="0" animBg="1"/>
      <p:bldP spid="137" grpId="0" animBg="1"/>
      <p:bldP spid="138" grpId="0" animBg="1"/>
      <p:bldP spid="139" grpId="0" animBg="1"/>
      <p:bldP spid="140" grpId="0" animBg="1"/>
      <p:bldP spid="141" grpId="0" animBg="1"/>
      <p:bldP spid="142" grpId="0" animBg="1"/>
      <p:bldP spid="143" grpId="0" animBg="1"/>
      <p:bldP spid="144" grpId="0" animBg="1"/>
      <p:bldP spid="145" grpId="0" animBg="1"/>
      <p:bldP spid="145" grpId="1" animBg="1"/>
      <p:bldP spid="145" grpId="2" animBg="1"/>
      <p:bldP spid="145" grpId="3" animBg="1"/>
      <p:bldP spid="145" grpId="4" animBg="1"/>
      <p:bldP spid="145" grpId="5"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2"/>
          <p:cNvSpPr txBox="1">
            <a:spLocks/>
          </p:cNvSpPr>
          <p:nvPr/>
        </p:nvSpPr>
        <p:spPr>
          <a:xfrm>
            <a:off x="249073" y="390768"/>
            <a:ext cx="8929946" cy="697671"/>
          </a:xfrm>
          <a:prstGeom prst="rect">
            <a:avLst/>
          </a:prstGeom>
        </p:spPr>
        <p:txBody>
          <a:bodyPr anchor="t" anchorCtr="0"/>
          <a:lstStyle>
            <a:lvl1pPr marL="0" indent="0" algn="l" defTabSz="914400" rtl="0" eaLnBrk="1" latinLnBrk="0" hangingPunct="1">
              <a:spcBef>
                <a:spcPts val="200"/>
              </a:spcBef>
              <a:buClr>
                <a:schemeClr val="tx2"/>
              </a:buClr>
              <a:buFont typeface="Wingdings" pitchFamily="2" charset="2"/>
              <a:buNone/>
              <a:defRPr sz="1600" kern="1200">
                <a:solidFill>
                  <a:schemeClr val="tx2"/>
                </a:solidFill>
                <a:latin typeface="+mn-lt"/>
                <a:ea typeface="+mn-ea"/>
                <a:cs typeface="+mn-cs"/>
              </a:defRPr>
            </a:lvl1pPr>
            <a:lvl2pPr marL="180975" indent="-180975" algn="l" defTabSz="914400" rtl="0" eaLnBrk="1" latinLnBrk="0" hangingPunct="1">
              <a:spcBef>
                <a:spcPts val="200"/>
              </a:spcBef>
              <a:buClr>
                <a:schemeClr val="tx2"/>
              </a:buClr>
              <a:buFont typeface="Wingdings" pitchFamily="2" charset="2"/>
              <a:buChar char="§"/>
              <a:defRPr sz="1600" kern="1200">
                <a:solidFill>
                  <a:schemeClr val="tx2"/>
                </a:solidFill>
                <a:latin typeface="+mn-lt"/>
                <a:ea typeface="+mn-ea"/>
                <a:cs typeface="+mn-cs"/>
              </a:defRPr>
            </a:lvl2pPr>
            <a:lvl3pPr marL="355600" indent="-174625"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3pPr>
            <a:lvl4pPr marL="538163" indent="-182563"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4pPr>
            <a:lvl5pPr marL="719138" indent="-180975" algn="l" defTabSz="914400" rtl="0" eaLnBrk="1" latinLnBrk="0" hangingPunct="1">
              <a:spcBef>
                <a:spcPts val="200"/>
              </a:spcBef>
              <a:buClr>
                <a:schemeClr val="tx2"/>
              </a:buClr>
              <a:buFont typeface="Symbol" pitchFamily="18" charset="2"/>
              <a:buChar char="-"/>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200" b="1" dirty="0">
                <a:solidFill>
                  <a:schemeClr val="accent6"/>
                </a:solidFill>
              </a:rPr>
              <a:t>Unbundled subscription costs allow money to flow where researchers choose to publish</a:t>
            </a:r>
          </a:p>
        </p:txBody>
      </p:sp>
      <p:sp>
        <p:nvSpPr>
          <p:cNvPr id="65" name="Rechteck 36"/>
          <p:cNvSpPr/>
          <p:nvPr/>
        </p:nvSpPr>
        <p:spPr>
          <a:xfrm>
            <a:off x="4693447" y="1917576"/>
            <a:ext cx="309464" cy="478621"/>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66" name="Rechteck 37"/>
          <p:cNvSpPr/>
          <p:nvPr/>
        </p:nvSpPr>
        <p:spPr>
          <a:xfrm>
            <a:off x="3537697" y="2868094"/>
            <a:ext cx="309464" cy="478621"/>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67" name="Rechteck 38"/>
          <p:cNvSpPr/>
          <p:nvPr/>
        </p:nvSpPr>
        <p:spPr>
          <a:xfrm>
            <a:off x="5722799" y="3822452"/>
            <a:ext cx="309464" cy="478621"/>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68" name="Rechteck 39"/>
          <p:cNvSpPr/>
          <p:nvPr/>
        </p:nvSpPr>
        <p:spPr>
          <a:xfrm>
            <a:off x="5164793" y="3434430"/>
            <a:ext cx="309464" cy="478621"/>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69" name="Rechteck 40"/>
          <p:cNvSpPr/>
          <p:nvPr/>
        </p:nvSpPr>
        <p:spPr>
          <a:xfrm>
            <a:off x="5171517" y="2337661"/>
            <a:ext cx="309464" cy="478621"/>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70" name="Rechteck 41"/>
          <p:cNvSpPr/>
          <p:nvPr/>
        </p:nvSpPr>
        <p:spPr>
          <a:xfrm>
            <a:off x="4102427" y="2342405"/>
            <a:ext cx="309464" cy="478621"/>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71" name="Rechteck 42"/>
          <p:cNvSpPr/>
          <p:nvPr/>
        </p:nvSpPr>
        <p:spPr>
          <a:xfrm>
            <a:off x="4479323" y="3067060"/>
            <a:ext cx="309464" cy="478621"/>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72" name="Rechteck 43"/>
          <p:cNvSpPr/>
          <p:nvPr/>
        </p:nvSpPr>
        <p:spPr>
          <a:xfrm>
            <a:off x="3787192" y="3545681"/>
            <a:ext cx="309464" cy="478621"/>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73" name="Rechteck 45"/>
          <p:cNvSpPr/>
          <p:nvPr/>
        </p:nvSpPr>
        <p:spPr>
          <a:xfrm>
            <a:off x="3692429" y="4533660"/>
            <a:ext cx="309464" cy="478621"/>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74" name="Rechteck 46"/>
          <p:cNvSpPr/>
          <p:nvPr/>
        </p:nvSpPr>
        <p:spPr>
          <a:xfrm>
            <a:off x="4419128" y="4185220"/>
            <a:ext cx="309464" cy="478621"/>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89" name="Rechteck 47"/>
          <p:cNvSpPr/>
          <p:nvPr/>
        </p:nvSpPr>
        <p:spPr>
          <a:xfrm>
            <a:off x="5374113" y="4759522"/>
            <a:ext cx="309464" cy="478621"/>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90" name="Rechteck 54"/>
          <p:cNvSpPr>
            <a:spLocks noChangeAspect="1"/>
          </p:cNvSpPr>
          <p:nvPr/>
        </p:nvSpPr>
        <p:spPr>
          <a:xfrm>
            <a:off x="5633153" y="2821026"/>
            <a:ext cx="309464" cy="478621"/>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91" name="Rechteck 18"/>
          <p:cNvSpPr/>
          <p:nvPr/>
        </p:nvSpPr>
        <p:spPr>
          <a:xfrm>
            <a:off x="5725330" y="1833466"/>
            <a:ext cx="309464" cy="478621"/>
          </a:xfrm>
          <a:prstGeom prst="rect">
            <a:avLst/>
          </a:prstGeom>
          <a:solidFill>
            <a:schemeClr val="bg1"/>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Tree>
    <p:extLst>
      <p:ext uri="{BB962C8B-B14F-4D97-AF65-F5344CB8AC3E}">
        <p14:creationId xmlns:p14="http://schemas.microsoft.com/office/powerpoint/2010/main" val="42047250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50000" decel="50000" fill="hold" grpId="0" nodeType="afterEffect">
                                  <p:stCondLst>
                                    <p:cond delay="0"/>
                                  </p:stCondLst>
                                  <p:childTnLst>
                                    <p:animMotion origin="layout" path="M 4.12566E-6 3.19297E-7 L -0.05129 -0.02059 " pathEditMode="relative" rAng="0" ptsTypes="AA">
                                      <p:cBhvr>
                                        <p:cTn id="6" dur="2000" fill="hold"/>
                                        <p:tgtEl>
                                          <p:spTgt spid="66"/>
                                        </p:tgtEl>
                                        <p:attrNameLst>
                                          <p:attrName>ppt_x</p:attrName>
                                          <p:attrName>ppt_y</p:attrName>
                                        </p:attrNameLst>
                                      </p:cBhvr>
                                      <p:rCtr x="-2565" y="-1041"/>
                                    </p:animMotion>
                                  </p:childTnLst>
                                </p:cTn>
                              </p:par>
                              <p:par>
                                <p:cTn id="7" presetID="42" presetClass="path" presetSubtype="0" accel="50000" decel="50000" fill="hold" grpId="0" nodeType="withEffect">
                                  <p:stCondLst>
                                    <p:cond delay="0"/>
                                  </p:stCondLst>
                                  <p:childTnLst>
                                    <p:animMotion origin="layout" path="M 1.75829E-6 1.55021E-6 L 0.05145 0.0111 " pathEditMode="relative" rAng="0" ptsTypes="AA">
                                      <p:cBhvr>
                                        <p:cTn id="8" dur="2000" fill="hold"/>
                                        <p:tgtEl>
                                          <p:spTgt spid="90"/>
                                        </p:tgtEl>
                                        <p:attrNameLst>
                                          <p:attrName>ppt_x</p:attrName>
                                          <p:attrName>ppt_y</p:attrName>
                                        </p:attrNameLst>
                                      </p:cBhvr>
                                      <p:rCtr x="2565" y="555"/>
                                    </p:animMotion>
                                  </p:childTnLst>
                                </p:cTn>
                              </p:par>
                              <p:par>
                                <p:cTn id="9" presetID="42" presetClass="path" presetSubtype="0" accel="50000" decel="50000" fill="hold" grpId="0" nodeType="withEffect">
                                  <p:stCondLst>
                                    <p:cond delay="0"/>
                                  </p:stCondLst>
                                  <p:childTnLst>
                                    <p:animMotion origin="layout" path="M -1.52268E-6 3.56317E-6 L -0.00625 0.09347 " pathEditMode="relative" rAng="0" ptsTypes="AA">
                                      <p:cBhvr>
                                        <p:cTn id="10" dur="2000" fill="hold"/>
                                        <p:tgtEl>
                                          <p:spTgt spid="65"/>
                                        </p:tgtEl>
                                        <p:attrNameLst>
                                          <p:attrName>ppt_x</p:attrName>
                                          <p:attrName>ppt_y</p:attrName>
                                        </p:attrNameLst>
                                      </p:cBhvr>
                                      <p:rCtr x="-321" y="4674"/>
                                    </p:animMotion>
                                  </p:childTnLst>
                                </p:cTn>
                              </p:par>
                              <p:par>
                                <p:cTn id="11" presetID="42" presetClass="path" presetSubtype="0" accel="50000" decel="50000" fill="hold" grpId="0" nodeType="withEffect">
                                  <p:stCondLst>
                                    <p:cond delay="0"/>
                                  </p:stCondLst>
                                  <p:childTnLst>
                                    <p:animMotion origin="layout" path="M 4.97676E-6 1.04581E-6 L -0.01139 0.05298 " pathEditMode="relative" rAng="0" ptsTypes="AA">
                                      <p:cBhvr>
                                        <p:cTn id="12" dur="2000" fill="hold"/>
                                        <p:tgtEl>
                                          <p:spTgt spid="68"/>
                                        </p:tgtEl>
                                        <p:attrNameLst>
                                          <p:attrName>ppt_x</p:attrName>
                                          <p:attrName>ppt_y</p:attrName>
                                        </p:attrNameLst>
                                      </p:cBhvr>
                                      <p:rCtr x="-577" y="2638"/>
                                    </p:animMotion>
                                  </p:childTnLst>
                                </p:cTn>
                              </p:par>
                              <p:par>
                                <p:cTn id="13" presetID="42" presetClass="path" presetSubtype="0" accel="50000" decel="50000" fill="hold" grpId="0" nodeType="withEffect">
                                  <p:stCondLst>
                                    <p:cond delay="0"/>
                                  </p:stCondLst>
                                  <p:childTnLst>
                                    <p:animMotion origin="layout" path="M 3.56628E-6 7.31143E-7 L 0.02756 -0.01527 " pathEditMode="relative" rAng="0" ptsTypes="AA">
                                      <p:cBhvr>
                                        <p:cTn id="14" dur="2000" fill="hold"/>
                                        <p:tgtEl>
                                          <p:spTgt spid="69"/>
                                        </p:tgtEl>
                                        <p:attrNameLst>
                                          <p:attrName>ppt_x</p:attrName>
                                          <p:attrName>ppt_y</p:attrName>
                                        </p:attrNameLst>
                                      </p:cBhvr>
                                      <p:rCtr x="1378" y="-764"/>
                                    </p:animMotion>
                                  </p:childTnLst>
                                </p:cTn>
                              </p:par>
                              <p:par>
                                <p:cTn id="15" presetID="42" presetClass="path" presetSubtype="0" accel="50000" decel="50000" fill="hold" grpId="0" nodeType="withEffect">
                                  <p:stCondLst>
                                    <p:cond delay="0"/>
                                  </p:stCondLst>
                                  <p:childTnLst>
                                    <p:animMotion origin="layout" path="M 3.69931E-6 -3.39195E-6 L -0.02116 -0.04164 " pathEditMode="relative" rAng="0" ptsTypes="AA">
                                      <p:cBhvr>
                                        <p:cTn id="16" dur="2000" fill="hold"/>
                                        <p:tgtEl>
                                          <p:spTgt spid="70"/>
                                        </p:tgtEl>
                                        <p:attrNameLst>
                                          <p:attrName>ppt_x</p:attrName>
                                          <p:attrName>ppt_y</p:attrName>
                                        </p:attrNameLst>
                                      </p:cBhvr>
                                      <p:rCtr x="-1058" y="-2082"/>
                                    </p:animMotion>
                                  </p:childTnLst>
                                </p:cTn>
                              </p:par>
                              <p:par>
                                <p:cTn id="17" presetID="42" presetClass="path" presetSubtype="0" accel="50000" decel="50000" fill="hold" grpId="0" nodeType="withEffect">
                                  <p:stCondLst>
                                    <p:cond delay="0"/>
                                  </p:stCondLst>
                                  <p:childTnLst>
                                    <p:animMotion origin="layout" path="M -3.43965E-6 -1.47617E-6 L -0.03237 0.05993 " pathEditMode="relative" rAng="0" ptsTypes="AA">
                                      <p:cBhvr>
                                        <p:cTn id="18" dur="2000" fill="hold"/>
                                        <p:tgtEl>
                                          <p:spTgt spid="71"/>
                                        </p:tgtEl>
                                        <p:attrNameLst>
                                          <p:attrName>ppt_x</p:attrName>
                                          <p:attrName>ppt_y</p:attrName>
                                        </p:attrNameLst>
                                      </p:cBhvr>
                                      <p:rCtr x="-1619" y="2985"/>
                                    </p:animMotion>
                                  </p:childTnLst>
                                </p:cTn>
                              </p:par>
                              <p:par>
                                <p:cTn id="19" presetID="42" presetClass="path" presetSubtype="0" accel="50000" decel="50000" fill="hold" grpId="0" nodeType="withEffect">
                                  <p:stCondLst>
                                    <p:cond delay="0"/>
                                  </p:stCondLst>
                                  <p:childTnLst>
                                    <p:animMotion origin="layout" path="M -4.45584E-7 4.84035E-6 L -0.09088 0.04673 " pathEditMode="relative" rAng="0" ptsTypes="AA">
                                      <p:cBhvr>
                                        <p:cTn id="20" dur="2000" fill="hold"/>
                                        <p:tgtEl>
                                          <p:spTgt spid="72"/>
                                        </p:tgtEl>
                                        <p:attrNameLst>
                                          <p:attrName>ppt_x</p:attrName>
                                          <p:attrName>ppt_y</p:attrName>
                                        </p:attrNameLst>
                                      </p:cBhvr>
                                      <p:rCtr x="-4552" y="2337"/>
                                    </p:animMotion>
                                  </p:childTnLst>
                                </p:cTn>
                              </p:par>
                              <p:par>
                                <p:cTn id="21" presetID="42" presetClass="path" presetSubtype="0" accel="50000" decel="50000" fill="hold" grpId="0" nodeType="withEffect">
                                  <p:stCondLst>
                                    <p:cond delay="0"/>
                                  </p:stCondLst>
                                  <p:childTnLst>
                                    <p:animMotion origin="layout" path="M -2.71999E-6 -4.02591E-7 L -0.01186 0.03239 " pathEditMode="relative" rAng="0" ptsTypes="AA">
                                      <p:cBhvr>
                                        <p:cTn id="22" dur="2000" fill="hold"/>
                                        <p:tgtEl>
                                          <p:spTgt spid="74"/>
                                        </p:tgtEl>
                                        <p:attrNameLst>
                                          <p:attrName>ppt_x</p:attrName>
                                          <p:attrName>ppt_y</p:attrName>
                                        </p:attrNameLst>
                                      </p:cBhvr>
                                      <p:rCtr x="-593" y="1620"/>
                                    </p:animMotion>
                                  </p:childTnLst>
                                </p:cTn>
                              </p:par>
                              <p:par>
                                <p:cTn id="23" presetID="42" presetClass="path" presetSubtype="0" accel="50000" decel="50000" fill="hold" grpId="0" nodeType="withEffect">
                                  <p:stCondLst>
                                    <p:cond delay="0"/>
                                  </p:stCondLst>
                                  <p:childTnLst>
                                    <p:animMotion origin="layout" path="M -2.25998E-6 3.45211E-6 L 0.02613 0.00694 " pathEditMode="relative" rAng="0" ptsTypes="AA">
                                      <p:cBhvr>
                                        <p:cTn id="24" dur="2000" fill="hold"/>
                                        <p:tgtEl>
                                          <p:spTgt spid="89"/>
                                        </p:tgtEl>
                                        <p:attrNameLst>
                                          <p:attrName>ppt_x</p:attrName>
                                          <p:attrName>ppt_y</p:attrName>
                                        </p:attrNameLst>
                                      </p:cBhvr>
                                      <p:rCtr x="1298" y="347"/>
                                    </p:animMotion>
                                  </p:childTnLst>
                                </p:cTn>
                              </p:par>
                              <p:par>
                                <p:cTn id="25" presetID="42" presetClass="path" presetSubtype="0" accel="50000" decel="50000" fill="hold" grpId="0" nodeType="withEffect">
                                  <p:stCondLst>
                                    <p:cond delay="0"/>
                                  </p:stCondLst>
                                  <p:childTnLst>
                                    <p:animMotion origin="layout" path="M -4.32121E-6 4.3267E-6 L 0.0444 0.00601 " pathEditMode="relative" rAng="0" ptsTypes="AA">
                                      <p:cBhvr>
                                        <p:cTn id="26" dur="2000" fill="hold"/>
                                        <p:tgtEl>
                                          <p:spTgt spid="67"/>
                                        </p:tgtEl>
                                        <p:attrNameLst>
                                          <p:attrName>ppt_x</p:attrName>
                                          <p:attrName>ppt_y</p:attrName>
                                        </p:attrNameLst>
                                      </p:cBhvr>
                                      <p:rCtr x="2212" y="301"/>
                                    </p:animMotion>
                                  </p:childTnLst>
                                </p:cTn>
                              </p:par>
                              <p:par>
                                <p:cTn id="27" presetID="42" presetClass="path" presetSubtype="0" accel="50000" decel="50000" fill="hold" grpId="0" nodeType="withEffect">
                                  <p:stCondLst>
                                    <p:cond delay="0"/>
                                  </p:stCondLst>
                                  <p:childTnLst>
                                    <p:animMotion origin="layout" path="M -3.51979E-6 -1.38825E-6 L -0.03317 0.04975 " pathEditMode="relative" rAng="0" ptsTypes="AA">
                                      <p:cBhvr>
                                        <p:cTn id="28" dur="2000" fill="hold"/>
                                        <p:tgtEl>
                                          <p:spTgt spid="73"/>
                                        </p:tgtEl>
                                        <p:attrNameLst>
                                          <p:attrName>ppt_x</p:attrName>
                                          <p:attrName>ppt_y</p:attrName>
                                        </p:attrNameLst>
                                      </p:cBhvr>
                                      <p:rCtr x="-1667" y="2476"/>
                                    </p:animMotion>
                                  </p:childTnLst>
                                </p:cTn>
                              </p:par>
                              <p:par>
                                <p:cTn id="29" presetID="6" presetClass="emph" presetSubtype="0" fill="hold" grpId="1" nodeType="withEffect">
                                  <p:stCondLst>
                                    <p:cond delay="0"/>
                                  </p:stCondLst>
                                  <p:childTnLst>
                                    <p:animScale>
                                      <p:cBhvr>
                                        <p:cTn id="30" dur="2000" fill="hold"/>
                                        <p:tgtEl>
                                          <p:spTgt spid="66"/>
                                        </p:tgtEl>
                                      </p:cBhvr>
                                      <p:by x="80000" y="80000"/>
                                    </p:animScale>
                                  </p:childTnLst>
                                </p:cTn>
                              </p:par>
                              <p:par>
                                <p:cTn id="31" presetID="6" presetClass="emph" presetSubtype="0" fill="hold" grpId="1" nodeType="withEffect">
                                  <p:stCondLst>
                                    <p:cond delay="0"/>
                                  </p:stCondLst>
                                  <p:childTnLst>
                                    <p:animScale>
                                      <p:cBhvr>
                                        <p:cTn id="32" dur="2000" fill="hold"/>
                                        <p:tgtEl>
                                          <p:spTgt spid="90"/>
                                        </p:tgtEl>
                                      </p:cBhvr>
                                      <p:by x="80000" y="80000"/>
                                    </p:animScale>
                                  </p:childTnLst>
                                </p:cTn>
                              </p:par>
                              <p:par>
                                <p:cTn id="33" presetID="6" presetClass="emph" presetSubtype="0" fill="hold" grpId="1" nodeType="withEffect">
                                  <p:stCondLst>
                                    <p:cond delay="0"/>
                                  </p:stCondLst>
                                  <p:childTnLst>
                                    <p:animScale>
                                      <p:cBhvr>
                                        <p:cTn id="34" dur="2000" fill="hold"/>
                                        <p:tgtEl>
                                          <p:spTgt spid="71"/>
                                        </p:tgtEl>
                                      </p:cBhvr>
                                      <p:by x="120000" y="120000"/>
                                    </p:animScale>
                                  </p:childTnLst>
                                </p:cTn>
                              </p:par>
                              <p:par>
                                <p:cTn id="35" presetID="6" presetClass="emph" presetSubtype="0" fill="hold" grpId="1" nodeType="withEffect">
                                  <p:stCondLst>
                                    <p:cond delay="0"/>
                                  </p:stCondLst>
                                  <p:childTnLst>
                                    <p:animScale>
                                      <p:cBhvr>
                                        <p:cTn id="36" dur="2000" fill="hold"/>
                                        <p:tgtEl>
                                          <p:spTgt spid="72"/>
                                        </p:tgtEl>
                                      </p:cBhvr>
                                      <p:by x="70000" y="70000"/>
                                    </p:animScale>
                                  </p:childTnLst>
                                </p:cTn>
                              </p:par>
                              <p:par>
                                <p:cTn id="37" presetID="6" presetClass="emph" presetSubtype="0" fill="hold" grpId="1" nodeType="withEffect">
                                  <p:stCondLst>
                                    <p:cond delay="0"/>
                                  </p:stCondLst>
                                  <p:childTnLst>
                                    <p:animScale>
                                      <p:cBhvr>
                                        <p:cTn id="38" dur="2000" fill="hold"/>
                                        <p:tgtEl>
                                          <p:spTgt spid="89"/>
                                        </p:tgtEl>
                                      </p:cBhvr>
                                      <p:by x="70000" y="70000"/>
                                    </p:animScale>
                                  </p:childTnLst>
                                </p:cTn>
                              </p:par>
                              <p:par>
                                <p:cTn id="39" presetID="6" presetClass="emph" presetSubtype="0" fill="hold" grpId="1" nodeType="withEffect">
                                  <p:stCondLst>
                                    <p:cond delay="0"/>
                                  </p:stCondLst>
                                  <p:childTnLst>
                                    <p:animScale>
                                      <p:cBhvr>
                                        <p:cTn id="40" dur="2000" fill="hold"/>
                                        <p:tgtEl>
                                          <p:spTgt spid="65"/>
                                        </p:tgtEl>
                                      </p:cBhvr>
                                      <p:by x="50000" y="50000"/>
                                    </p:animScale>
                                  </p:childTnLst>
                                </p:cTn>
                              </p:par>
                              <p:par>
                                <p:cTn id="41" presetID="6" presetClass="emph" presetSubtype="0" fill="hold" grpId="1" nodeType="withEffect">
                                  <p:stCondLst>
                                    <p:cond delay="0"/>
                                  </p:stCondLst>
                                  <p:childTnLst>
                                    <p:animScale>
                                      <p:cBhvr>
                                        <p:cTn id="42" dur="2000" fill="hold"/>
                                        <p:tgtEl>
                                          <p:spTgt spid="70"/>
                                        </p:tgtEl>
                                      </p:cBhvr>
                                      <p:by x="50000" y="50000"/>
                                    </p:animScale>
                                  </p:childTnLst>
                                </p:cTn>
                              </p:par>
                              <p:par>
                                <p:cTn id="43" presetID="6" presetClass="emph" presetSubtype="0" fill="hold" grpId="1" nodeType="withEffect">
                                  <p:stCondLst>
                                    <p:cond delay="0"/>
                                  </p:stCondLst>
                                  <p:childTnLst>
                                    <p:animScale>
                                      <p:cBhvr>
                                        <p:cTn id="44" dur="2000" fill="hold"/>
                                        <p:tgtEl>
                                          <p:spTgt spid="73"/>
                                        </p:tgtEl>
                                      </p:cBhvr>
                                      <p:by x="50000" y="50000"/>
                                    </p:animScale>
                                  </p:childTnLst>
                                </p:cTn>
                              </p:par>
                              <p:par>
                                <p:cTn id="45" presetID="42" presetClass="path" presetSubtype="0" accel="50000" decel="50000" fill="hold" grpId="0" nodeType="withEffect">
                                  <p:stCondLst>
                                    <p:cond delay="0"/>
                                  </p:stCondLst>
                                  <p:childTnLst>
                                    <p:animMotion origin="layout" path="M -0.00096 -4.81481E-6 L -0.08558 -0.00277 " pathEditMode="relative" rAng="0" ptsTypes="AA">
                                      <p:cBhvr>
                                        <p:cTn id="46" dur="2000" fill="hold"/>
                                        <p:tgtEl>
                                          <p:spTgt spid="91"/>
                                        </p:tgtEl>
                                        <p:attrNameLst>
                                          <p:attrName>ppt_x</p:attrName>
                                          <p:attrName>ppt_y</p:attrName>
                                        </p:attrNameLst>
                                      </p:cBhvr>
                                      <p:rCtr x="-4231" y="-13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 grpId="0" animBg="1"/>
      <p:bldP spid="65" grpId="1" animBg="1"/>
      <p:bldP spid="66" grpId="0" animBg="1"/>
      <p:bldP spid="66" grpId="1" animBg="1"/>
      <p:bldP spid="67" grpId="0" animBg="1"/>
      <p:bldP spid="68" grpId="0" animBg="1"/>
      <p:bldP spid="69" grpId="0" animBg="1"/>
      <p:bldP spid="70" grpId="0" animBg="1"/>
      <p:bldP spid="70" grpId="1" animBg="1"/>
      <p:bldP spid="71" grpId="0" animBg="1"/>
      <p:bldP spid="71" grpId="1" animBg="1"/>
      <p:bldP spid="72" grpId="0" animBg="1"/>
      <p:bldP spid="72" grpId="1" animBg="1"/>
      <p:bldP spid="73" grpId="0" animBg="1"/>
      <p:bldP spid="73" grpId="1" animBg="1"/>
      <p:bldP spid="74" grpId="0" animBg="1"/>
      <p:bldP spid="89" grpId="0" animBg="1"/>
      <p:bldP spid="89" grpId="1" animBg="1"/>
      <p:bldP spid="90" grpId="0" animBg="1"/>
      <p:bldP spid="90" grpId="1" animBg="1"/>
      <p:bldP spid="91"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2"/>
          <p:cNvSpPr txBox="1">
            <a:spLocks/>
          </p:cNvSpPr>
          <p:nvPr/>
        </p:nvSpPr>
        <p:spPr>
          <a:xfrm>
            <a:off x="249072" y="390768"/>
            <a:ext cx="9325233" cy="697671"/>
          </a:xfrm>
          <a:prstGeom prst="rect">
            <a:avLst/>
          </a:prstGeom>
        </p:spPr>
        <p:txBody>
          <a:bodyPr anchor="t" anchorCtr="0"/>
          <a:lstStyle>
            <a:lvl1pPr marL="0" indent="0" algn="l" defTabSz="914400" rtl="0" eaLnBrk="1" latinLnBrk="0" hangingPunct="1">
              <a:spcBef>
                <a:spcPts val="200"/>
              </a:spcBef>
              <a:buClr>
                <a:schemeClr val="tx2"/>
              </a:buClr>
              <a:buFont typeface="Wingdings" pitchFamily="2" charset="2"/>
              <a:buNone/>
              <a:defRPr sz="1600" kern="1200">
                <a:solidFill>
                  <a:schemeClr val="tx2"/>
                </a:solidFill>
                <a:latin typeface="+mn-lt"/>
                <a:ea typeface="+mn-ea"/>
                <a:cs typeface="+mn-cs"/>
              </a:defRPr>
            </a:lvl1pPr>
            <a:lvl2pPr marL="180975" indent="-180975" algn="l" defTabSz="914400" rtl="0" eaLnBrk="1" latinLnBrk="0" hangingPunct="1">
              <a:spcBef>
                <a:spcPts val="200"/>
              </a:spcBef>
              <a:buClr>
                <a:schemeClr val="tx2"/>
              </a:buClr>
              <a:buFont typeface="Wingdings" pitchFamily="2" charset="2"/>
              <a:buChar char="§"/>
              <a:defRPr sz="1600" kern="1200">
                <a:solidFill>
                  <a:schemeClr val="tx2"/>
                </a:solidFill>
                <a:latin typeface="+mn-lt"/>
                <a:ea typeface="+mn-ea"/>
                <a:cs typeface="+mn-cs"/>
              </a:defRPr>
            </a:lvl2pPr>
            <a:lvl3pPr marL="355600" indent="-174625"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3pPr>
            <a:lvl4pPr marL="538163" indent="-182563"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4pPr>
            <a:lvl5pPr marL="719138" indent="-180975" algn="l" defTabSz="914400" rtl="0" eaLnBrk="1" latinLnBrk="0" hangingPunct="1">
              <a:spcBef>
                <a:spcPts val="200"/>
              </a:spcBef>
              <a:buClr>
                <a:schemeClr val="tx2"/>
              </a:buClr>
              <a:buFont typeface="Symbol" pitchFamily="18" charset="2"/>
              <a:buChar char="-"/>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200" b="1" dirty="0">
                <a:solidFill>
                  <a:schemeClr val="accent6"/>
                </a:solidFill>
              </a:rPr>
              <a:t>Transparency and new market pressure </a:t>
            </a:r>
            <a:r>
              <a:rPr lang="en-US" sz="3200" b="1" dirty="0" smtClean="0">
                <a:solidFill>
                  <a:schemeClr val="accent6"/>
                </a:solidFill>
              </a:rPr>
              <a:t>enable cost differentiation according </a:t>
            </a:r>
            <a:r>
              <a:rPr lang="en-US" sz="3200" b="1" dirty="0">
                <a:solidFill>
                  <a:schemeClr val="accent6"/>
                </a:solidFill>
              </a:rPr>
              <a:t>to service levels</a:t>
            </a:r>
          </a:p>
        </p:txBody>
      </p:sp>
      <p:grpSp>
        <p:nvGrpSpPr>
          <p:cNvPr id="16" name="Gruppieren 5"/>
          <p:cNvGrpSpPr/>
          <p:nvPr/>
        </p:nvGrpSpPr>
        <p:grpSpPr>
          <a:xfrm>
            <a:off x="375170" y="1707533"/>
            <a:ext cx="8948823" cy="4178403"/>
            <a:chOff x="375170" y="1579653"/>
            <a:chExt cx="8948823" cy="4178403"/>
          </a:xfrm>
        </p:grpSpPr>
        <p:sp>
          <p:nvSpPr>
            <p:cNvPr id="17" name="Rechteck 2"/>
            <p:cNvSpPr/>
            <p:nvPr/>
          </p:nvSpPr>
          <p:spPr>
            <a:xfrm>
              <a:off x="2529943" y="4310996"/>
              <a:ext cx="454228" cy="693408"/>
            </a:xfrm>
            <a:prstGeom prst="rect">
              <a:avLst/>
            </a:prstGeom>
            <a:noFill/>
            <a:ln w="19050">
              <a:solidFill>
                <a:srgbClr val="006699"/>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18" name="Rechteck 76"/>
            <p:cNvSpPr/>
            <p:nvPr/>
          </p:nvSpPr>
          <p:spPr>
            <a:xfrm>
              <a:off x="5934750" y="1937099"/>
              <a:ext cx="309464" cy="485345"/>
            </a:xfrm>
            <a:prstGeom prst="rect">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grpSp>
          <p:nvGrpSpPr>
            <p:cNvPr id="19" name="Gruppieren 3"/>
            <p:cNvGrpSpPr/>
            <p:nvPr/>
          </p:nvGrpSpPr>
          <p:grpSpPr>
            <a:xfrm>
              <a:off x="375170" y="1579653"/>
              <a:ext cx="8948823" cy="4178403"/>
              <a:chOff x="375170" y="1579653"/>
              <a:chExt cx="8948823" cy="4178403"/>
            </a:xfrm>
          </p:grpSpPr>
          <p:sp>
            <p:nvSpPr>
              <p:cNvPr id="20" name="Rechteck 68"/>
              <p:cNvSpPr/>
              <p:nvPr/>
            </p:nvSpPr>
            <p:spPr>
              <a:xfrm>
                <a:off x="4009130" y="1579653"/>
                <a:ext cx="274319" cy="420085"/>
              </a:xfrm>
              <a:prstGeom prst="rect">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21" name="Rechteck 69"/>
              <p:cNvSpPr/>
              <p:nvPr/>
            </p:nvSpPr>
            <p:spPr>
              <a:xfrm>
                <a:off x="5114831" y="4310996"/>
                <a:ext cx="195139" cy="302998"/>
              </a:xfrm>
              <a:prstGeom prst="rect">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22" name="Rechteck 70"/>
              <p:cNvSpPr/>
              <p:nvPr/>
            </p:nvSpPr>
            <p:spPr>
              <a:xfrm>
                <a:off x="2353232" y="3747654"/>
                <a:ext cx="244378" cy="380825"/>
              </a:xfrm>
              <a:prstGeom prst="rect">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23" name="Rechteck 71"/>
              <p:cNvSpPr/>
              <p:nvPr/>
            </p:nvSpPr>
            <p:spPr>
              <a:xfrm>
                <a:off x="6453148" y="4618292"/>
                <a:ext cx="444997" cy="683343"/>
              </a:xfrm>
              <a:prstGeom prst="rect">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24" name="Rechteck 72"/>
              <p:cNvSpPr/>
              <p:nvPr/>
            </p:nvSpPr>
            <p:spPr>
              <a:xfrm>
                <a:off x="6678387" y="3036976"/>
                <a:ext cx="244378" cy="380825"/>
              </a:xfrm>
              <a:prstGeom prst="rect">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25" name="Rechteck 73"/>
              <p:cNvSpPr/>
              <p:nvPr/>
            </p:nvSpPr>
            <p:spPr>
              <a:xfrm>
                <a:off x="4093809" y="2581168"/>
                <a:ext cx="309464" cy="485345"/>
              </a:xfrm>
              <a:prstGeom prst="rect">
                <a:avLst/>
              </a:prstGeom>
              <a:noFill/>
              <a:ln w="19050">
                <a:solidFill>
                  <a:srgbClr val="006699"/>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26" name="Rechteck 75"/>
              <p:cNvSpPr/>
              <p:nvPr/>
            </p:nvSpPr>
            <p:spPr>
              <a:xfrm>
                <a:off x="3173343" y="5239759"/>
                <a:ext cx="315235" cy="496402"/>
              </a:xfrm>
              <a:prstGeom prst="rect">
                <a:avLst/>
              </a:prstGeom>
              <a:noFill/>
              <a:ln w="19050">
                <a:solidFill>
                  <a:srgbClr val="006699"/>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27" name="Rechteck 77"/>
              <p:cNvSpPr/>
              <p:nvPr/>
            </p:nvSpPr>
            <p:spPr>
              <a:xfrm>
                <a:off x="5561388" y="5272711"/>
                <a:ext cx="244378" cy="380825"/>
              </a:xfrm>
              <a:prstGeom prst="rect">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28" name="Rechteck 114"/>
              <p:cNvSpPr/>
              <p:nvPr/>
            </p:nvSpPr>
            <p:spPr>
              <a:xfrm>
                <a:off x="2460133" y="1822682"/>
                <a:ext cx="475826" cy="693408"/>
              </a:xfrm>
              <a:prstGeom prst="rect">
                <a:avLst/>
              </a:prstGeom>
              <a:noFill/>
              <a:ln w="19050">
                <a:solidFill>
                  <a:srgbClr val="006699"/>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29" name="Rechteck 115"/>
              <p:cNvSpPr/>
              <p:nvPr/>
            </p:nvSpPr>
            <p:spPr>
              <a:xfrm>
                <a:off x="5586007" y="3227388"/>
                <a:ext cx="195139" cy="302998"/>
              </a:xfrm>
              <a:prstGeom prst="rect">
                <a:avLst/>
              </a:prstGeom>
              <a:noFill/>
              <a:ln w="19050">
                <a:solidFill>
                  <a:srgbClr val="006699"/>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30" name="Rechteck 116"/>
              <p:cNvSpPr/>
              <p:nvPr/>
            </p:nvSpPr>
            <p:spPr>
              <a:xfrm>
                <a:off x="1676288" y="2505568"/>
                <a:ext cx="195139" cy="302998"/>
              </a:xfrm>
              <a:prstGeom prst="rect">
                <a:avLst/>
              </a:prstGeom>
              <a:noFill/>
              <a:ln w="19050">
                <a:solidFill>
                  <a:srgbClr val="006699"/>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31" name="Rechteck 117"/>
              <p:cNvSpPr/>
              <p:nvPr/>
            </p:nvSpPr>
            <p:spPr>
              <a:xfrm>
                <a:off x="7313973" y="3316612"/>
                <a:ext cx="244378" cy="380825"/>
              </a:xfrm>
              <a:prstGeom prst="rect">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32" name="Rechteck 118"/>
              <p:cNvSpPr/>
              <p:nvPr/>
            </p:nvSpPr>
            <p:spPr>
              <a:xfrm>
                <a:off x="1770378" y="4619140"/>
                <a:ext cx="195139" cy="302998"/>
              </a:xfrm>
              <a:prstGeom prst="rect">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33" name="Rechteck 119"/>
              <p:cNvSpPr/>
              <p:nvPr/>
            </p:nvSpPr>
            <p:spPr>
              <a:xfrm>
                <a:off x="5991912" y="4478539"/>
                <a:ext cx="195139" cy="302998"/>
              </a:xfrm>
              <a:prstGeom prst="rect">
                <a:avLst/>
              </a:prstGeom>
              <a:noFill/>
              <a:ln w="19050">
                <a:solidFill>
                  <a:srgbClr val="006699"/>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34" name="Rechteck 120"/>
              <p:cNvSpPr/>
              <p:nvPr/>
            </p:nvSpPr>
            <p:spPr>
              <a:xfrm>
                <a:off x="7633479" y="4774527"/>
                <a:ext cx="195139" cy="302998"/>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35" name="Rechteck 121"/>
              <p:cNvSpPr/>
              <p:nvPr/>
            </p:nvSpPr>
            <p:spPr>
              <a:xfrm>
                <a:off x="1355928" y="3993652"/>
                <a:ext cx="195139" cy="302998"/>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36" name="Rechteck 122"/>
              <p:cNvSpPr/>
              <p:nvPr/>
            </p:nvSpPr>
            <p:spPr>
              <a:xfrm>
                <a:off x="6934939" y="2179772"/>
                <a:ext cx="309464" cy="485345"/>
              </a:xfrm>
              <a:prstGeom prst="rect">
                <a:avLst/>
              </a:prstGeom>
              <a:noFill/>
              <a:ln w="19050">
                <a:solidFill>
                  <a:srgbClr val="006699"/>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37" name="Rechteck 123"/>
              <p:cNvSpPr/>
              <p:nvPr/>
            </p:nvSpPr>
            <p:spPr>
              <a:xfrm>
                <a:off x="1355928" y="5272711"/>
                <a:ext cx="309464" cy="485345"/>
              </a:xfrm>
              <a:prstGeom prst="rect">
                <a:avLst/>
              </a:prstGeom>
              <a:noFill/>
              <a:ln w="19050">
                <a:solidFill>
                  <a:srgbClr val="006699"/>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38" name="Rechteck 124"/>
              <p:cNvSpPr/>
              <p:nvPr/>
            </p:nvSpPr>
            <p:spPr>
              <a:xfrm>
                <a:off x="7731048" y="4057340"/>
                <a:ext cx="309464" cy="485345"/>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39" name="Rechteck 125"/>
              <p:cNvSpPr/>
              <p:nvPr/>
            </p:nvSpPr>
            <p:spPr>
              <a:xfrm>
                <a:off x="2876733" y="3151624"/>
                <a:ext cx="244378" cy="380825"/>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40" name="Rechteck 126"/>
              <p:cNvSpPr/>
              <p:nvPr/>
            </p:nvSpPr>
            <p:spPr>
              <a:xfrm>
                <a:off x="7813956" y="2141944"/>
                <a:ext cx="421482" cy="675757"/>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41" name="Rechteck 127"/>
              <p:cNvSpPr/>
              <p:nvPr/>
            </p:nvSpPr>
            <p:spPr>
              <a:xfrm>
                <a:off x="8165543" y="5184009"/>
                <a:ext cx="244378" cy="380825"/>
              </a:xfrm>
              <a:prstGeom prst="rect">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42" name="Rechteck 128"/>
              <p:cNvSpPr/>
              <p:nvPr/>
            </p:nvSpPr>
            <p:spPr>
              <a:xfrm>
                <a:off x="375170" y="4441229"/>
                <a:ext cx="244378" cy="380825"/>
              </a:xfrm>
              <a:prstGeom prst="rect">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43" name="Rechteck 129"/>
              <p:cNvSpPr/>
              <p:nvPr/>
            </p:nvSpPr>
            <p:spPr>
              <a:xfrm>
                <a:off x="8713048" y="3404346"/>
                <a:ext cx="244378" cy="380825"/>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44" name="Rechteck 130"/>
              <p:cNvSpPr/>
              <p:nvPr/>
            </p:nvSpPr>
            <p:spPr>
              <a:xfrm>
                <a:off x="8957426" y="1904293"/>
                <a:ext cx="244378" cy="380825"/>
              </a:xfrm>
              <a:prstGeom prst="rect">
                <a:avLst/>
              </a:prstGeom>
              <a:noFill/>
              <a:ln w="19050">
                <a:solidFill>
                  <a:srgbClr val="006699"/>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45" name="Rechteck 131"/>
              <p:cNvSpPr/>
              <p:nvPr/>
            </p:nvSpPr>
            <p:spPr>
              <a:xfrm>
                <a:off x="612333" y="1959991"/>
                <a:ext cx="244378" cy="380825"/>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46" name="Rechteck 132"/>
              <p:cNvSpPr/>
              <p:nvPr/>
            </p:nvSpPr>
            <p:spPr>
              <a:xfrm>
                <a:off x="628420" y="5151842"/>
                <a:ext cx="244378" cy="380825"/>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47" name="Rechteck 133"/>
              <p:cNvSpPr/>
              <p:nvPr/>
            </p:nvSpPr>
            <p:spPr>
              <a:xfrm>
                <a:off x="9079615" y="4519916"/>
                <a:ext cx="244378" cy="380825"/>
              </a:xfrm>
              <a:prstGeom prst="rect">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grpSp>
      </p:grpSp>
      <p:sp>
        <p:nvSpPr>
          <p:cNvPr id="48" name="Rechteck 53"/>
          <p:cNvSpPr/>
          <p:nvPr/>
        </p:nvSpPr>
        <p:spPr>
          <a:xfrm>
            <a:off x="4296671" y="4408245"/>
            <a:ext cx="309464" cy="478621"/>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49" name="Rechteck 54"/>
          <p:cNvSpPr>
            <a:spLocks noChangeAspect="1"/>
          </p:cNvSpPr>
          <p:nvPr/>
        </p:nvSpPr>
        <p:spPr>
          <a:xfrm>
            <a:off x="3972695" y="2177611"/>
            <a:ext cx="154732" cy="239311"/>
          </a:xfrm>
          <a:prstGeom prst="rect">
            <a:avLst/>
          </a:prstGeom>
          <a:no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50" name="Rechteck 55"/>
          <p:cNvSpPr>
            <a:spLocks noChangeAspect="1"/>
          </p:cNvSpPr>
          <p:nvPr/>
        </p:nvSpPr>
        <p:spPr>
          <a:xfrm>
            <a:off x="4127972" y="3435408"/>
            <a:ext cx="371359" cy="574345"/>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51" name="Rechteck 57"/>
          <p:cNvSpPr>
            <a:spLocks noChangeAspect="1"/>
          </p:cNvSpPr>
          <p:nvPr/>
        </p:nvSpPr>
        <p:spPr>
          <a:xfrm>
            <a:off x="6174059" y="2943554"/>
            <a:ext cx="250667" cy="387683"/>
          </a:xfrm>
          <a:prstGeom prst="rect">
            <a:avLst/>
          </a:prstGeom>
          <a:no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52" name="Rechteck 58"/>
          <p:cNvSpPr/>
          <p:nvPr/>
        </p:nvSpPr>
        <p:spPr>
          <a:xfrm>
            <a:off x="3062762" y="2776518"/>
            <a:ext cx="247571" cy="382897"/>
          </a:xfrm>
          <a:prstGeom prst="rect">
            <a:avLst/>
          </a:prstGeom>
          <a:no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53" name="Rechteck 59"/>
          <p:cNvSpPr>
            <a:spLocks noChangeAspect="1"/>
          </p:cNvSpPr>
          <p:nvPr/>
        </p:nvSpPr>
        <p:spPr>
          <a:xfrm>
            <a:off x="4703855" y="2681229"/>
            <a:ext cx="154732" cy="239311"/>
          </a:xfrm>
          <a:prstGeom prst="rect">
            <a:avLst/>
          </a:prstGeom>
          <a:no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54" name="Rechteck 60"/>
          <p:cNvSpPr/>
          <p:nvPr/>
        </p:nvSpPr>
        <p:spPr>
          <a:xfrm>
            <a:off x="5441255" y="2228248"/>
            <a:ext cx="309464" cy="478621"/>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55" name="Rechteck 61"/>
          <p:cNvSpPr/>
          <p:nvPr/>
        </p:nvSpPr>
        <p:spPr>
          <a:xfrm>
            <a:off x="6160090" y="3863370"/>
            <a:ext cx="309464" cy="478621"/>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56" name="Rechteck 62"/>
          <p:cNvSpPr>
            <a:spLocks noChangeAspect="1"/>
          </p:cNvSpPr>
          <p:nvPr/>
        </p:nvSpPr>
        <p:spPr>
          <a:xfrm>
            <a:off x="5684962" y="4877415"/>
            <a:ext cx="216625" cy="335035"/>
          </a:xfrm>
          <a:prstGeom prst="rect">
            <a:avLst/>
          </a:prstGeom>
          <a:no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57" name="Rechteck 63"/>
          <p:cNvSpPr/>
          <p:nvPr/>
        </p:nvSpPr>
        <p:spPr>
          <a:xfrm>
            <a:off x="5057669" y="3798951"/>
            <a:ext cx="309464" cy="478621"/>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58" name="Rechteck 64"/>
          <p:cNvSpPr>
            <a:spLocks noChangeAspect="1"/>
          </p:cNvSpPr>
          <p:nvPr/>
        </p:nvSpPr>
        <p:spPr>
          <a:xfrm>
            <a:off x="3443484" y="4995650"/>
            <a:ext cx="154732" cy="239311"/>
          </a:xfrm>
          <a:prstGeom prst="rect">
            <a:avLst/>
          </a:prstGeom>
          <a:no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59" name="Rechteck 65"/>
          <p:cNvSpPr>
            <a:spLocks noChangeAspect="1"/>
          </p:cNvSpPr>
          <p:nvPr/>
        </p:nvSpPr>
        <p:spPr>
          <a:xfrm>
            <a:off x="4641563" y="5366843"/>
            <a:ext cx="216622" cy="335035"/>
          </a:xfrm>
          <a:prstGeom prst="rect">
            <a:avLst/>
          </a:prstGeom>
          <a:no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60" name="Rechteck 67"/>
          <p:cNvSpPr>
            <a:spLocks noChangeAspect="1"/>
          </p:cNvSpPr>
          <p:nvPr/>
        </p:nvSpPr>
        <p:spPr>
          <a:xfrm>
            <a:off x="2935959" y="3935719"/>
            <a:ext cx="216625" cy="335035"/>
          </a:xfrm>
          <a:prstGeom prst="rect">
            <a:avLst/>
          </a:prstGeom>
          <a:no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Tree>
    <p:extLst>
      <p:ext uri="{BB962C8B-B14F-4D97-AF65-F5344CB8AC3E}">
        <p14:creationId xmlns:p14="http://schemas.microsoft.com/office/powerpoint/2010/main" val="563272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20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p:cNvSpPr>
            <a:spLocks noGrp="1"/>
          </p:cNvSpPr>
          <p:nvPr>
            <p:ph type="sldNum" sz="quarter" idx="12"/>
          </p:nvPr>
        </p:nvSpPr>
        <p:spPr/>
        <p:txBody>
          <a:bodyPr/>
          <a:lstStyle/>
          <a:p>
            <a:fld id="{4AD1E780-DE1C-4ECA-B5E5-863D0BC53287}" type="slidenum">
              <a:rPr lang="de-DE" smtClean="0"/>
              <a:pPr/>
              <a:t>26</a:t>
            </a:fld>
            <a:endParaRPr lang="de-DE" dirty="0"/>
          </a:p>
        </p:txBody>
      </p:sp>
      <p:sp>
        <p:nvSpPr>
          <p:cNvPr id="3" name="Textplatzhalter 2"/>
          <p:cNvSpPr>
            <a:spLocks noGrp="1"/>
          </p:cNvSpPr>
          <p:nvPr>
            <p:ph type="body" sz="quarter" idx="13"/>
          </p:nvPr>
        </p:nvSpPr>
        <p:spPr>
          <a:xfrm>
            <a:off x="356256" y="358547"/>
            <a:ext cx="8885499" cy="697671"/>
          </a:xfrm>
        </p:spPr>
        <p:txBody>
          <a:bodyPr anchor="t" anchorCtr="0"/>
          <a:lstStyle/>
          <a:p>
            <a:r>
              <a:rPr lang="de-DE" sz="3600" b="1" dirty="0" err="1" smtClean="0">
                <a:solidFill>
                  <a:schemeClr val="accent6"/>
                </a:solidFill>
              </a:rPr>
              <a:t>If</a:t>
            </a:r>
            <a:r>
              <a:rPr lang="de-DE" sz="3600" b="1" dirty="0" smtClean="0">
                <a:solidFill>
                  <a:schemeClr val="accent6"/>
                </a:solidFill>
              </a:rPr>
              <a:t> </a:t>
            </a:r>
            <a:r>
              <a:rPr lang="de-DE" sz="3600" b="1" dirty="0" err="1" smtClean="0">
                <a:solidFill>
                  <a:schemeClr val="accent6"/>
                </a:solidFill>
              </a:rPr>
              <a:t>necessary</a:t>
            </a:r>
            <a:r>
              <a:rPr lang="de-DE" sz="3600" b="1" dirty="0" smtClean="0">
                <a:solidFill>
                  <a:schemeClr val="accent6"/>
                </a:solidFill>
              </a:rPr>
              <a:t>, </a:t>
            </a:r>
            <a:r>
              <a:rPr lang="de-DE" sz="3600" b="1" dirty="0" err="1" smtClean="0">
                <a:solidFill>
                  <a:schemeClr val="accent6"/>
                </a:solidFill>
              </a:rPr>
              <a:t>step</a:t>
            </a:r>
            <a:r>
              <a:rPr lang="de-DE" sz="3600" b="1" dirty="0" smtClean="0">
                <a:solidFill>
                  <a:schemeClr val="accent6"/>
                </a:solidFill>
              </a:rPr>
              <a:t> </a:t>
            </a:r>
            <a:r>
              <a:rPr lang="de-DE" sz="3600" b="1" dirty="0" err="1" smtClean="0">
                <a:solidFill>
                  <a:schemeClr val="accent6"/>
                </a:solidFill>
              </a:rPr>
              <a:t>away</a:t>
            </a:r>
            <a:r>
              <a:rPr lang="de-DE" sz="3600" b="1" dirty="0" smtClean="0">
                <a:solidFill>
                  <a:schemeClr val="accent6"/>
                </a:solidFill>
              </a:rPr>
              <a:t> from </a:t>
            </a:r>
            <a:r>
              <a:rPr lang="de-DE" sz="3600" b="1" dirty="0" err="1" smtClean="0">
                <a:solidFill>
                  <a:schemeClr val="accent6"/>
                </a:solidFill>
              </a:rPr>
              <a:t>the</a:t>
            </a:r>
            <a:r>
              <a:rPr lang="de-DE" sz="3600" b="1" dirty="0" smtClean="0">
                <a:solidFill>
                  <a:schemeClr val="accent6"/>
                </a:solidFill>
              </a:rPr>
              <a:t> </a:t>
            </a:r>
            <a:r>
              <a:rPr lang="de-DE" sz="3600" b="1" dirty="0" err="1" smtClean="0">
                <a:solidFill>
                  <a:schemeClr val="accent6"/>
                </a:solidFill>
              </a:rPr>
              <a:t>table</a:t>
            </a:r>
            <a:endParaRPr lang="de-DE" sz="3600" b="1" dirty="0" smtClean="0">
              <a:solidFill>
                <a:schemeClr val="accent6"/>
              </a:solidFill>
            </a:endParaRPr>
          </a:p>
          <a:p>
            <a:endParaRPr lang="de-DE" sz="3600" dirty="0" smtClean="0"/>
          </a:p>
        </p:txBody>
      </p:sp>
      <p:pic>
        <p:nvPicPr>
          <p:cNvPr id="6" name="Picture 5"/>
          <p:cNvPicPr>
            <a:picLocks noChangeAspect="1"/>
          </p:cNvPicPr>
          <p:nvPr/>
        </p:nvPicPr>
        <p:blipFill>
          <a:blip r:embed="rId3"/>
          <a:stretch>
            <a:fillRect/>
          </a:stretch>
        </p:blipFill>
        <p:spPr>
          <a:xfrm>
            <a:off x="1046778" y="2031247"/>
            <a:ext cx="5878513" cy="4645196"/>
          </a:xfrm>
          <a:prstGeom prst="rect">
            <a:avLst/>
          </a:prstGeom>
        </p:spPr>
      </p:pic>
      <p:pic>
        <p:nvPicPr>
          <p:cNvPr id="11" name="Picture 10"/>
          <p:cNvPicPr>
            <a:picLocks noChangeAspect="1"/>
          </p:cNvPicPr>
          <p:nvPr/>
        </p:nvPicPr>
        <p:blipFill>
          <a:blip r:embed="rId4"/>
          <a:stretch>
            <a:fillRect/>
          </a:stretch>
        </p:blipFill>
        <p:spPr>
          <a:xfrm>
            <a:off x="7534190" y="4353845"/>
            <a:ext cx="1671814" cy="574013"/>
          </a:xfrm>
          <a:prstGeom prst="rect">
            <a:avLst/>
          </a:prstGeom>
        </p:spPr>
      </p:pic>
      <p:pic>
        <p:nvPicPr>
          <p:cNvPr id="12" name="Picture 11"/>
          <p:cNvPicPr>
            <a:picLocks noChangeAspect="1"/>
          </p:cNvPicPr>
          <p:nvPr/>
        </p:nvPicPr>
        <p:blipFill>
          <a:blip r:embed="rId5"/>
          <a:stretch>
            <a:fillRect/>
          </a:stretch>
        </p:blipFill>
        <p:spPr>
          <a:xfrm>
            <a:off x="991216" y="971994"/>
            <a:ext cx="5934075" cy="895350"/>
          </a:xfrm>
          <a:prstGeom prst="rect">
            <a:avLst/>
          </a:prstGeom>
        </p:spPr>
      </p:pic>
      <p:sp>
        <p:nvSpPr>
          <p:cNvPr id="13" name="TextBox 12"/>
          <p:cNvSpPr txBox="1"/>
          <p:nvPr/>
        </p:nvSpPr>
        <p:spPr>
          <a:xfrm>
            <a:off x="7514917" y="5000978"/>
            <a:ext cx="2164376" cy="769441"/>
          </a:xfrm>
          <a:prstGeom prst="rect">
            <a:avLst/>
          </a:prstGeom>
          <a:noFill/>
        </p:spPr>
        <p:txBody>
          <a:bodyPr wrap="square" rtlCol="0">
            <a:spAutoFit/>
          </a:bodyPr>
          <a:lstStyle/>
          <a:p>
            <a:r>
              <a:rPr lang="en-GB" sz="1100" dirty="0">
                <a:hlinkClick r:id="rId6"/>
              </a:rPr>
              <a:t>https://</a:t>
            </a:r>
            <a:r>
              <a:rPr lang="en-GB" sz="1100" dirty="0" smtClean="0">
                <a:hlinkClick r:id="rId6"/>
              </a:rPr>
              <a:t>www.timeshighereducation.com/news/max-planck-society-cancels-elsevier-subscription-over-open-access</a:t>
            </a:r>
            <a:r>
              <a:rPr lang="en-GB" sz="1100" dirty="0" smtClean="0"/>
              <a:t> </a:t>
            </a:r>
            <a:endParaRPr lang="en-GB" sz="1100" dirty="0"/>
          </a:p>
        </p:txBody>
      </p:sp>
    </p:spTree>
    <p:extLst>
      <p:ext uri="{BB962C8B-B14F-4D97-AF65-F5344CB8AC3E}">
        <p14:creationId xmlns:p14="http://schemas.microsoft.com/office/powerpoint/2010/main" val="2376257243"/>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p:cNvSpPr>
            <a:spLocks noGrp="1"/>
          </p:cNvSpPr>
          <p:nvPr>
            <p:ph type="sldNum" sz="quarter" idx="12"/>
          </p:nvPr>
        </p:nvSpPr>
        <p:spPr/>
        <p:txBody>
          <a:bodyPr/>
          <a:lstStyle/>
          <a:p>
            <a:fld id="{4AD1E780-DE1C-4ECA-B5E5-863D0BC53287}" type="slidenum">
              <a:rPr lang="de-DE" smtClean="0"/>
              <a:pPr/>
              <a:t>27</a:t>
            </a:fld>
            <a:endParaRPr lang="de-DE" dirty="0"/>
          </a:p>
        </p:txBody>
      </p:sp>
      <p:sp>
        <p:nvSpPr>
          <p:cNvPr id="7" name="Textplatzhalter 2"/>
          <p:cNvSpPr txBox="1">
            <a:spLocks/>
          </p:cNvSpPr>
          <p:nvPr/>
        </p:nvSpPr>
        <p:spPr>
          <a:xfrm>
            <a:off x="266828" y="399646"/>
            <a:ext cx="9403013" cy="697671"/>
          </a:xfrm>
          <a:prstGeom prst="rect">
            <a:avLst/>
          </a:prstGeom>
        </p:spPr>
        <p:txBody>
          <a:bodyPr anchor="t" anchorCtr="0"/>
          <a:lstStyle>
            <a:lvl1pPr marL="0" indent="0" algn="l" defTabSz="914400" rtl="0" eaLnBrk="1" latinLnBrk="0" hangingPunct="1">
              <a:spcBef>
                <a:spcPts val="200"/>
              </a:spcBef>
              <a:buClr>
                <a:schemeClr val="tx2"/>
              </a:buClr>
              <a:buFont typeface="Wingdings" pitchFamily="2" charset="2"/>
              <a:buNone/>
              <a:defRPr sz="1600" kern="1200">
                <a:solidFill>
                  <a:schemeClr val="tx2"/>
                </a:solidFill>
                <a:latin typeface="+mn-lt"/>
                <a:ea typeface="+mn-ea"/>
                <a:cs typeface="+mn-cs"/>
              </a:defRPr>
            </a:lvl1pPr>
            <a:lvl2pPr marL="180975" indent="-180975" algn="l" defTabSz="914400" rtl="0" eaLnBrk="1" latinLnBrk="0" hangingPunct="1">
              <a:spcBef>
                <a:spcPts val="200"/>
              </a:spcBef>
              <a:buClr>
                <a:schemeClr val="tx2"/>
              </a:buClr>
              <a:buFont typeface="Wingdings" pitchFamily="2" charset="2"/>
              <a:buChar char="§"/>
              <a:defRPr sz="1600" kern="1200">
                <a:solidFill>
                  <a:schemeClr val="tx2"/>
                </a:solidFill>
                <a:latin typeface="+mn-lt"/>
                <a:ea typeface="+mn-ea"/>
                <a:cs typeface="+mn-cs"/>
              </a:defRPr>
            </a:lvl2pPr>
            <a:lvl3pPr marL="355600" indent="-174625"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3pPr>
            <a:lvl4pPr marL="538163" indent="-182563"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4pPr>
            <a:lvl5pPr marL="719138" indent="-180975" algn="l" defTabSz="914400" rtl="0" eaLnBrk="1" latinLnBrk="0" hangingPunct="1">
              <a:spcBef>
                <a:spcPts val="200"/>
              </a:spcBef>
              <a:buClr>
                <a:schemeClr val="tx2"/>
              </a:buClr>
              <a:buFont typeface="Symbol" pitchFamily="18" charset="2"/>
              <a:buChar char="-"/>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3600" b="1" dirty="0" err="1" smtClean="0">
                <a:solidFill>
                  <a:schemeClr val="accent6"/>
                </a:solidFill>
              </a:rPr>
              <a:t>Stepping</a:t>
            </a:r>
            <a:r>
              <a:rPr lang="de-DE" sz="3600" b="1" dirty="0" smtClean="0">
                <a:solidFill>
                  <a:schemeClr val="accent6"/>
                </a:solidFill>
              </a:rPr>
              <a:t> </a:t>
            </a:r>
            <a:r>
              <a:rPr lang="de-DE" sz="3600" b="1" dirty="0" err="1" smtClean="0">
                <a:solidFill>
                  <a:schemeClr val="accent6"/>
                </a:solidFill>
              </a:rPr>
              <a:t>away</a:t>
            </a:r>
            <a:r>
              <a:rPr lang="de-DE" sz="3600" b="1" dirty="0" smtClean="0">
                <a:solidFill>
                  <a:schemeClr val="accent6"/>
                </a:solidFill>
              </a:rPr>
              <a:t> from </a:t>
            </a:r>
            <a:r>
              <a:rPr lang="de-DE" sz="3600" b="1" dirty="0" err="1" smtClean="0">
                <a:solidFill>
                  <a:schemeClr val="accent6"/>
                </a:solidFill>
              </a:rPr>
              <a:t>the</a:t>
            </a:r>
            <a:r>
              <a:rPr lang="de-DE" sz="3600" b="1" dirty="0" smtClean="0">
                <a:solidFill>
                  <a:schemeClr val="accent6"/>
                </a:solidFill>
              </a:rPr>
              <a:t> </a:t>
            </a:r>
            <a:r>
              <a:rPr lang="de-DE" sz="3600" b="1" dirty="0" err="1" smtClean="0">
                <a:solidFill>
                  <a:schemeClr val="accent6"/>
                </a:solidFill>
              </a:rPr>
              <a:t>table</a:t>
            </a:r>
            <a:r>
              <a:rPr lang="de-DE" sz="3600" b="1" dirty="0" smtClean="0">
                <a:solidFill>
                  <a:schemeClr val="accent6"/>
                </a:solidFill>
              </a:rPr>
              <a:t> IS an </a:t>
            </a:r>
            <a:r>
              <a:rPr lang="de-DE" sz="3600" b="1" dirty="0" err="1" smtClean="0">
                <a:solidFill>
                  <a:schemeClr val="accent6"/>
                </a:solidFill>
              </a:rPr>
              <a:t>option</a:t>
            </a:r>
            <a:endParaRPr lang="de-DE" sz="3600" dirty="0"/>
          </a:p>
        </p:txBody>
      </p:sp>
      <p:pic>
        <p:nvPicPr>
          <p:cNvPr id="8" name="Picture 7"/>
          <p:cNvPicPr>
            <a:picLocks noChangeAspect="1"/>
          </p:cNvPicPr>
          <p:nvPr/>
        </p:nvPicPr>
        <p:blipFill>
          <a:blip r:embed="rId2"/>
          <a:stretch>
            <a:fillRect/>
          </a:stretch>
        </p:blipFill>
        <p:spPr>
          <a:xfrm>
            <a:off x="3301613" y="1619191"/>
            <a:ext cx="2981544" cy="5024930"/>
          </a:xfrm>
          <a:prstGeom prst="rect">
            <a:avLst/>
          </a:prstGeom>
        </p:spPr>
      </p:pic>
      <p:pic>
        <p:nvPicPr>
          <p:cNvPr id="10" name="Picture 9"/>
          <p:cNvPicPr>
            <a:picLocks noChangeAspect="1"/>
          </p:cNvPicPr>
          <p:nvPr/>
        </p:nvPicPr>
        <p:blipFill>
          <a:blip r:embed="rId3"/>
          <a:stretch>
            <a:fillRect/>
          </a:stretch>
        </p:blipFill>
        <p:spPr>
          <a:xfrm>
            <a:off x="6743282" y="1619191"/>
            <a:ext cx="2586643" cy="2759458"/>
          </a:xfrm>
          <a:prstGeom prst="rect">
            <a:avLst/>
          </a:prstGeom>
        </p:spPr>
      </p:pic>
      <p:pic>
        <p:nvPicPr>
          <p:cNvPr id="11" name="Picture 10"/>
          <p:cNvPicPr>
            <a:picLocks noChangeAspect="1"/>
          </p:cNvPicPr>
          <p:nvPr/>
        </p:nvPicPr>
        <p:blipFill>
          <a:blip r:embed="rId4"/>
          <a:stretch>
            <a:fillRect/>
          </a:stretch>
        </p:blipFill>
        <p:spPr>
          <a:xfrm>
            <a:off x="574539" y="1619191"/>
            <a:ext cx="2266950" cy="2047875"/>
          </a:xfrm>
          <a:prstGeom prst="rect">
            <a:avLst/>
          </a:prstGeom>
        </p:spPr>
      </p:pic>
      <p:sp>
        <p:nvSpPr>
          <p:cNvPr id="12" name="TextBox 11"/>
          <p:cNvSpPr txBox="1"/>
          <p:nvPr/>
        </p:nvSpPr>
        <p:spPr>
          <a:xfrm>
            <a:off x="302341" y="5854197"/>
            <a:ext cx="2973599" cy="738664"/>
          </a:xfrm>
          <a:prstGeom prst="rect">
            <a:avLst/>
          </a:prstGeom>
          <a:noFill/>
        </p:spPr>
        <p:txBody>
          <a:bodyPr wrap="square" rtlCol="0">
            <a:spAutoFit/>
          </a:bodyPr>
          <a:lstStyle/>
          <a:p>
            <a:r>
              <a:rPr lang="en-GB" sz="1400" dirty="0">
                <a:solidFill>
                  <a:schemeClr val="accent6"/>
                </a:solidFill>
                <a:hlinkClick r:id="rId5"/>
              </a:rPr>
              <a:t>http://</a:t>
            </a:r>
            <a:r>
              <a:rPr lang="en-GB" sz="1400" dirty="0" smtClean="0">
                <a:solidFill>
                  <a:schemeClr val="accent6"/>
                </a:solidFill>
                <a:hlinkClick r:id="rId5"/>
              </a:rPr>
              <a:t>www.openaccess.nl/sites/www.openaccess.nl/files/documenten/howtogettothepdf_march_2018.pdf</a:t>
            </a:r>
            <a:r>
              <a:rPr lang="en-GB" sz="1400" dirty="0" smtClean="0">
                <a:solidFill>
                  <a:schemeClr val="accent6"/>
                </a:solidFill>
              </a:rPr>
              <a:t> </a:t>
            </a:r>
            <a:endParaRPr lang="en-GB" sz="1400" dirty="0">
              <a:solidFill>
                <a:schemeClr val="accent6"/>
              </a:solidFill>
            </a:endParaRPr>
          </a:p>
        </p:txBody>
      </p:sp>
    </p:spTree>
    <p:extLst>
      <p:ext uri="{BB962C8B-B14F-4D97-AF65-F5344CB8AC3E}">
        <p14:creationId xmlns:p14="http://schemas.microsoft.com/office/powerpoint/2010/main" val="3646369936"/>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p:cNvSpPr>
            <a:spLocks noGrp="1"/>
          </p:cNvSpPr>
          <p:nvPr>
            <p:ph type="sldNum" sz="quarter" idx="12"/>
          </p:nvPr>
        </p:nvSpPr>
        <p:spPr/>
        <p:txBody>
          <a:bodyPr/>
          <a:lstStyle/>
          <a:p>
            <a:fld id="{4AD1E780-DE1C-4ECA-B5E5-863D0BC53287}" type="slidenum">
              <a:rPr lang="de-DE" smtClean="0"/>
              <a:pPr/>
              <a:t>28</a:t>
            </a:fld>
            <a:endParaRPr lang="de-DE" dirty="0"/>
          </a:p>
        </p:txBody>
      </p:sp>
      <p:sp>
        <p:nvSpPr>
          <p:cNvPr id="5" name="Textplatzhalter 2"/>
          <p:cNvSpPr txBox="1">
            <a:spLocks/>
          </p:cNvSpPr>
          <p:nvPr/>
        </p:nvSpPr>
        <p:spPr>
          <a:xfrm>
            <a:off x="302341" y="426280"/>
            <a:ext cx="8929946" cy="697671"/>
          </a:xfrm>
          <a:prstGeom prst="rect">
            <a:avLst/>
          </a:prstGeom>
        </p:spPr>
        <p:txBody>
          <a:bodyPr anchor="t" anchorCtr="0"/>
          <a:lstStyle>
            <a:lvl1pPr marL="0" indent="0" algn="l" defTabSz="914400" rtl="0" eaLnBrk="1" latinLnBrk="0" hangingPunct="1">
              <a:spcBef>
                <a:spcPts val="200"/>
              </a:spcBef>
              <a:buClr>
                <a:schemeClr val="tx2"/>
              </a:buClr>
              <a:buFont typeface="Wingdings" pitchFamily="2" charset="2"/>
              <a:buNone/>
              <a:defRPr sz="1600" kern="1200">
                <a:solidFill>
                  <a:schemeClr val="tx2"/>
                </a:solidFill>
                <a:latin typeface="+mn-lt"/>
                <a:ea typeface="+mn-ea"/>
                <a:cs typeface="+mn-cs"/>
              </a:defRPr>
            </a:lvl1pPr>
            <a:lvl2pPr marL="180975" indent="-180975" algn="l" defTabSz="914400" rtl="0" eaLnBrk="1" latinLnBrk="0" hangingPunct="1">
              <a:spcBef>
                <a:spcPts val="200"/>
              </a:spcBef>
              <a:buClr>
                <a:schemeClr val="tx2"/>
              </a:buClr>
              <a:buFont typeface="Wingdings" pitchFamily="2" charset="2"/>
              <a:buChar char="§"/>
              <a:defRPr sz="1600" kern="1200">
                <a:solidFill>
                  <a:schemeClr val="tx2"/>
                </a:solidFill>
                <a:latin typeface="+mn-lt"/>
                <a:ea typeface="+mn-ea"/>
                <a:cs typeface="+mn-cs"/>
              </a:defRPr>
            </a:lvl2pPr>
            <a:lvl3pPr marL="355600" indent="-174625"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3pPr>
            <a:lvl4pPr marL="538163" indent="-182563"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4pPr>
            <a:lvl5pPr marL="719138" indent="-180975" algn="l" defTabSz="914400" rtl="0" eaLnBrk="1" latinLnBrk="0" hangingPunct="1">
              <a:spcBef>
                <a:spcPts val="200"/>
              </a:spcBef>
              <a:buClr>
                <a:schemeClr val="tx2"/>
              </a:buClr>
              <a:buFont typeface="Symbol" pitchFamily="18" charset="2"/>
              <a:buChar char="-"/>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3600" b="1" dirty="0" smtClean="0">
                <a:solidFill>
                  <a:schemeClr val="accent6"/>
                </a:solidFill>
              </a:rPr>
              <a:t>This just in!</a:t>
            </a:r>
            <a:endParaRPr lang="de-DE" sz="3600" dirty="0"/>
          </a:p>
        </p:txBody>
      </p:sp>
      <p:pic>
        <p:nvPicPr>
          <p:cNvPr id="6" name="Grafik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648884" y="6108205"/>
            <a:ext cx="1371008" cy="636827"/>
          </a:xfrm>
          <a:prstGeom prst="rect">
            <a:avLst/>
          </a:prstGeom>
        </p:spPr>
      </p:pic>
      <p:sp>
        <p:nvSpPr>
          <p:cNvPr id="7" name="Freihandform 6"/>
          <p:cNvSpPr/>
          <p:nvPr/>
        </p:nvSpPr>
        <p:spPr>
          <a:xfrm>
            <a:off x="7648884" y="5958738"/>
            <a:ext cx="2258125" cy="60555"/>
          </a:xfrm>
          <a:custGeom>
            <a:avLst/>
            <a:gdLst>
              <a:gd name="connsiteX0" fmla="*/ 0 w 2464641"/>
              <a:gd name="connsiteY0" fmla="*/ 835677 h 835677"/>
              <a:gd name="connsiteX1" fmla="*/ 0 w 2464641"/>
              <a:gd name="connsiteY1" fmla="*/ 0 h 835677"/>
              <a:gd name="connsiteX2" fmla="*/ 2464641 w 2464641"/>
              <a:gd name="connsiteY2" fmla="*/ 0 h 835677"/>
              <a:gd name="connsiteX0" fmla="*/ 0 w 2464641"/>
              <a:gd name="connsiteY0" fmla="*/ 0 h 0"/>
              <a:gd name="connsiteX1" fmla="*/ 2464641 w 2464641"/>
              <a:gd name="connsiteY1" fmla="*/ 0 h 0"/>
            </a:gdLst>
            <a:ahLst/>
            <a:cxnLst>
              <a:cxn ang="0">
                <a:pos x="connsiteX0" y="connsiteY0"/>
              </a:cxn>
              <a:cxn ang="0">
                <a:pos x="connsiteX1" y="connsiteY1"/>
              </a:cxn>
            </a:cxnLst>
            <a:rect l="l" t="t" r="r" b="b"/>
            <a:pathLst>
              <a:path w="2464641">
                <a:moveTo>
                  <a:pt x="0" y="0"/>
                </a:moveTo>
                <a:lnTo>
                  <a:pt x="2464641" y="0"/>
                </a:lnTo>
              </a:path>
            </a:pathLst>
          </a:cu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9" name="Picture 8"/>
          <p:cNvPicPr>
            <a:picLocks noChangeAspect="1"/>
          </p:cNvPicPr>
          <p:nvPr/>
        </p:nvPicPr>
        <p:blipFill>
          <a:blip r:embed="rId4"/>
          <a:stretch>
            <a:fillRect/>
          </a:stretch>
        </p:blipFill>
        <p:spPr>
          <a:xfrm>
            <a:off x="542008" y="1137499"/>
            <a:ext cx="5662849" cy="310496"/>
          </a:xfrm>
          <a:prstGeom prst="rect">
            <a:avLst/>
          </a:prstGeom>
        </p:spPr>
      </p:pic>
      <p:pic>
        <p:nvPicPr>
          <p:cNvPr id="12" name="Picture 11"/>
          <p:cNvPicPr>
            <a:picLocks noChangeAspect="1"/>
          </p:cNvPicPr>
          <p:nvPr/>
        </p:nvPicPr>
        <p:blipFill>
          <a:blip r:embed="rId5"/>
          <a:stretch>
            <a:fillRect/>
          </a:stretch>
        </p:blipFill>
        <p:spPr>
          <a:xfrm>
            <a:off x="746862" y="3025671"/>
            <a:ext cx="4505325" cy="3276600"/>
          </a:xfrm>
          <a:prstGeom prst="rect">
            <a:avLst/>
          </a:prstGeom>
        </p:spPr>
      </p:pic>
      <p:pic>
        <p:nvPicPr>
          <p:cNvPr id="13" name="Picture 12"/>
          <p:cNvPicPr>
            <a:picLocks noChangeAspect="1"/>
          </p:cNvPicPr>
          <p:nvPr/>
        </p:nvPicPr>
        <p:blipFill>
          <a:blip r:embed="rId6"/>
          <a:stretch>
            <a:fillRect/>
          </a:stretch>
        </p:blipFill>
        <p:spPr>
          <a:xfrm>
            <a:off x="648701" y="1612372"/>
            <a:ext cx="7594247" cy="1273874"/>
          </a:xfrm>
          <a:prstGeom prst="rect">
            <a:avLst/>
          </a:prstGeom>
        </p:spPr>
      </p:pic>
      <p:pic>
        <p:nvPicPr>
          <p:cNvPr id="14" name="Picture 13"/>
          <p:cNvPicPr>
            <a:picLocks noChangeAspect="1"/>
          </p:cNvPicPr>
          <p:nvPr/>
        </p:nvPicPr>
        <p:blipFill>
          <a:blip r:embed="rId7"/>
          <a:stretch>
            <a:fillRect/>
          </a:stretch>
        </p:blipFill>
        <p:spPr>
          <a:xfrm>
            <a:off x="5503717" y="2627030"/>
            <a:ext cx="4029075" cy="3590925"/>
          </a:xfrm>
          <a:prstGeom prst="rect">
            <a:avLst/>
          </a:prstGeom>
        </p:spPr>
      </p:pic>
    </p:spTree>
    <p:extLst>
      <p:ext uri="{BB962C8B-B14F-4D97-AF65-F5344CB8AC3E}">
        <p14:creationId xmlns:p14="http://schemas.microsoft.com/office/powerpoint/2010/main" val="406436503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p:cNvSpPr>
            <a:spLocks noGrp="1"/>
          </p:cNvSpPr>
          <p:nvPr>
            <p:ph type="sldNum" sz="quarter" idx="12"/>
          </p:nvPr>
        </p:nvSpPr>
        <p:spPr/>
        <p:txBody>
          <a:bodyPr/>
          <a:lstStyle/>
          <a:p>
            <a:fld id="{4AD1E780-DE1C-4ECA-B5E5-863D0BC53287}" type="slidenum">
              <a:rPr lang="de-DE" smtClean="0"/>
              <a:pPr/>
              <a:t>2</a:t>
            </a:fld>
            <a:endParaRPr lang="de-DE" dirty="0"/>
          </a:p>
        </p:txBody>
      </p:sp>
      <p:sp>
        <p:nvSpPr>
          <p:cNvPr id="3" name="Textplatzhalter 2"/>
          <p:cNvSpPr>
            <a:spLocks noGrp="1"/>
          </p:cNvSpPr>
          <p:nvPr>
            <p:ph type="body" sz="quarter" idx="13"/>
          </p:nvPr>
        </p:nvSpPr>
        <p:spPr/>
        <p:txBody>
          <a:bodyPr anchor="t" anchorCtr="0"/>
          <a:lstStyle/>
          <a:p>
            <a:endParaRPr lang="de-DE" sz="3600" b="1" dirty="0" smtClean="0">
              <a:solidFill>
                <a:schemeClr val="accent6"/>
              </a:solidFill>
            </a:endParaRPr>
          </a:p>
          <a:p>
            <a:endParaRPr lang="de-DE" sz="3600" dirty="0" smtClean="0"/>
          </a:p>
        </p:txBody>
      </p:sp>
      <p:sp>
        <p:nvSpPr>
          <p:cNvPr id="15" name="Textplatzhalter 2"/>
          <p:cNvSpPr txBox="1">
            <a:spLocks/>
          </p:cNvSpPr>
          <p:nvPr/>
        </p:nvSpPr>
        <p:spPr>
          <a:xfrm>
            <a:off x="356256" y="426280"/>
            <a:ext cx="9087782" cy="697671"/>
          </a:xfrm>
          <a:prstGeom prst="rect">
            <a:avLst/>
          </a:prstGeom>
        </p:spPr>
        <p:txBody>
          <a:bodyPr vert="horz" wrap="square" lIns="0" tIns="0" rIns="0" bIns="0" rtlCol="0" anchor="t" anchorCtr="0">
            <a:noAutofit/>
          </a:bodyPr>
          <a:lstStyle>
            <a:lvl1pPr marL="0" indent="0" algn="l" defTabSz="914400" rtl="0" eaLnBrk="1" latinLnBrk="0" hangingPunct="1">
              <a:spcBef>
                <a:spcPts val="200"/>
              </a:spcBef>
              <a:buClr>
                <a:schemeClr val="tx2"/>
              </a:buClr>
              <a:buFont typeface="Wingdings" pitchFamily="2" charset="2"/>
              <a:buNone/>
              <a:defRPr sz="4400" b="0" kern="1200">
                <a:solidFill>
                  <a:schemeClr val="tx2"/>
                </a:solidFill>
                <a:latin typeface="+mj-lt"/>
                <a:ea typeface="+mn-ea"/>
                <a:cs typeface="+mn-cs"/>
              </a:defRPr>
            </a:lvl1pPr>
            <a:lvl2pPr marL="0" indent="0" algn="l" defTabSz="914400" rtl="0" eaLnBrk="1" latinLnBrk="0" hangingPunct="1">
              <a:spcBef>
                <a:spcPts val="200"/>
              </a:spcBef>
              <a:buClr>
                <a:schemeClr val="tx2"/>
              </a:buClr>
              <a:buFont typeface="Wingdings" pitchFamily="2" charset="2"/>
              <a:buNone/>
              <a:defRPr sz="2400" kern="1200">
                <a:solidFill>
                  <a:schemeClr val="tx2"/>
                </a:solidFill>
                <a:latin typeface="+mj-lt"/>
                <a:ea typeface="+mn-ea"/>
                <a:cs typeface="+mn-cs"/>
              </a:defRPr>
            </a:lvl2pPr>
            <a:lvl3pPr marL="0" indent="0" algn="l" defTabSz="914400" rtl="0" eaLnBrk="1" latinLnBrk="0" hangingPunct="1">
              <a:spcBef>
                <a:spcPts val="200"/>
              </a:spcBef>
              <a:buClr>
                <a:schemeClr val="tx2"/>
              </a:buClr>
              <a:buFont typeface="Arial" pitchFamily="34" charset="0"/>
              <a:buNone/>
              <a:defRPr sz="2400" kern="1200">
                <a:solidFill>
                  <a:schemeClr val="tx2"/>
                </a:solidFill>
                <a:latin typeface="+mj-lt"/>
                <a:ea typeface="+mn-ea"/>
                <a:cs typeface="+mn-cs"/>
              </a:defRPr>
            </a:lvl3pPr>
            <a:lvl4pPr marL="0" indent="0" algn="l" defTabSz="914400" rtl="0" eaLnBrk="1" latinLnBrk="0" hangingPunct="1">
              <a:spcBef>
                <a:spcPts val="200"/>
              </a:spcBef>
              <a:buClr>
                <a:schemeClr val="tx2"/>
              </a:buClr>
              <a:buFont typeface="Arial" pitchFamily="34" charset="0"/>
              <a:buNone/>
              <a:defRPr sz="2400" kern="1200">
                <a:solidFill>
                  <a:schemeClr val="tx2"/>
                </a:solidFill>
                <a:latin typeface="+mj-lt"/>
                <a:ea typeface="+mn-ea"/>
                <a:cs typeface="+mn-cs"/>
              </a:defRPr>
            </a:lvl4pPr>
            <a:lvl5pPr marL="0" indent="0" algn="l" defTabSz="914400" rtl="0" eaLnBrk="1" latinLnBrk="0" hangingPunct="1">
              <a:spcBef>
                <a:spcPts val="200"/>
              </a:spcBef>
              <a:buClr>
                <a:schemeClr val="tx2"/>
              </a:buClr>
              <a:buFont typeface="Symbol" pitchFamily="18" charset="2"/>
              <a:buNone/>
              <a:defRPr sz="2400" kern="1200">
                <a:solidFill>
                  <a:schemeClr val="tx2"/>
                </a:solidFill>
                <a:latin typeface="+mj-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3600" b="1" dirty="0" err="1" smtClean="0">
                <a:solidFill>
                  <a:schemeClr val="accent6"/>
                </a:solidFill>
              </a:rPr>
              <a:t>Paywall</a:t>
            </a:r>
            <a:r>
              <a:rPr lang="de-DE" sz="3600" b="1" dirty="0" smtClean="0">
                <a:solidFill>
                  <a:schemeClr val="accent6"/>
                </a:solidFill>
              </a:rPr>
              <a:t> </a:t>
            </a:r>
            <a:r>
              <a:rPr lang="de-DE" sz="3600" b="1" dirty="0" err="1" smtClean="0">
                <a:solidFill>
                  <a:schemeClr val="accent6"/>
                </a:solidFill>
              </a:rPr>
              <a:t>access</a:t>
            </a:r>
            <a:r>
              <a:rPr lang="de-DE" sz="3600" b="1" dirty="0" smtClean="0">
                <a:solidFill>
                  <a:schemeClr val="accent6"/>
                </a:solidFill>
              </a:rPr>
              <a:t> </a:t>
            </a:r>
            <a:r>
              <a:rPr lang="de-DE" sz="3600" b="1" dirty="0" err="1" smtClean="0">
                <a:solidFill>
                  <a:schemeClr val="accent6"/>
                </a:solidFill>
              </a:rPr>
              <a:t>does</a:t>
            </a:r>
            <a:r>
              <a:rPr lang="de-DE" sz="3600" b="1" dirty="0" smtClean="0">
                <a:solidFill>
                  <a:schemeClr val="accent6"/>
                </a:solidFill>
              </a:rPr>
              <a:t> not </a:t>
            </a:r>
            <a:r>
              <a:rPr lang="de-DE" sz="3600" b="1" dirty="0" err="1" smtClean="0">
                <a:solidFill>
                  <a:schemeClr val="accent6"/>
                </a:solidFill>
              </a:rPr>
              <a:t>meet</a:t>
            </a:r>
            <a:r>
              <a:rPr lang="de-DE" sz="3600" b="1" dirty="0" smtClean="0">
                <a:solidFill>
                  <a:schemeClr val="accent6"/>
                </a:solidFill>
              </a:rPr>
              <a:t> </a:t>
            </a:r>
            <a:r>
              <a:rPr lang="de-DE" sz="3600" b="1" dirty="0" err="1" smtClean="0">
                <a:solidFill>
                  <a:schemeClr val="accent6"/>
                </a:solidFill>
              </a:rPr>
              <a:t>the</a:t>
            </a:r>
            <a:endParaRPr lang="de-DE" sz="3600" b="1" dirty="0" smtClean="0">
              <a:solidFill>
                <a:schemeClr val="accent6"/>
              </a:solidFill>
            </a:endParaRPr>
          </a:p>
          <a:p>
            <a:r>
              <a:rPr lang="de-DE" sz="3600" b="1" dirty="0" err="1" smtClean="0">
                <a:solidFill>
                  <a:schemeClr val="accent6"/>
                </a:solidFill>
              </a:rPr>
              <a:t>needs</a:t>
            </a:r>
            <a:r>
              <a:rPr lang="de-DE" sz="3600" b="1" dirty="0" smtClean="0">
                <a:solidFill>
                  <a:schemeClr val="accent6"/>
                </a:solidFill>
              </a:rPr>
              <a:t> </a:t>
            </a:r>
            <a:r>
              <a:rPr lang="de-DE" sz="3600" b="1" dirty="0" err="1" smtClean="0">
                <a:solidFill>
                  <a:schemeClr val="accent6"/>
                </a:solidFill>
              </a:rPr>
              <a:t>of</a:t>
            </a:r>
            <a:r>
              <a:rPr lang="de-DE" sz="3600" b="1" dirty="0" smtClean="0">
                <a:solidFill>
                  <a:schemeClr val="accent6"/>
                </a:solidFill>
              </a:rPr>
              <a:t> </a:t>
            </a:r>
            <a:r>
              <a:rPr lang="de-DE" sz="3600" b="1" dirty="0" err="1" smtClean="0">
                <a:solidFill>
                  <a:schemeClr val="accent6"/>
                </a:solidFill>
              </a:rPr>
              <a:t>our</a:t>
            </a:r>
            <a:r>
              <a:rPr lang="de-DE" sz="3600" b="1" dirty="0" smtClean="0">
                <a:solidFill>
                  <a:schemeClr val="accent6"/>
                </a:solidFill>
              </a:rPr>
              <a:t> </a:t>
            </a:r>
            <a:r>
              <a:rPr lang="de-DE" sz="3600" b="1" dirty="0" err="1" smtClean="0">
                <a:solidFill>
                  <a:schemeClr val="accent6"/>
                </a:solidFill>
              </a:rPr>
              <a:t>researchers</a:t>
            </a:r>
            <a:endParaRPr lang="de-DE" sz="3600" dirty="0" smtClean="0"/>
          </a:p>
        </p:txBody>
      </p:sp>
      <p:sp>
        <p:nvSpPr>
          <p:cNvPr id="5" name="TextBox 4"/>
          <p:cNvSpPr txBox="1"/>
          <p:nvPr/>
        </p:nvSpPr>
        <p:spPr>
          <a:xfrm>
            <a:off x="356256" y="6522554"/>
            <a:ext cx="3986212" cy="253916"/>
          </a:xfrm>
          <a:prstGeom prst="rect">
            <a:avLst/>
          </a:prstGeom>
          <a:noFill/>
        </p:spPr>
        <p:txBody>
          <a:bodyPr wrap="square" rtlCol="0">
            <a:spAutoFit/>
          </a:bodyPr>
          <a:lstStyle/>
          <a:p>
            <a:r>
              <a:rPr lang="en-GB" sz="1050" u="sng" dirty="0" smtClean="0">
                <a:solidFill>
                  <a:schemeClr val="accent6"/>
                </a:solidFill>
              </a:rPr>
              <a:t>doi:10.1126/science.aaf5664</a:t>
            </a:r>
            <a:endParaRPr lang="en-GB" sz="1050" u="sng" dirty="0">
              <a:solidFill>
                <a:schemeClr val="accent6"/>
              </a:solidFill>
            </a:endParaRPr>
          </a:p>
        </p:txBody>
      </p:sp>
      <p:pic>
        <p:nvPicPr>
          <p:cNvPr id="7" name="Picture 6"/>
          <p:cNvPicPr>
            <a:picLocks noChangeAspect="1"/>
          </p:cNvPicPr>
          <p:nvPr/>
        </p:nvPicPr>
        <p:blipFill>
          <a:blip r:embed="rId3"/>
          <a:stretch>
            <a:fillRect/>
          </a:stretch>
        </p:blipFill>
        <p:spPr>
          <a:xfrm>
            <a:off x="572521" y="1623152"/>
            <a:ext cx="8358921" cy="4329895"/>
          </a:xfrm>
          <a:prstGeom prst="rect">
            <a:avLst/>
          </a:prstGeom>
        </p:spPr>
      </p:pic>
      <p:pic>
        <p:nvPicPr>
          <p:cNvPr id="6" name="Picture 5"/>
          <p:cNvPicPr>
            <a:picLocks noChangeAspect="1"/>
          </p:cNvPicPr>
          <p:nvPr/>
        </p:nvPicPr>
        <p:blipFill>
          <a:blip r:embed="rId4"/>
          <a:stretch>
            <a:fillRect/>
          </a:stretch>
        </p:blipFill>
        <p:spPr>
          <a:xfrm>
            <a:off x="3565489" y="5529427"/>
            <a:ext cx="5469330" cy="743527"/>
          </a:xfrm>
          <a:prstGeom prst="rect">
            <a:avLst/>
          </a:prstGeom>
          <a:effectLst>
            <a:outerShdw blurRad="50800" dist="50800" dir="2640000" algn="ctr" rotWithShape="0">
              <a:schemeClr val="accent6"/>
            </a:outerShdw>
          </a:effectLst>
        </p:spPr>
      </p:pic>
    </p:spTree>
    <p:extLst>
      <p:ext uri="{BB962C8B-B14F-4D97-AF65-F5344CB8AC3E}">
        <p14:creationId xmlns:p14="http://schemas.microsoft.com/office/powerpoint/2010/main" val="68073375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p:cNvSpPr>
            <a:spLocks noGrp="1"/>
          </p:cNvSpPr>
          <p:nvPr>
            <p:ph type="sldNum" sz="quarter" idx="12"/>
          </p:nvPr>
        </p:nvSpPr>
        <p:spPr/>
        <p:txBody>
          <a:bodyPr/>
          <a:lstStyle/>
          <a:p>
            <a:fld id="{4AD1E780-DE1C-4ECA-B5E5-863D0BC53287}" type="slidenum">
              <a:rPr lang="de-DE" smtClean="0"/>
              <a:pPr/>
              <a:t>29</a:t>
            </a:fld>
            <a:endParaRPr lang="de-DE" dirty="0"/>
          </a:p>
        </p:txBody>
      </p:sp>
      <p:sp>
        <p:nvSpPr>
          <p:cNvPr id="5" name="Textplatzhalter 2"/>
          <p:cNvSpPr txBox="1">
            <a:spLocks/>
          </p:cNvSpPr>
          <p:nvPr/>
        </p:nvSpPr>
        <p:spPr>
          <a:xfrm>
            <a:off x="302341" y="426280"/>
            <a:ext cx="8929946" cy="697671"/>
          </a:xfrm>
          <a:prstGeom prst="rect">
            <a:avLst/>
          </a:prstGeom>
        </p:spPr>
        <p:txBody>
          <a:bodyPr anchor="t" anchorCtr="0"/>
          <a:lstStyle>
            <a:lvl1pPr marL="0" indent="0" algn="l" defTabSz="914400" rtl="0" eaLnBrk="1" latinLnBrk="0" hangingPunct="1">
              <a:spcBef>
                <a:spcPts val="200"/>
              </a:spcBef>
              <a:buClr>
                <a:schemeClr val="tx2"/>
              </a:buClr>
              <a:buFont typeface="Wingdings" pitchFamily="2" charset="2"/>
              <a:buNone/>
              <a:defRPr sz="1600" kern="1200">
                <a:solidFill>
                  <a:schemeClr val="tx2"/>
                </a:solidFill>
                <a:latin typeface="+mn-lt"/>
                <a:ea typeface="+mn-ea"/>
                <a:cs typeface="+mn-cs"/>
              </a:defRPr>
            </a:lvl1pPr>
            <a:lvl2pPr marL="180975" indent="-180975" algn="l" defTabSz="914400" rtl="0" eaLnBrk="1" latinLnBrk="0" hangingPunct="1">
              <a:spcBef>
                <a:spcPts val="200"/>
              </a:spcBef>
              <a:buClr>
                <a:schemeClr val="tx2"/>
              </a:buClr>
              <a:buFont typeface="Wingdings" pitchFamily="2" charset="2"/>
              <a:buChar char="§"/>
              <a:defRPr sz="1600" kern="1200">
                <a:solidFill>
                  <a:schemeClr val="tx2"/>
                </a:solidFill>
                <a:latin typeface="+mn-lt"/>
                <a:ea typeface="+mn-ea"/>
                <a:cs typeface="+mn-cs"/>
              </a:defRPr>
            </a:lvl2pPr>
            <a:lvl3pPr marL="355600" indent="-174625"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3pPr>
            <a:lvl4pPr marL="538163" indent="-182563"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4pPr>
            <a:lvl5pPr marL="719138" indent="-180975" algn="l" defTabSz="914400" rtl="0" eaLnBrk="1" latinLnBrk="0" hangingPunct="1">
              <a:spcBef>
                <a:spcPts val="200"/>
              </a:spcBef>
              <a:buClr>
                <a:schemeClr val="tx2"/>
              </a:buClr>
              <a:buFont typeface="Symbol" pitchFamily="18" charset="2"/>
              <a:buChar char="-"/>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3600" b="1" dirty="0" err="1" smtClean="0">
                <a:solidFill>
                  <a:schemeClr val="accent6"/>
                </a:solidFill>
              </a:rPr>
              <a:t>Cost</a:t>
            </a:r>
            <a:r>
              <a:rPr lang="de-DE" sz="3600" b="1" dirty="0" smtClean="0">
                <a:solidFill>
                  <a:schemeClr val="accent6"/>
                </a:solidFill>
              </a:rPr>
              <a:t>-neutral </a:t>
            </a:r>
            <a:r>
              <a:rPr lang="de-DE" sz="3600" b="1" dirty="0" err="1" smtClean="0">
                <a:solidFill>
                  <a:schemeClr val="accent6"/>
                </a:solidFill>
              </a:rPr>
              <a:t>transformation</a:t>
            </a:r>
            <a:r>
              <a:rPr lang="de-DE" sz="3600" b="1" dirty="0" smtClean="0">
                <a:solidFill>
                  <a:schemeClr val="accent6"/>
                </a:solidFill>
              </a:rPr>
              <a:t> </a:t>
            </a:r>
            <a:r>
              <a:rPr lang="de-DE" sz="3600" b="1" dirty="0" err="1" smtClean="0">
                <a:solidFill>
                  <a:schemeClr val="accent6"/>
                </a:solidFill>
              </a:rPr>
              <a:t>is</a:t>
            </a:r>
            <a:r>
              <a:rPr lang="de-DE" sz="3600" b="1" dirty="0" smtClean="0">
                <a:solidFill>
                  <a:schemeClr val="accent6"/>
                </a:solidFill>
              </a:rPr>
              <a:t> </a:t>
            </a:r>
            <a:r>
              <a:rPr lang="de-DE" sz="3600" b="1" dirty="0" err="1" smtClean="0">
                <a:solidFill>
                  <a:schemeClr val="accent6"/>
                </a:solidFill>
              </a:rPr>
              <a:t>possible</a:t>
            </a:r>
            <a:endParaRPr lang="de-DE" sz="3600" dirty="0"/>
          </a:p>
        </p:txBody>
      </p:sp>
      <p:pic>
        <p:nvPicPr>
          <p:cNvPr id="6" name="Grafik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648884" y="6108205"/>
            <a:ext cx="1371008" cy="636827"/>
          </a:xfrm>
          <a:prstGeom prst="rect">
            <a:avLst/>
          </a:prstGeom>
        </p:spPr>
      </p:pic>
      <p:sp>
        <p:nvSpPr>
          <p:cNvPr id="7" name="Freihandform 6"/>
          <p:cNvSpPr/>
          <p:nvPr/>
        </p:nvSpPr>
        <p:spPr>
          <a:xfrm>
            <a:off x="7648884" y="5958738"/>
            <a:ext cx="2258125" cy="60555"/>
          </a:xfrm>
          <a:custGeom>
            <a:avLst/>
            <a:gdLst>
              <a:gd name="connsiteX0" fmla="*/ 0 w 2464641"/>
              <a:gd name="connsiteY0" fmla="*/ 835677 h 835677"/>
              <a:gd name="connsiteX1" fmla="*/ 0 w 2464641"/>
              <a:gd name="connsiteY1" fmla="*/ 0 h 835677"/>
              <a:gd name="connsiteX2" fmla="*/ 2464641 w 2464641"/>
              <a:gd name="connsiteY2" fmla="*/ 0 h 835677"/>
              <a:gd name="connsiteX0" fmla="*/ 0 w 2464641"/>
              <a:gd name="connsiteY0" fmla="*/ 0 h 0"/>
              <a:gd name="connsiteX1" fmla="*/ 2464641 w 2464641"/>
              <a:gd name="connsiteY1" fmla="*/ 0 h 0"/>
            </a:gdLst>
            <a:ahLst/>
            <a:cxnLst>
              <a:cxn ang="0">
                <a:pos x="connsiteX0" y="connsiteY0"/>
              </a:cxn>
              <a:cxn ang="0">
                <a:pos x="connsiteX1" y="connsiteY1"/>
              </a:cxn>
            </a:cxnLst>
            <a:rect l="l" t="t" r="r" b="b"/>
            <a:pathLst>
              <a:path w="2464641">
                <a:moveTo>
                  <a:pt x="0" y="0"/>
                </a:moveTo>
                <a:lnTo>
                  <a:pt x="2464641" y="0"/>
                </a:lnTo>
              </a:path>
            </a:pathLst>
          </a:cu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 name="Picture 1"/>
          <p:cNvPicPr>
            <a:picLocks noChangeAspect="1"/>
          </p:cNvPicPr>
          <p:nvPr/>
        </p:nvPicPr>
        <p:blipFill>
          <a:blip r:embed="rId4"/>
          <a:stretch>
            <a:fillRect/>
          </a:stretch>
        </p:blipFill>
        <p:spPr>
          <a:xfrm>
            <a:off x="2701637" y="2170241"/>
            <a:ext cx="4631680" cy="4526415"/>
          </a:xfrm>
          <a:prstGeom prst="rect">
            <a:avLst/>
          </a:prstGeom>
        </p:spPr>
      </p:pic>
      <p:sp>
        <p:nvSpPr>
          <p:cNvPr id="8" name="Inhaltsplatzhalter 2"/>
          <p:cNvSpPr txBox="1">
            <a:spLocks/>
          </p:cNvSpPr>
          <p:nvPr/>
        </p:nvSpPr>
        <p:spPr>
          <a:xfrm>
            <a:off x="348476" y="1111148"/>
            <a:ext cx="9356878" cy="450492"/>
          </a:xfrm>
          <a:prstGeom prst="rect">
            <a:avLst/>
          </a:prstGeom>
        </p:spPr>
        <p:txBody>
          <a:bodyPr vert="horz" lIns="0" tIns="0" rIns="0" bIns="0" rtlCol="0">
            <a:noAutofit/>
          </a:bodyPr>
          <a:lstStyle>
            <a:lvl1pPr marL="0" indent="0" algn="ctr" defTabSz="1280160" rtl="0" eaLnBrk="1" latinLnBrk="0" hangingPunct="1">
              <a:spcBef>
                <a:spcPct val="20000"/>
              </a:spcBef>
              <a:buFont typeface="Arial" panose="020B0604020202020204" pitchFamily="34" charset="0"/>
              <a:buNone/>
              <a:defRPr sz="4500" kern="1200">
                <a:solidFill>
                  <a:schemeClr val="tx1">
                    <a:tint val="75000"/>
                  </a:schemeClr>
                </a:solidFill>
                <a:latin typeface="+mn-lt"/>
                <a:ea typeface="+mn-ea"/>
                <a:cs typeface="+mn-cs"/>
              </a:defRPr>
            </a:lvl1pPr>
            <a:lvl2pPr marL="640080" indent="0" algn="ctr" defTabSz="1280160" rtl="0" eaLnBrk="1" latinLnBrk="0" hangingPunct="1">
              <a:spcBef>
                <a:spcPct val="20000"/>
              </a:spcBef>
              <a:buFont typeface="Arial" panose="020B0604020202020204" pitchFamily="34" charset="0"/>
              <a:buNone/>
              <a:defRPr sz="3900" kern="1200">
                <a:solidFill>
                  <a:schemeClr val="tx1">
                    <a:tint val="75000"/>
                  </a:schemeClr>
                </a:solidFill>
                <a:latin typeface="+mn-lt"/>
                <a:ea typeface="+mn-ea"/>
                <a:cs typeface="+mn-cs"/>
              </a:defRPr>
            </a:lvl2pPr>
            <a:lvl3pPr marL="1280160" indent="0" algn="ctr" defTabSz="1280160" rtl="0" eaLnBrk="1" latinLnBrk="0" hangingPunct="1">
              <a:spcBef>
                <a:spcPct val="20000"/>
              </a:spcBef>
              <a:buFont typeface="Arial" panose="020B0604020202020204" pitchFamily="34" charset="0"/>
              <a:buNone/>
              <a:defRPr sz="3400" kern="1200">
                <a:solidFill>
                  <a:schemeClr val="tx1">
                    <a:tint val="75000"/>
                  </a:schemeClr>
                </a:solidFill>
                <a:latin typeface="+mn-lt"/>
                <a:ea typeface="+mn-ea"/>
                <a:cs typeface="+mn-cs"/>
              </a:defRPr>
            </a:lvl3pPr>
            <a:lvl4pPr marL="192024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4pPr>
            <a:lvl5pPr marL="256032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5pPr>
            <a:lvl6pPr marL="320040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6pPr>
            <a:lvl7pPr marL="384048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7pPr>
            <a:lvl8pPr marL="448056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8pPr>
            <a:lvl9pPr marL="512064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9pPr>
          </a:lstStyle>
          <a:p>
            <a:pPr algn="l"/>
            <a:r>
              <a:rPr lang="en-US" sz="3100" kern="1000" dirty="0" smtClean="0">
                <a:solidFill>
                  <a:schemeClr val="accent2"/>
                </a:solidFill>
                <a:latin typeface="Arial" panose="020B0604020202020204" pitchFamily="34" charset="0"/>
                <a:cs typeface="Arial" panose="020B0604020202020204" pitchFamily="34" charset="0"/>
              </a:rPr>
              <a:t>“All </a:t>
            </a:r>
            <a:r>
              <a:rPr lang="en-US" sz="3100" kern="1000" dirty="0">
                <a:solidFill>
                  <a:schemeClr val="accent2"/>
                </a:solidFill>
                <a:latin typeface="Arial" panose="020B0604020202020204" pitchFamily="34" charset="0"/>
                <a:cs typeface="Arial" panose="020B0604020202020204" pitchFamily="34" charset="0"/>
              </a:rPr>
              <a:t>German research articles in Wiley journals to be published open access under new transformative </a:t>
            </a:r>
            <a:r>
              <a:rPr lang="en-US" sz="3100" kern="1000" dirty="0" smtClean="0">
                <a:solidFill>
                  <a:schemeClr val="accent2"/>
                </a:solidFill>
                <a:latin typeface="Arial" panose="020B0604020202020204" pitchFamily="34" charset="0"/>
                <a:cs typeface="Arial" panose="020B0604020202020204" pitchFamily="34" charset="0"/>
              </a:rPr>
              <a:t>agreement”</a:t>
            </a:r>
          </a:p>
        </p:txBody>
      </p:sp>
      <p:sp>
        <p:nvSpPr>
          <p:cNvPr id="10" name="TextBox 9"/>
          <p:cNvSpPr txBox="1"/>
          <p:nvPr/>
        </p:nvSpPr>
        <p:spPr>
          <a:xfrm>
            <a:off x="348476" y="4826180"/>
            <a:ext cx="2353160" cy="1600438"/>
          </a:xfrm>
          <a:prstGeom prst="rect">
            <a:avLst/>
          </a:prstGeom>
          <a:noFill/>
        </p:spPr>
        <p:txBody>
          <a:bodyPr wrap="square" rtlCol="0">
            <a:spAutoFit/>
          </a:bodyPr>
          <a:lstStyle/>
          <a:p>
            <a:r>
              <a:rPr lang="en-GB" sz="1400" dirty="0">
                <a:hlinkClick r:id="rId5"/>
              </a:rPr>
              <a:t>https://www.hrk.de/press/press-releases/press-release/meldung/wiley-and-projekt-deal-partner-to-enhance-the-future-of-scholarly-research-and-publishing-in-germany</a:t>
            </a:r>
            <a:r>
              <a:rPr lang="en-GB" sz="1400" dirty="0" smtClean="0">
                <a:hlinkClick r:id="rId5"/>
              </a:rPr>
              <a:t>/</a:t>
            </a:r>
            <a:r>
              <a:rPr lang="en-GB" sz="1400" dirty="0" smtClean="0"/>
              <a:t> </a:t>
            </a:r>
            <a:endParaRPr lang="en-GB" sz="1400" dirty="0"/>
          </a:p>
        </p:txBody>
      </p:sp>
    </p:spTree>
    <p:extLst>
      <p:ext uri="{BB962C8B-B14F-4D97-AF65-F5344CB8AC3E}">
        <p14:creationId xmlns:p14="http://schemas.microsoft.com/office/powerpoint/2010/main" val="1958342980"/>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p:cNvPicPr>
            <a:picLocks noChangeAspect="1"/>
          </p:cNvPicPr>
          <p:nvPr/>
        </p:nvPicPr>
        <p:blipFill>
          <a:blip r:embed="rId3"/>
          <a:stretch>
            <a:fillRect/>
          </a:stretch>
        </p:blipFill>
        <p:spPr>
          <a:xfrm>
            <a:off x="302341" y="1044680"/>
            <a:ext cx="9161284" cy="4627274"/>
          </a:xfrm>
          <a:prstGeom prst="rect">
            <a:avLst/>
          </a:prstGeom>
        </p:spPr>
      </p:pic>
      <p:pic>
        <p:nvPicPr>
          <p:cNvPr id="12" name="Picture 11"/>
          <p:cNvPicPr>
            <a:picLocks noChangeAspect="1"/>
          </p:cNvPicPr>
          <p:nvPr/>
        </p:nvPicPr>
        <p:blipFill>
          <a:blip r:embed="rId3"/>
          <a:stretch>
            <a:fillRect/>
          </a:stretch>
        </p:blipFill>
        <p:spPr>
          <a:xfrm>
            <a:off x="302341" y="1044680"/>
            <a:ext cx="9161284" cy="4627274"/>
          </a:xfrm>
          <a:prstGeom prst="rect">
            <a:avLst/>
          </a:prstGeom>
        </p:spPr>
      </p:pic>
      <p:sp>
        <p:nvSpPr>
          <p:cNvPr id="3" name="Foliennummernplatzhalter 2"/>
          <p:cNvSpPr>
            <a:spLocks noGrp="1"/>
          </p:cNvSpPr>
          <p:nvPr>
            <p:ph type="sldNum" sz="quarter" idx="12"/>
          </p:nvPr>
        </p:nvSpPr>
        <p:spPr/>
        <p:txBody>
          <a:bodyPr/>
          <a:lstStyle/>
          <a:p>
            <a:fld id="{4AD1E780-DE1C-4ECA-B5E5-863D0BC53287}" type="slidenum">
              <a:rPr lang="de-DE" smtClean="0"/>
              <a:pPr/>
              <a:t>30</a:t>
            </a:fld>
            <a:endParaRPr lang="de-DE" dirty="0"/>
          </a:p>
        </p:txBody>
      </p:sp>
      <p:sp>
        <p:nvSpPr>
          <p:cNvPr id="5" name="Textplatzhalter 2"/>
          <p:cNvSpPr txBox="1">
            <a:spLocks/>
          </p:cNvSpPr>
          <p:nvPr/>
        </p:nvSpPr>
        <p:spPr>
          <a:xfrm>
            <a:off x="302341" y="426280"/>
            <a:ext cx="8929946" cy="697671"/>
          </a:xfrm>
          <a:prstGeom prst="rect">
            <a:avLst/>
          </a:prstGeom>
        </p:spPr>
        <p:txBody>
          <a:bodyPr anchor="t" anchorCtr="0"/>
          <a:lstStyle>
            <a:lvl1pPr marL="0" indent="0" algn="l" defTabSz="914400" rtl="0" eaLnBrk="1" latinLnBrk="0" hangingPunct="1">
              <a:spcBef>
                <a:spcPts val="200"/>
              </a:spcBef>
              <a:buClr>
                <a:schemeClr val="tx2"/>
              </a:buClr>
              <a:buFont typeface="Wingdings" pitchFamily="2" charset="2"/>
              <a:buNone/>
              <a:defRPr sz="1600" kern="1200">
                <a:solidFill>
                  <a:schemeClr val="tx2"/>
                </a:solidFill>
                <a:latin typeface="+mn-lt"/>
                <a:ea typeface="+mn-ea"/>
                <a:cs typeface="+mn-cs"/>
              </a:defRPr>
            </a:lvl1pPr>
            <a:lvl2pPr marL="180975" indent="-180975" algn="l" defTabSz="914400" rtl="0" eaLnBrk="1" latinLnBrk="0" hangingPunct="1">
              <a:spcBef>
                <a:spcPts val="200"/>
              </a:spcBef>
              <a:buClr>
                <a:schemeClr val="tx2"/>
              </a:buClr>
              <a:buFont typeface="Wingdings" pitchFamily="2" charset="2"/>
              <a:buChar char="§"/>
              <a:defRPr sz="1600" kern="1200">
                <a:solidFill>
                  <a:schemeClr val="tx2"/>
                </a:solidFill>
                <a:latin typeface="+mn-lt"/>
                <a:ea typeface="+mn-ea"/>
                <a:cs typeface="+mn-cs"/>
              </a:defRPr>
            </a:lvl2pPr>
            <a:lvl3pPr marL="355600" indent="-174625"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3pPr>
            <a:lvl4pPr marL="538163" indent="-182563"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4pPr>
            <a:lvl5pPr marL="719138" indent="-180975" algn="l" defTabSz="914400" rtl="0" eaLnBrk="1" latinLnBrk="0" hangingPunct="1">
              <a:spcBef>
                <a:spcPts val="200"/>
              </a:spcBef>
              <a:buClr>
                <a:schemeClr val="tx2"/>
              </a:buClr>
              <a:buFont typeface="Symbol" pitchFamily="18" charset="2"/>
              <a:buChar char="-"/>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3600" b="1" dirty="0" err="1" smtClean="0">
                <a:solidFill>
                  <a:schemeClr val="accent6"/>
                </a:solidFill>
              </a:rPr>
              <a:t>And</a:t>
            </a:r>
            <a:r>
              <a:rPr lang="de-DE" sz="3600" b="1" dirty="0" smtClean="0">
                <a:solidFill>
                  <a:schemeClr val="accent6"/>
                </a:solidFill>
              </a:rPr>
              <a:t> </a:t>
            </a:r>
            <a:r>
              <a:rPr lang="de-DE" sz="3600" b="1" dirty="0" err="1" smtClean="0">
                <a:solidFill>
                  <a:schemeClr val="accent6"/>
                </a:solidFill>
              </a:rPr>
              <a:t>it</a:t>
            </a:r>
            <a:r>
              <a:rPr lang="de-DE" sz="3600" b="1" dirty="0" smtClean="0">
                <a:solidFill>
                  <a:schemeClr val="accent6"/>
                </a:solidFill>
              </a:rPr>
              <a:t> </a:t>
            </a:r>
            <a:r>
              <a:rPr lang="de-DE" sz="3600" b="1" dirty="0" err="1" smtClean="0">
                <a:solidFill>
                  <a:schemeClr val="accent6"/>
                </a:solidFill>
              </a:rPr>
              <a:t>is</a:t>
            </a:r>
            <a:r>
              <a:rPr lang="de-DE" sz="3600" b="1" dirty="0" smtClean="0">
                <a:solidFill>
                  <a:schemeClr val="accent6"/>
                </a:solidFill>
              </a:rPr>
              <a:t> </a:t>
            </a:r>
            <a:r>
              <a:rPr lang="de-DE" sz="3600" b="1" dirty="0" err="1" smtClean="0">
                <a:solidFill>
                  <a:schemeClr val="accent6"/>
                </a:solidFill>
              </a:rPr>
              <a:t>possible</a:t>
            </a:r>
            <a:r>
              <a:rPr lang="de-DE" sz="3600" b="1" dirty="0" smtClean="0">
                <a:solidFill>
                  <a:schemeClr val="accent6"/>
                </a:solidFill>
              </a:rPr>
              <a:t> </a:t>
            </a:r>
            <a:r>
              <a:rPr lang="de-DE" sz="3600" b="1" dirty="0" err="1" smtClean="0">
                <a:solidFill>
                  <a:schemeClr val="accent6"/>
                </a:solidFill>
              </a:rPr>
              <a:t>everywhere</a:t>
            </a:r>
            <a:r>
              <a:rPr lang="de-DE" sz="3600" b="1" dirty="0" smtClean="0">
                <a:solidFill>
                  <a:schemeClr val="accent6"/>
                </a:solidFill>
              </a:rPr>
              <a:t> </a:t>
            </a:r>
            <a:endParaRPr lang="de-DE" sz="3600" dirty="0"/>
          </a:p>
        </p:txBody>
      </p:sp>
      <p:pic>
        <p:nvPicPr>
          <p:cNvPr id="6" name="Grafik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648884" y="6108205"/>
            <a:ext cx="1371008" cy="636827"/>
          </a:xfrm>
          <a:prstGeom prst="rect">
            <a:avLst/>
          </a:prstGeom>
        </p:spPr>
      </p:pic>
      <p:sp>
        <p:nvSpPr>
          <p:cNvPr id="7" name="Freihandform 6"/>
          <p:cNvSpPr/>
          <p:nvPr/>
        </p:nvSpPr>
        <p:spPr>
          <a:xfrm>
            <a:off x="7648884" y="5958738"/>
            <a:ext cx="2258125" cy="60555"/>
          </a:xfrm>
          <a:custGeom>
            <a:avLst/>
            <a:gdLst>
              <a:gd name="connsiteX0" fmla="*/ 0 w 2464641"/>
              <a:gd name="connsiteY0" fmla="*/ 835677 h 835677"/>
              <a:gd name="connsiteX1" fmla="*/ 0 w 2464641"/>
              <a:gd name="connsiteY1" fmla="*/ 0 h 835677"/>
              <a:gd name="connsiteX2" fmla="*/ 2464641 w 2464641"/>
              <a:gd name="connsiteY2" fmla="*/ 0 h 835677"/>
              <a:gd name="connsiteX0" fmla="*/ 0 w 2464641"/>
              <a:gd name="connsiteY0" fmla="*/ 0 h 0"/>
              <a:gd name="connsiteX1" fmla="*/ 2464641 w 2464641"/>
              <a:gd name="connsiteY1" fmla="*/ 0 h 0"/>
            </a:gdLst>
            <a:ahLst/>
            <a:cxnLst>
              <a:cxn ang="0">
                <a:pos x="connsiteX0" y="connsiteY0"/>
              </a:cxn>
              <a:cxn ang="0">
                <a:pos x="connsiteX1" y="connsiteY1"/>
              </a:cxn>
            </a:cxnLst>
            <a:rect l="l" t="t" r="r" b="b"/>
            <a:pathLst>
              <a:path w="2464641">
                <a:moveTo>
                  <a:pt x="0" y="0"/>
                </a:moveTo>
                <a:lnTo>
                  <a:pt x="2464641" y="0"/>
                </a:lnTo>
              </a:path>
            </a:pathLst>
          </a:cu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TextBox 9"/>
          <p:cNvSpPr txBox="1"/>
          <p:nvPr/>
        </p:nvSpPr>
        <p:spPr>
          <a:xfrm>
            <a:off x="302341" y="6069641"/>
            <a:ext cx="4805236" cy="307777"/>
          </a:xfrm>
          <a:prstGeom prst="rect">
            <a:avLst/>
          </a:prstGeom>
          <a:noFill/>
        </p:spPr>
        <p:txBody>
          <a:bodyPr wrap="square" rtlCol="0">
            <a:spAutoFit/>
          </a:bodyPr>
          <a:lstStyle/>
          <a:p>
            <a:r>
              <a:rPr lang="en-GB" sz="1400" dirty="0">
                <a:hlinkClick r:id="rId5"/>
              </a:rPr>
              <a:t>https</a:t>
            </a:r>
            <a:r>
              <a:rPr lang="en-GB" sz="1400" dirty="0" smtClean="0">
                <a:hlinkClick r:id="rId5"/>
              </a:rPr>
              <a:t>://</a:t>
            </a:r>
            <a:r>
              <a:rPr lang="en-GB" sz="1400" dirty="0">
                <a:hlinkClick r:id="rId5"/>
              </a:rPr>
              <a:t>http://eisz.mtak.hu/index.php/en</a:t>
            </a:r>
            <a:r>
              <a:rPr lang="en-GB" sz="1400" dirty="0" smtClean="0">
                <a:hlinkClick r:id="rId5"/>
              </a:rPr>
              <a:t>/</a:t>
            </a:r>
            <a:r>
              <a:rPr lang="en-GB" sz="1400" dirty="0" smtClean="0"/>
              <a:t> </a:t>
            </a:r>
            <a:endParaRPr lang="en-GB" sz="1400" dirty="0"/>
          </a:p>
        </p:txBody>
      </p:sp>
      <p:pic>
        <p:nvPicPr>
          <p:cNvPr id="9" name="Picture 8"/>
          <p:cNvPicPr>
            <a:picLocks noChangeAspect="1"/>
          </p:cNvPicPr>
          <p:nvPr/>
        </p:nvPicPr>
        <p:blipFill>
          <a:blip r:embed="rId3"/>
          <a:stretch>
            <a:fillRect/>
          </a:stretch>
        </p:blipFill>
        <p:spPr>
          <a:xfrm>
            <a:off x="348476" y="1044680"/>
            <a:ext cx="9161284" cy="4627274"/>
          </a:xfrm>
          <a:prstGeom prst="rect">
            <a:avLst/>
          </a:prstGeom>
        </p:spPr>
      </p:pic>
      <p:pic>
        <p:nvPicPr>
          <p:cNvPr id="11" name="Picture 10"/>
          <p:cNvPicPr>
            <a:picLocks noChangeAspect="1"/>
          </p:cNvPicPr>
          <p:nvPr/>
        </p:nvPicPr>
        <p:blipFill>
          <a:blip r:embed="rId6"/>
          <a:stretch>
            <a:fillRect/>
          </a:stretch>
        </p:blipFill>
        <p:spPr>
          <a:xfrm>
            <a:off x="2007240" y="2946459"/>
            <a:ext cx="7698114" cy="823716"/>
          </a:xfrm>
          <a:prstGeom prst="rect">
            <a:avLst/>
          </a:prstGeom>
          <a:ln>
            <a:solidFill>
              <a:schemeClr val="tx2"/>
            </a:solidFill>
          </a:ln>
        </p:spPr>
      </p:pic>
      <p:pic>
        <p:nvPicPr>
          <p:cNvPr id="13" name="Picture 12"/>
          <p:cNvPicPr>
            <a:picLocks noChangeAspect="1"/>
          </p:cNvPicPr>
          <p:nvPr/>
        </p:nvPicPr>
        <p:blipFill>
          <a:blip r:embed="rId7"/>
          <a:stretch>
            <a:fillRect/>
          </a:stretch>
        </p:blipFill>
        <p:spPr>
          <a:xfrm>
            <a:off x="2007241" y="3931879"/>
            <a:ext cx="7698113" cy="955461"/>
          </a:xfrm>
          <a:prstGeom prst="rect">
            <a:avLst/>
          </a:prstGeom>
          <a:ln>
            <a:solidFill>
              <a:schemeClr val="tx2"/>
            </a:solidFill>
          </a:ln>
        </p:spPr>
      </p:pic>
      <p:pic>
        <p:nvPicPr>
          <p:cNvPr id="15" name="Picture 14"/>
          <p:cNvPicPr>
            <a:picLocks noChangeAspect="1"/>
          </p:cNvPicPr>
          <p:nvPr/>
        </p:nvPicPr>
        <p:blipFill>
          <a:blip r:embed="rId8"/>
          <a:stretch>
            <a:fillRect/>
          </a:stretch>
        </p:blipFill>
        <p:spPr>
          <a:xfrm>
            <a:off x="2007240" y="5072135"/>
            <a:ext cx="7698114" cy="644275"/>
          </a:xfrm>
          <a:prstGeom prst="rect">
            <a:avLst/>
          </a:prstGeom>
          <a:ln>
            <a:solidFill>
              <a:schemeClr val="tx2"/>
            </a:solidFill>
          </a:ln>
        </p:spPr>
      </p:pic>
    </p:spTree>
    <p:extLst>
      <p:ext uri="{BB962C8B-B14F-4D97-AF65-F5344CB8AC3E}">
        <p14:creationId xmlns:p14="http://schemas.microsoft.com/office/powerpoint/2010/main" val="283096092"/>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p:cNvPicPr>
            <a:picLocks noChangeAspect="1"/>
          </p:cNvPicPr>
          <p:nvPr/>
        </p:nvPicPr>
        <p:blipFill>
          <a:blip r:embed="rId3"/>
          <a:stretch>
            <a:fillRect/>
          </a:stretch>
        </p:blipFill>
        <p:spPr>
          <a:xfrm>
            <a:off x="4554705" y="1242147"/>
            <a:ext cx="5134180" cy="2595478"/>
          </a:xfrm>
          <a:prstGeom prst="rect">
            <a:avLst/>
          </a:prstGeom>
          <a:ln>
            <a:solidFill>
              <a:schemeClr val="tx2"/>
            </a:solidFill>
          </a:ln>
        </p:spPr>
      </p:pic>
      <p:sp>
        <p:nvSpPr>
          <p:cNvPr id="2" name="Slide Number Placeholder 1"/>
          <p:cNvSpPr>
            <a:spLocks noGrp="1"/>
          </p:cNvSpPr>
          <p:nvPr>
            <p:ph type="sldNum" sz="quarter" idx="12"/>
          </p:nvPr>
        </p:nvSpPr>
        <p:spPr/>
        <p:txBody>
          <a:bodyPr/>
          <a:lstStyle/>
          <a:p>
            <a:fld id="{4AD1E780-DE1C-4ECA-B5E5-863D0BC53287}" type="slidenum">
              <a:rPr lang="de-DE" smtClean="0"/>
              <a:pPr/>
              <a:t>31</a:t>
            </a:fld>
            <a:endParaRPr lang="de-DE" dirty="0"/>
          </a:p>
        </p:txBody>
      </p:sp>
      <p:sp>
        <p:nvSpPr>
          <p:cNvPr id="11" name="Textplatzhalter 2"/>
          <p:cNvSpPr txBox="1">
            <a:spLocks/>
          </p:cNvSpPr>
          <p:nvPr/>
        </p:nvSpPr>
        <p:spPr>
          <a:xfrm>
            <a:off x="226144" y="384718"/>
            <a:ext cx="9606013" cy="697671"/>
          </a:xfrm>
          <a:prstGeom prst="rect">
            <a:avLst/>
          </a:prstGeom>
        </p:spPr>
        <p:txBody>
          <a:bodyPr anchor="t" anchorCtr="0"/>
          <a:lstStyle>
            <a:lvl1pPr marL="0" indent="0" algn="l" defTabSz="914400" rtl="0" eaLnBrk="1" latinLnBrk="0" hangingPunct="1">
              <a:spcBef>
                <a:spcPts val="200"/>
              </a:spcBef>
              <a:buClr>
                <a:schemeClr val="tx2"/>
              </a:buClr>
              <a:buFont typeface="Wingdings" pitchFamily="2" charset="2"/>
              <a:buNone/>
              <a:defRPr sz="1600" kern="1200">
                <a:solidFill>
                  <a:schemeClr val="tx2"/>
                </a:solidFill>
                <a:latin typeface="+mn-lt"/>
                <a:ea typeface="+mn-ea"/>
                <a:cs typeface="+mn-cs"/>
              </a:defRPr>
            </a:lvl1pPr>
            <a:lvl2pPr marL="180975" indent="-180975" algn="l" defTabSz="914400" rtl="0" eaLnBrk="1" latinLnBrk="0" hangingPunct="1">
              <a:spcBef>
                <a:spcPts val="200"/>
              </a:spcBef>
              <a:buClr>
                <a:schemeClr val="tx2"/>
              </a:buClr>
              <a:buFont typeface="Wingdings" pitchFamily="2" charset="2"/>
              <a:buChar char="§"/>
              <a:defRPr sz="1600" kern="1200">
                <a:solidFill>
                  <a:schemeClr val="tx2"/>
                </a:solidFill>
                <a:latin typeface="+mn-lt"/>
                <a:ea typeface="+mn-ea"/>
                <a:cs typeface="+mn-cs"/>
              </a:defRPr>
            </a:lvl2pPr>
            <a:lvl3pPr marL="355600" indent="-174625"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3pPr>
            <a:lvl4pPr marL="538163" indent="-182563"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4pPr>
            <a:lvl5pPr marL="719138" indent="-180975" algn="l" defTabSz="914400" rtl="0" eaLnBrk="1" latinLnBrk="0" hangingPunct="1">
              <a:spcBef>
                <a:spcPts val="200"/>
              </a:spcBef>
              <a:buClr>
                <a:schemeClr val="tx2"/>
              </a:buClr>
              <a:buFont typeface="Symbol" pitchFamily="18" charset="2"/>
              <a:buChar char="-"/>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3600" b="1" dirty="0" smtClean="0">
                <a:solidFill>
                  <a:schemeClr val="accent6"/>
                </a:solidFill>
              </a:rPr>
              <a:t>Plan S </a:t>
            </a:r>
            <a:r>
              <a:rPr lang="de-DE" sz="3600" b="1" dirty="0" err="1" smtClean="0">
                <a:solidFill>
                  <a:schemeClr val="accent6"/>
                </a:solidFill>
              </a:rPr>
              <a:t>and</a:t>
            </a:r>
            <a:r>
              <a:rPr lang="de-DE" sz="3600" b="1" dirty="0" smtClean="0">
                <a:solidFill>
                  <a:schemeClr val="accent6"/>
                </a:solidFill>
              </a:rPr>
              <a:t> </a:t>
            </a:r>
            <a:r>
              <a:rPr lang="de-DE" sz="3600" b="1" dirty="0" err="1" smtClean="0">
                <a:solidFill>
                  <a:schemeClr val="accent6"/>
                </a:solidFill>
              </a:rPr>
              <a:t>funders</a:t>
            </a:r>
            <a:r>
              <a:rPr lang="de-DE" sz="3600" b="1" dirty="0" smtClean="0">
                <a:solidFill>
                  <a:schemeClr val="accent6"/>
                </a:solidFill>
              </a:rPr>
              <a:t> </a:t>
            </a:r>
            <a:r>
              <a:rPr lang="de-DE" sz="3600" b="1" dirty="0" err="1" smtClean="0">
                <a:solidFill>
                  <a:schemeClr val="accent6"/>
                </a:solidFill>
              </a:rPr>
              <a:t>are</a:t>
            </a:r>
            <a:r>
              <a:rPr lang="de-DE" sz="3600" b="1" dirty="0" smtClean="0">
                <a:solidFill>
                  <a:schemeClr val="accent6"/>
                </a:solidFill>
              </a:rPr>
              <a:t> </a:t>
            </a:r>
            <a:r>
              <a:rPr lang="de-DE" sz="3600" b="1" dirty="0" err="1" smtClean="0">
                <a:solidFill>
                  <a:schemeClr val="accent6"/>
                </a:solidFill>
              </a:rPr>
              <a:t>getting</a:t>
            </a:r>
            <a:r>
              <a:rPr lang="de-DE" sz="3600" b="1" dirty="0" smtClean="0">
                <a:solidFill>
                  <a:schemeClr val="accent6"/>
                </a:solidFill>
              </a:rPr>
              <a:t> </a:t>
            </a:r>
            <a:r>
              <a:rPr lang="de-DE" sz="3600" b="1" dirty="0" err="1" smtClean="0">
                <a:solidFill>
                  <a:schemeClr val="accent6"/>
                </a:solidFill>
              </a:rPr>
              <a:t>into</a:t>
            </a:r>
            <a:r>
              <a:rPr lang="de-DE" sz="3600" b="1" dirty="0" smtClean="0">
                <a:solidFill>
                  <a:schemeClr val="accent6"/>
                </a:solidFill>
              </a:rPr>
              <a:t> </a:t>
            </a:r>
            <a:r>
              <a:rPr lang="de-DE" sz="3600" b="1" dirty="0" err="1" smtClean="0">
                <a:solidFill>
                  <a:schemeClr val="accent6"/>
                </a:solidFill>
              </a:rPr>
              <a:t>the</a:t>
            </a:r>
            <a:r>
              <a:rPr lang="de-DE" sz="3600" b="1" dirty="0" smtClean="0">
                <a:solidFill>
                  <a:schemeClr val="accent6"/>
                </a:solidFill>
              </a:rPr>
              <a:t> </a:t>
            </a:r>
            <a:r>
              <a:rPr lang="de-DE" sz="3600" b="1" dirty="0" err="1" smtClean="0">
                <a:solidFill>
                  <a:schemeClr val="accent6"/>
                </a:solidFill>
              </a:rPr>
              <a:t>act</a:t>
            </a:r>
            <a:r>
              <a:rPr lang="de-DE" sz="3600" b="1" dirty="0" smtClean="0">
                <a:solidFill>
                  <a:schemeClr val="accent6"/>
                </a:solidFill>
              </a:rPr>
              <a:t>! </a:t>
            </a:r>
            <a:endParaRPr lang="de-DE" sz="3600" dirty="0"/>
          </a:p>
        </p:txBody>
      </p:sp>
      <p:sp>
        <p:nvSpPr>
          <p:cNvPr id="12" name="Rectangle 11"/>
          <p:cNvSpPr/>
          <p:nvPr/>
        </p:nvSpPr>
        <p:spPr>
          <a:xfrm>
            <a:off x="7694023" y="2233749"/>
            <a:ext cx="261257" cy="35400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en-GB" sz="1200" dirty="0" smtClean="0">
              <a:solidFill>
                <a:schemeClr val="tx1"/>
              </a:solidFill>
            </a:endParaRPr>
          </a:p>
        </p:txBody>
      </p:sp>
      <p:pic>
        <p:nvPicPr>
          <p:cNvPr id="17" name="Picture 16"/>
          <p:cNvPicPr>
            <a:picLocks noChangeAspect="1"/>
          </p:cNvPicPr>
          <p:nvPr/>
        </p:nvPicPr>
        <p:blipFill>
          <a:blip r:embed="rId4"/>
          <a:stretch>
            <a:fillRect/>
          </a:stretch>
        </p:blipFill>
        <p:spPr>
          <a:xfrm>
            <a:off x="5029150" y="4141550"/>
            <a:ext cx="4185290" cy="2461957"/>
          </a:xfrm>
          <a:prstGeom prst="rect">
            <a:avLst/>
          </a:prstGeom>
          <a:ln>
            <a:solidFill>
              <a:schemeClr val="tx2"/>
            </a:solidFill>
          </a:ln>
        </p:spPr>
      </p:pic>
      <p:pic>
        <p:nvPicPr>
          <p:cNvPr id="18" name="Picture 17"/>
          <p:cNvPicPr>
            <a:picLocks noChangeAspect="1"/>
          </p:cNvPicPr>
          <p:nvPr/>
        </p:nvPicPr>
        <p:blipFill>
          <a:blip r:embed="rId5"/>
          <a:stretch>
            <a:fillRect/>
          </a:stretch>
        </p:blipFill>
        <p:spPr>
          <a:xfrm>
            <a:off x="343711" y="2024743"/>
            <a:ext cx="4537908" cy="1545914"/>
          </a:xfrm>
          <a:prstGeom prst="rect">
            <a:avLst/>
          </a:prstGeom>
          <a:ln>
            <a:solidFill>
              <a:schemeClr val="tx2"/>
            </a:solidFill>
          </a:ln>
        </p:spPr>
      </p:pic>
      <p:pic>
        <p:nvPicPr>
          <p:cNvPr id="16" name="Picture 15"/>
          <p:cNvPicPr>
            <a:picLocks noChangeAspect="1"/>
          </p:cNvPicPr>
          <p:nvPr/>
        </p:nvPicPr>
        <p:blipFill>
          <a:blip r:embed="rId6"/>
          <a:stretch>
            <a:fillRect/>
          </a:stretch>
        </p:blipFill>
        <p:spPr>
          <a:xfrm>
            <a:off x="226144" y="4141550"/>
            <a:ext cx="4484205" cy="2328482"/>
          </a:xfrm>
          <a:prstGeom prst="rect">
            <a:avLst/>
          </a:prstGeom>
          <a:ln>
            <a:solidFill>
              <a:schemeClr val="tx2"/>
            </a:solidFill>
          </a:ln>
        </p:spPr>
      </p:pic>
    </p:spTree>
    <p:extLst>
      <p:ext uri="{BB962C8B-B14F-4D97-AF65-F5344CB8AC3E}">
        <p14:creationId xmlns:p14="http://schemas.microsoft.com/office/powerpoint/2010/main" val="2493250387"/>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4AD1E780-DE1C-4ECA-B5E5-863D0BC53287}" type="slidenum">
              <a:rPr lang="de-DE" smtClean="0"/>
              <a:pPr/>
              <a:t>32</a:t>
            </a:fld>
            <a:endParaRPr lang="de-DE" dirty="0"/>
          </a:p>
        </p:txBody>
      </p:sp>
      <p:sp>
        <p:nvSpPr>
          <p:cNvPr id="4" name="Rectangle 3"/>
          <p:cNvSpPr/>
          <p:nvPr/>
        </p:nvSpPr>
        <p:spPr>
          <a:xfrm>
            <a:off x="395276" y="6223529"/>
            <a:ext cx="4621843" cy="369332"/>
          </a:xfrm>
          <a:prstGeom prst="rect">
            <a:avLst/>
          </a:prstGeom>
        </p:spPr>
        <p:txBody>
          <a:bodyPr wrap="none">
            <a:spAutoFit/>
          </a:bodyPr>
          <a:lstStyle/>
          <a:p>
            <a:r>
              <a:rPr lang="en-GB" dirty="0">
                <a:hlinkClick r:id="rId3"/>
              </a:rPr>
              <a:t>https://www.coalition-s.org/implementation</a:t>
            </a:r>
            <a:r>
              <a:rPr lang="en-GB" dirty="0" smtClean="0">
                <a:hlinkClick r:id="rId3"/>
              </a:rPr>
              <a:t>/</a:t>
            </a:r>
            <a:r>
              <a:rPr lang="en-GB" dirty="0" smtClean="0"/>
              <a:t> </a:t>
            </a:r>
            <a:endParaRPr lang="en-GB" dirty="0"/>
          </a:p>
        </p:txBody>
      </p:sp>
      <p:pic>
        <p:nvPicPr>
          <p:cNvPr id="8" name="Picture 7"/>
          <p:cNvPicPr>
            <a:picLocks noChangeAspect="1"/>
          </p:cNvPicPr>
          <p:nvPr/>
        </p:nvPicPr>
        <p:blipFill>
          <a:blip r:embed="rId4"/>
          <a:stretch>
            <a:fillRect/>
          </a:stretch>
        </p:blipFill>
        <p:spPr>
          <a:xfrm>
            <a:off x="395271" y="1230661"/>
            <a:ext cx="9096749" cy="836839"/>
          </a:xfrm>
          <a:prstGeom prst="rect">
            <a:avLst/>
          </a:prstGeom>
        </p:spPr>
      </p:pic>
      <p:pic>
        <p:nvPicPr>
          <p:cNvPr id="9" name="Picture 8"/>
          <p:cNvPicPr>
            <a:picLocks noChangeAspect="1"/>
          </p:cNvPicPr>
          <p:nvPr/>
        </p:nvPicPr>
        <p:blipFill>
          <a:blip r:embed="rId5"/>
          <a:stretch>
            <a:fillRect/>
          </a:stretch>
        </p:blipFill>
        <p:spPr>
          <a:xfrm>
            <a:off x="395272" y="4197259"/>
            <a:ext cx="9096749" cy="1984191"/>
          </a:xfrm>
          <a:prstGeom prst="rect">
            <a:avLst/>
          </a:prstGeom>
        </p:spPr>
      </p:pic>
      <p:sp>
        <p:nvSpPr>
          <p:cNvPr id="7" name="Textplatzhalter 2"/>
          <p:cNvSpPr txBox="1">
            <a:spLocks/>
          </p:cNvSpPr>
          <p:nvPr/>
        </p:nvSpPr>
        <p:spPr>
          <a:xfrm>
            <a:off x="249073" y="390768"/>
            <a:ext cx="8929946" cy="697671"/>
          </a:xfrm>
          <a:prstGeom prst="rect">
            <a:avLst/>
          </a:prstGeom>
        </p:spPr>
        <p:txBody>
          <a:bodyPr anchor="t" anchorCtr="0"/>
          <a:lstStyle>
            <a:lvl1pPr marL="0" indent="0" algn="l" defTabSz="914400" rtl="0" eaLnBrk="1" latinLnBrk="0" hangingPunct="1">
              <a:spcBef>
                <a:spcPts val="200"/>
              </a:spcBef>
              <a:buClr>
                <a:schemeClr val="tx2"/>
              </a:buClr>
              <a:buFont typeface="Wingdings" pitchFamily="2" charset="2"/>
              <a:buNone/>
              <a:defRPr sz="1600" kern="1200">
                <a:solidFill>
                  <a:schemeClr val="tx2"/>
                </a:solidFill>
                <a:latin typeface="+mn-lt"/>
                <a:ea typeface="+mn-ea"/>
                <a:cs typeface="+mn-cs"/>
              </a:defRPr>
            </a:lvl1pPr>
            <a:lvl2pPr marL="180975" indent="-180975" algn="l" defTabSz="914400" rtl="0" eaLnBrk="1" latinLnBrk="0" hangingPunct="1">
              <a:spcBef>
                <a:spcPts val="200"/>
              </a:spcBef>
              <a:buClr>
                <a:schemeClr val="tx2"/>
              </a:buClr>
              <a:buFont typeface="Wingdings" pitchFamily="2" charset="2"/>
              <a:buChar char="§"/>
              <a:defRPr sz="1600" kern="1200">
                <a:solidFill>
                  <a:schemeClr val="tx2"/>
                </a:solidFill>
                <a:latin typeface="+mn-lt"/>
                <a:ea typeface="+mn-ea"/>
                <a:cs typeface="+mn-cs"/>
              </a:defRPr>
            </a:lvl2pPr>
            <a:lvl3pPr marL="355600" indent="-174625"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3pPr>
            <a:lvl4pPr marL="538163" indent="-182563"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4pPr>
            <a:lvl5pPr marL="719138" indent="-180975" algn="l" defTabSz="914400" rtl="0" eaLnBrk="1" latinLnBrk="0" hangingPunct="1">
              <a:spcBef>
                <a:spcPts val="200"/>
              </a:spcBef>
              <a:buClr>
                <a:schemeClr val="tx2"/>
              </a:buClr>
              <a:buFont typeface="Symbol" pitchFamily="18" charset="2"/>
              <a:buChar char="-"/>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3600" b="1" dirty="0" err="1" smtClean="0">
                <a:solidFill>
                  <a:schemeClr val="accent6"/>
                </a:solidFill>
              </a:rPr>
              <a:t>How</a:t>
            </a:r>
            <a:r>
              <a:rPr lang="de-DE" sz="3600" b="1" dirty="0" smtClean="0">
                <a:solidFill>
                  <a:schemeClr val="accent6"/>
                </a:solidFill>
              </a:rPr>
              <a:t> </a:t>
            </a:r>
            <a:r>
              <a:rPr lang="de-DE" sz="3600" b="1" dirty="0" err="1" smtClean="0">
                <a:solidFill>
                  <a:schemeClr val="accent6"/>
                </a:solidFill>
              </a:rPr>
              <a:t>to</a:t>
            </a:r>
            <a:r>
              <a:rPr lang="de-DE" sz="3600" b="1" dirty="0" smtClean="0">
                <a:solidFill>
                  <a:schemeClr val="accent6"/>
                </a:solidFill>
              </a:rPr>
              <a:t> </a:t>
            </a:r>
            <a:r>
              <a:rPr lang="de-DE" sz="3600" b="1" dirty="0" err="1" smtClean="0">
                <a:solidFill>
                  <a:schemeClr val="accent6"/>
                </a:solidFill>
              </a:rPr>
              <a:t>comply</a:t>
            </a:r>
            <a:r>
              <a:rPr lang="de-DE" sz="3600" b="1" dirty="0" smtClean="0">
                <a:solidFill>
                  <a:schemeClr val="accent6"/>
                </a:solidFill>
              </a:rPr>
              <a:t> </a:t>
            </a:r>
            <a:r>
              <a:rPr lang="de-DE" sz="3600" b="1" dirty="0" err="1" smtClean="0">
                <a:solidFill>
                  <a:schemeClr val="accent6"/>
                </a:solidFill>
              </a:rPr>
              <a:t>with</a:t>
            </a:r>
            <a:r>
              <a:rPr lang="de-DE" sz="3600" b="1" dirty="0" smtClean="0">
                <a:solidFill>
                  <a:schemeClr val="accent6"/>
                </a:solidFill>
              </a:rPr>
              <a:t> Plan S?</a:t>
            </a:r>
            <a:endParaRPr lang="de-DE" sz="3600" dirty="0"/>
          </a:p>
        </p:txBody>
      </p:sp>
      <p:pic>
        <p:nvPicPr>
          <p:cNvPr id="3" name="Picture 2"/>
          <p:cNvPicPr>
            <a:picLocks noChangeAspect="1"/>
          </p:cNvPicPr>
          <p:nvPr/>
        </p:nvPicPr>
        <p:blipFill>
          <a:blip r:embed="rId6"/>
          <a:stretch>
            <a:fillRect/>
          </a:stretch>
        </p:blipFill>
        <p:spPr>
          <a:xfrm>
            <a:off x="395270" y="2209722"/>
            <a:ext cx="9096749" cy="1797669"/>
          </a:xfrm>
          <a:prstGeom prst="rect">
            <a:avLst/>
          </a:prstGeom>
          <a:ln w="38100">
            <a:solidFill>
              <a:schemeClr val="accent4"/>
            </a:solidFill>
          </a:ln>
        </p:spPr>
      </p:pic>
      <p:sp>
        <p:nvSpPr>
          <p:cNvPr id="5" name="Rectangle 4"/>
          <p:cNvSpPr/>
          <p:nvPr/>
        </p:nvSpPr>
        <p:spPr>
          <a:xfrm>
            <a:off x="6439989" y="2013465"/>
            <a:ext cx="3265365" cy="2183794"/>
          </a:xfrm>
          <a:prstGeom prst="rect">
            <a:avLst/>
          </a:prstGeom>
          <a:noFill/>
          <a:ln w="762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en-GB" sz="1200" dirty="0" smtClean="0">
              <a:solidFill>
                <a:schemeClr val="tx1"/>
              </a:solidFill>
            </a:endParaRPr>
          </a:p>
        </p:txBody>
      </p:sp>
    </p:spTree>
    <p:extLst>
      <p:ext uri="{BB962C8B-B14F-4D97-AF65-F5344CB8AC3E}">
        <p14:creationId xmlns:p14="http://schemas.microsoft.com/office/powerpoint/2010/main" val="2175393355"/>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p:cNvSpPr>
            <a:spLocks noGrp="1"/>
          </p:cNvSpPr>
          <p:nvPr>
            <p:ph type="sldNum" sz="quarter" idx="12"/>
          </p:nvPr>
        </p:nvSpPr>
        <p:spPr/>
        <p:txBody>
          <a:bodyPr/>
          <a:lstStyle/>
          <a:p>
            <a:fld id="{4AD1E780-DE1C-4ECA-B5E5-863D0BC53287}" type="slidenum">
              <a:rPr lang="de-DE" smtClean="0"/>
              <a:pPr/>
              <a:t>33</a:t>
            </a:fld>
            <a:endParaRPr lang="de-DE" dirty="0"/>
          </a:p>
        </p:txBody>
      </p:sp>
      <p:sp>
        <p:nvSpPr>
          <p:cNvPr id="3" name="Textplatzhalter 2"/>
          <p:cNvSpPr>
            <a:spLocks noGrp="1"/>
          </p:cNvSpPr>
          <p:nvPr>
            <p:ph type="body" sz="quarter" idx="13"/>
          </p:nvPr>
        </p:nvSpPr>
        <p:spPr>
          <a:xfrm>
            <a:off x="2849880" y="426280"/>
            <a:ext cx="6855474" cy="697671"/>
          </a:xfrm>
        </p:spPr>
        <p:txBody>
          <a:bodyPr anchor="t" anchorCtr="0"/>
          <a:lstStyle/>
          <a:p>
            <a:r>
              <a:rPr lang="de-DE" sz="3600" b="1" dirty="0" err="1" smtClean="0">
                <a:solidFill>
                  <a:schemeClr val="accent6"/>
                </a:solidFill>
              </a:rPr>
              <a:t>How</a:t>
            </a:r>
            <a:r>
              <a:rPr lang="de-DE" sz="3600" b="1" dirty="0" smtClean="0">
                <a:solidFill>
                  <a:schemeClr val="accent6"/>
                </a:solidFill>
              </a:rPr>
              <a:t> </a:t>
            </a:r>
            <a:r>
              <a:rPr lang="de-DE" sz="3600" b="1" dirty="0" err="1" smtClean="0">
                <a:solidFill>
                  <a:schemeClr val="accent6"/>
                </a:solidFill>
              </a:rPr>
              <a:t>long</a:t>
            </a:r>
            <a:r>
              <a:rPr lang="de-DE" sz="3600" b="1" dirty="0" smtClean="0">
                <a:solidFill>
                  <a:schemeClr val="accent6"/>
                </a:solidFill>
              </a:rPr>
              <a:t> will </a:t>
            </a:r>
            <a:r>
              <a:rPr lang="de-DE" sz="3600" b="1" dirty="0" err="1" smtClean="0">
                <a:solidFill>
                  <a:schemeClr val="accent6"/>
                </a:solidFill>
              </a:rPr>
              <a:t>it</a:t>
            </a:r>
            <a:r>
              <a:rPr lang="de-DE" sz="3600" b="1" dirty="0" smtClean="0">
                <a:solidFill>
                  <a:schemeClr val="accent6"/>
                </a:solidFill>
              </a:rPr>
              <a:t> </a:t>
            </a:r>
            <a:r>
              <a:rPr lang="de-DE" sz="3600" b="1" dirty="0" err="1" smtClean="0">
                <a:solidFill>
                  <a:schemeClr val="accent6"/>
                </a:solidFill>
              </a:rPr>
              <a:t>take</a:t>
            </a:r>
            <a:r>
              <a:rPr lang="de-DE" sz="3600" b="1" dirty="0" smtClean="0">
                <a:solidFill>
                  <a:schemeClr val="accent6"/>
                </a:solidFill>
              </a:rPr>
              <a:t> </a:t>
            </a:r>
            <a:r>
              <a:rPr lang="de-DE" sz="3600" b="1" dirty="0" err="1" smtClean="0">
                <a:solidFill>
                  <a:schemeClr val="accent6"/>
                </a:solidFill>
              </a:rPr>
              <a:t>to</a:t>
            </a:r>
            <a:r>
              <a:rPr lang="de-DE" sz="3600" b="1" dirty="0" smtClean="0">
                <a:solidFill>
                  <a:schemeClr val="accent6"/>
                </a:solidFill>
              </a:rPr>
              <a:t> </a:t>
            </a:r>
            <a:r>
              <a:rPr lang="de-DE" sz="3600" b="1" dirty="0" err="1" smtClean="0">
                <a:solidFill>
                  <a:schemeClr val="accent6"/>
                </a:solidFill>
              </a:rPr>
              <a:t>achieve</a:t>
            </a:r>
            <a:r>
              <a:rPr lang="de-DE" sz="3600" b="1" dirty="0" smtClean="0">
                <a:solidFill>
                  <a:schemeClr val="accent6"/>
                </a:solidFill>
              </a:rPr>
              <a:t> open </a:t>
            </a:r>
            <a:r>
              <a:rPr lang="de-DE" sz="3600" b="1" dirty="0" err="1" smtClean="0">
                <a:solidFill>
                  <a:schemeClr val="accent6"/>
                </a:solidFill>
              </a:rPr>
              <a:t>access</a:t>
            </a:r>
            <a:r>
              <a:rPr lang="de-DE" sz="3600" b="1" dirty="0" smtClean="0">
                <a:solidFill>
                  <a:schemeClr val="accent6"/>
                </a:solidFill>
              </a:rPr>
              <a:t> on a large </a:t>
            </a:r>
            <a:r>
              <a:rPr lang="de-DE" sz="3600" b="1" dirty="0" err="1" smtClean="0">
                <a:solidFill>
                  <a:schemeClr val="accent6"/>
                </a:solidFill>
              </a:rPr>
              <a:t>scale</a:t>
            </a:r>
            <a:r>
              <a:rPr lang="de-DE" sz="3600" b="1" dirty="0" smtClean="0">
                <a:solidFill>
                  <a:schemeClr val="accent6"/>
                </a:solidFill>
              </a:rPr>
              <a:t>?</a:t>
            </a:r>
          </a:p>
          <a:p>
            <a:endParaRPr lang="de-DE" sz="3600" b="1" dirty="0" smtClean="0">
              <a:solidFill>
                <a:schemeClr val="accent6"/>
              </a:solidFill>
            </a:endParaRPr>
          </a:p>
          <a:p>
            <a:r>
              <a:rPr lang="de-DE" sz="3600" b="1" dirty="0" err="1" smtClean="0">
                <a:solidFill>
                  <a:schemeClr val="accent6"/>
                </a:solidFill>
              </a:rPr>
              <a:t>That</a:t>
            </a:r>
            <a:r>
              <a:rPr lang="de-DE" sz="3600" b="1" dirty="0" smtClean="0">
                <a:solidFill>
                  <a:schemeClr val="accent6"/>
                </a:solidFill>
              </a:rPr>
              <a:t> </a:t>
            </a:r>
            <a:r>
              <a:rPr lang="de-DE" sz="3600" b="1" dirty="0" err="1" smtClean="0">
                <a:solidFill>
                  <a:schemeClr val="accent6"/>
                </a:solidFill>
              </a:rPr>
              <a:t>depends</a:t>
            </a:r>
            <a:r>
              <a:rPr lang="de-DE" sz="3600" b="1" dirty="0" smtClean="0">
                <a:solidFill>
                  <a:schemeClr val="accent6"/>
                </a:solidFill>
              </a:rPr>
              <a:t> on </a:t>
            </a:r>
            <a:r>
              <a:rPr lang="de-DE" sz="3600" b="1" dirty="0" err="1" smtClean="0">
                <a:solidFill>
                  <a:schemeClr val="accent6"/>
                </a:solidFill>
              </a:rPr>
              <a:t>us</a:t>
            </a:r>
            <a:r>
              <a:rPr lang="de-DE" sz="3600" b="1" dirty="0" smtClean="0">
                <a:solidFill>
                  <a:schemeClr val="accent6"/>
                </a:solidFill>
              </a:rPr>
              <a:t>!</a:t>
            </a:r>
            <a:endParaRPr lang="de-DE" sz="3600" dirty="0" smtClean="0"/>
          </a:p>
        </p:txBody>
      </p:sp>
      <p:pic>
        <p:nvPicPr>
          <p:cNvPr id="6" name="Picture 5"/>
          <p:cNvPicPr>
            <a:picLocks noChangeAspect="1"/>
          </p:cNvPicPr>
          <p:nvPr/>
        </p:nvPicPr>
        <p:blipFill>
          <a:blip r:embed="rId3"/>
          <a:stretch>
            <a:fillRect/>
          </a:stretch>
        </p:blipFill>
        <p:spPr>
          <a:xfrm>
            <a:off x="1204030" y="366405"/>
            <a:ext cx="1095536" cy="6393620"/>
          </a:xfrm>
          <a:prstGeom prst="rect">
            <a:avLst/>
          </a:prstGeom>
        </p:spPr>
      </p:pic>
      <p:pic>
        <p:nvPicPr>
          <p:cNvPr id="11" name="Picture 10"/>
          <p:cNvPicPr>
            <a:picLocks noChangeAspect="1"/>
          </p:cNvPicPr>
          <p:nvPr/>
        </p:nvPicPr>
        <p:blipFill>
          <a:blip r:embed="rId4"/>
          <a:stretch>
            <a:fillRect/>
          </a:stretch>
        </p:blipFill>
        <p:spPr>
          <a:xfrm>
            <a:off x="2299566" y="4544033"/>
            <a:ext cx="1552575" cy="1143000"/>
          </a:xfrm>
          <a:prstGeom prst="rect">
            <a:avLst/>
          </a:prstGeom>
        </p:spPr>
      </p:pic>
      <p:sp>
        <p:nvSpPr>
          <p:cNvPr id="12" name="TextBox 11"/>
          <p:cNvSpPr txBox="1"/>
          <p:nvPr/>
        </p:nvSpPr>
        <p:spPr>
          <a:xfrm>
            <a:off x="2299566" y="5854197"/>
            <a:ext cx="4983480" cy="738664"/>
          </a:xfrm>
          <a:prstGeom prst="rect">
            <a:avLst/>
          </a:prstGeom>
          <a:noFill/>
        </p:spPr>
        <p:txBody>
          <a:bodyPr wrap="square" rtlCol="0">
            <a:spAutoFit/>
          </a:bodyPr>
          <a:lstStyle/>
          <a:p>
            <a:r>
              <a:rPr lang="en-GB" sz="1400" dirty="0">
                <a:hlinkClick r:id="rId5"/>
              </a:rPr>
              <a:t>https://</a:t>
            </a:r>
            <a:r>
              <a:rPr lang="en-GB" sz="1400" dirty="0" smtClean="0">
                <a:hlinkClick r:id="rId5"/>
              </a:rPr>
              <a:t>www.sciencemag.org/news/2019/01/will-world-embrace-plan-s-radical-proposal-mandate-open-access-science-papers</a:t>
            </a:r>
            <a:r>
              <a:rPr lang="en-GB" sz="1400" dirty="0" smtClean="0"/>
              <a:t> </a:t>
            </a:r>
            <a:endParaRPr lang="en-GB" sz="1400" dirty="0"/>
          </a:p>
        </p:txBody>
      </p:sp>
    </p:spTree>
    <p:extLst>
      <p:ext uri="{BB962C8B-B14F-4D97-AF65-F5344CB8AC3E}">
        <p14:creationId xmlns:p14="http://schemas.microsoft.com/office/powerpoint/2010/main" val="4282925741"/>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stretch>
            <a:fillRect/>
          </a:stretch>
        </p:blipFill>
        <p:spPr>
          <a:xfrm>
            <a:off x="536575" y="1132505"/>
            <a:ext cx="8588851" cy="5174605"/>
          </a:xfrm>
          <a:prstGeom prst="rect">
            <a:avLst/>
          </a:prstGeom>
        </p:spPr>
      </p:pic>
      <p:sp>
        <p:nvSpPr>
          <p:cNvPr id="2" name="Foliennummernplatzhalter 1"/>
          <p:cNvSpPr>
            <a:spLocks noGrp="1"/>
          </p:cNvSpPr>
          <p:nvPr>
            <p:ph type="sldNum" sz="quarter" idx="12"/>
          </p:nvPr>
        </p:nvSpPr>
        <p:spPr/>
        <p:txBody>
          <a:bodyPr/>
          <a:lstStyle/>
          <a:p>
            <a:fld id="{4AD1E780-DE1C-4ECA-B5E5-863D0BC53287}" type="slidenum">
              <a:rPr lang="de-DE" smtClean="0"/>
              <a:pPr/>
              <a:t>34</a:t>
            </a:fld>
            <a:endParaRPr lang="de-DE" dirty="0"/>
          </a:p>
        </p:txBody>
      </p:sp>
      <p:sp>
        <p:nvSpPr>
          <p:cNvPr id="3" name="Textplatzhalter 2"/>
          <p:cNvSpPr>
            <a:spLocks noGrp="1"/>
          </p:cNvSpPr>
          <p:nvPr>
            <p:ph type="body" sz="quarter" idx="13"/>
          </p:nvPr>
        </p:nvSpPr>
        <p:spPr>
          <a:xfrm>
            <a:off x="356256" y="358547"/>
            <a:ext cx="8885499" cy="697671"/>
          </a:xfrm>
        </p:spPr>
        <p:txBody>
          <a:bodyPr anchor="t" anchorCtr="0"/>
          <a:lstStyle/>
          <a:p>
            <a:r>
              <a:rPr lang="de-DE" sz="3600" b="1" dirty="0" smtClean="0">
                <a:solidFill>
                  <a:schemeClr val="accent6"/>
                </a:solidFill>
              </a:rPr>
              <a:t>Global </a:t>
            </a:r>
            <a:r>
              <a:rPr lang="de-DE" sz="3600" b="1" dirty="0" err="1" smtClean="0">
                <a:solidFill>
                  <a:schemeClr val="accent6"/>
                </a:solidFill>
              </a:rPr>
              <a:t>consensus</a:t>
            </a:r>
            <a:r>
              <a:rPr lang="de-DE" sz="3600" b="1" dirty="0" smtClean="0">
                <a:solidFill>
                  <a:schemeClr val="accent6"/>
                </a:solidFill>
              </a:rPr>
              <a:t> via OA2020</a:t>
            </a:r>
          </a:p>
          <a:p>
            <a:endParaRPr lang="de-DE" sz="3600" dirty="0" smtClean="0"/>
          </a:p>
        </p:txBody>
      </p:sp>
      <p:sp>
        <p:nvSpPr>
          <p:cNvPr id="9" name="TextBox 8"/>
          <p:cNvSpPr txBox="1"/>
          <p:nvPr/>
        </p:nvSpPr>
        <p:spPr>
          <a:xfrm>
            <a:off x="317316" y="6307111"/>
            <a:ext cx="4481689" cy="369332"/>
          </a:xfrm>
          <a:prstGeom prst="rect">
            <a:avLst/>
          </a:prstGeom>
          <a:noFill/>
        </p:spPr>
        <p:txBody>
          <a:bodyPr wrap="square" rtlCol="0">
            <a:spAutoFit/>
          </a:bodyPr>
          <a:lstStyle/>
          <a:p>
            <a:r>
              <a:rPr lang="en-GB" dirty="0">
                <a:hlinkClick r:id="rId4"/>
              </a:rPr>
              <a:t>https://oa2020.org/b14-conference</a:t>
            </a:r>
            <a:r>
              <a:rPr lang="en-GB" dirty="0" smtClean="0">
                <a:hlinkClick r:id="rId4"/>
              </a:rPr>
              <a:t>/</a:t>
            </a:r>
            <a:r>
              <a:rPr lang="en-GB" dirty="0" smtClean="0"/>
              <a:t> </a:t>
            </a:r>
            <a:endParaRPr lang="en-GB" dirty="0"/>
          </a:p>
        </p:txBody>
      </p:sp>
    </p:spTree>
    <p:extLst>
      <p:ext uri="{BB962C8B-B14F-4D97-AF65-F5344CB8AC3E}">
        <p14:creationId xmlns:p14="http://schemas.microsoft.com/office/powerpoint/2010/main" val="2477498089"/>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p:cNvSpPr>
            <a:spLocks noGrp="1"/>
          </p:cNvSpPr>
          <p:nvPr>
            <p:ph type="sldNum" sz="quarter" idx="12"/>
          </p:nvPr>
        </p:nvSpPr>
        <p:spPr/>
        <p:txBody>
          <a:bodyPr/>
          <a:lstStyle/>
          <a:p>
            <a:fld id="{4AD1E780-DE1C-4ECA-B5E5-863D0BC53287}" type="slidenum">
              <a:rPr lang="de-DE" smtClean="0"/>
              <a:pPr/>
              <a:t>35</a:t>
            </a:fld>
            <a:endParaRPr lang="de-DE" dirty="0"/>
          </a:p>
        </p:txBody>
      </p:sp>
      <p:sp>
        <p:nvSpPr>
          <p:cNvPr id="5" name="Textplatzhalter 2"/>
          <p:cNvSpPr txBox="1">
            <a:spLocks/>
          </p:cNvSpPr>
          <p:nvPr/>
        </p:nvSpPr>
        <p:spPr>
          <a:xfrm>
            <a:off x="302341" y="370861"/>
            <a:ext cx="8929946" cy="697671"/>
          </a:xfrm>
          <a:prstGeom prst="rect">
            <a:avLst/>
          </a:prstGeom>
        </p:spPr>
        <p:txBody>
          <a:bodyPr anchor="t" anchorCtr="0"/>
          <a:lstStyle>
            <a:lvl1pPr marL="0" indent="0" algn="l" defTabSz="914400" rtl="0" eaLnBrk="1" latinLnBrk="0" hangingPunct="1">
              <a:spcBef>
                <a:spcPts val="200"/>
              </a:spcBef>
              <a:buClr>
                <a:schemeClr val="tx2"/>
              </a:buClr>
              <a:buFont typeface="Wingdings" pitchFamily="2" charset="2"/>
              <a:buNone/>
              <a:defRPr sz="1600" kern="1200">
                <a:solidFill>
                  <a:schemeClr val="tx2"/>
                </a:solidFill>
                <a:latin typeface="+mn-lt"/>
                <a:ea typeface="+mn-ea"/>
                <a:cs typeface="+mn-cs"/>
              </a:defRPr>
            </a:lvl1pPr>
            <a:lvl2pPr marL="180975" indent="-180975" algn="l" defTabSz="914400" rtl="0" eaLnBrk="1" latinLnBrk="0" hangingPunct="1">
              <a:spcBef>
                <a:spcPts val="200"/>
              </a:spcBef>
              <a:buClr>
                <a:schemeClr val="tx2"/>
              </a:buClr>
              <a:buFont typeface="Wingdings" pitchFamily="2" charset="2"/>
              <a:buChar char="§"/>
              <a:defRPr sz="1600" kern="1200">
                <a:solidFill>
                  <a:schemeClr val="tx2"/>
                </a:solidFill>
                <a:latin typeface="+mn-lt"/>
                <a:ea typeface="+mn-ea"/>
                <a:cs typeface="+mn-cs"/>
              </a:defRPr>
            </a:lvl2pPr>
            <a:lvl3pPr marL="355600" indent="-174625"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3pPr>
            <a:lvl4pPr marL="538163" indent="-182563"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4pPr>
            <a:lvl5pPr marL="719138" indent="-180975" algn="l" defTabSz="914400" rtl="0" eaLnBrk="1" latinLnBrk="0" hangingPunct="1">
              <a:spcBef>
                <a:spcPts val="200"/>
              </a:spcBef>
              <a:buClr>
                <a:schemeClr val="tx2"/>
              </a:buClr>
              <a:buFont typeface="Symbol" pitchFamily="18" charset="2"/>
              <a:buChar char="-"/>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3600" b="1" dirty="0" err="1" smtClean="0">
                <a:solidFill>
                  <a:schemeClr val="accent6"/>
                </a:solidFill>
              </a:rPr>
              <a:t>What</a:t>
            </a:r>
            <a:r>
              <a:rPr lang="de-DE" sz="3600" b="1" dirty="0" smtClean="0">
                <a:solidFill>
                  <a:schemeClr val="accent6"/>
                </a:solidFill>
              </a:rPr>
              <a:t> </a:t>
            </a:r>
            <a:r>
              <a:rPr lang="de-DE" sz="3600" b="1" dirty="0" err="1" smtClean="0">
                <a:solidFill>
                  <a:schemeClr val="accent6"/>
                </a:solidFill>
              </a:rPr>
              <a:t>should</a:t>
            </a:r>
            <a:r>
              <a:rPr lang="de-DE" sz="3600" b="1" dirty="0" smtClean="0">
                <a:solidFill>
                  <a:schemeClr val="accent6"/>
                </a:solidFill>
              </a:rPr>
              <a:t> </a:t>
            </a:r>
            <a:r>
              <a:rPr lang="de-DE" sz="3600" b="1" dirty="0" err="1" smtClean="0">
                <a:solidFill>
                  <a:schemeClr val="accent6"/>
                </a:solidFill>
              </a:rPr>
              <a:t>librarians</a:t>
            </a:r>
            <a:r>
              <a:rPr lang="de-DE" sz="3600" b="1" dirty="0" smtClean="0">
                <a:solidFill>
                  <a:schemeClr val="accent6"/>
                </a:solidFill>
              </a:rPr>
              <a:t> do</a:t>
            </a:r>
            <a:r>
              <a:rPr lang="de-DE" sz="3600" b="1" dirty="0" smtClean="0">
                <a:solidFill>
                  <a:schemeClr val="accent6"/>
                </a:solidFill>
              </a:rPr>
              <a:t>?</a:t>
            </a:r>
            <a:endParaRPr lang="de-DE" sz="3600" dirty="0"/>
          </a:p>
        </p:txBody>
      </p:sp>
      <p:pic>
        <p:nvPicPr>
          <p:cNvPr id="6" name="Grafik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648884" y="6108205"/>
            <a:ext cx="1371008" cy="636827"/>
          </a:xfrm>
          <a:prstGeom prst="rect">
            <a:avLst/>
          </a:prstGeom>
        </p:spPr>
      </p:pic>
      <p:sp>
        <p:nvSpPr>
          <p:cNvPr id="7" name="Freihandform 6"/>
          <p:cNvSpPr/>
          <p:nvPr/>
        </p:nvSpPr>
        <p:spPr>
          <a:xfrm>
            <a:off x="7648884" y="5958738"/>
            <a:ext cx="2258125" cy="60555"/>
          </a:xfrm>
          <a:custGeom>
            <a:avLst/>
            <a:gdLst>
              <a:gd name="connsiteX0" fmla="*/ 0 w 2464641"/>
              <a:gd name="connsiteY0" fmla="*/ 835677 h 835677"/>
              <a:gd name="connsiteX1" fmla="*/ 0 w 2464641"/>
              <a:gd name="connsiteY1" fmla="*/ 0 h 835677"/>
              <a:gd name="connsiteX2" fmla="*/ 2464641 w 2464641"/>
              <a:gd name="connsiteY2" fmla="*/ 0 h 835677"/>
              <a:gd name="connsiteX0" fmla="*/ 0 w 2464641"/>
              <a:gd name="connsiteY0" fmla="*/ 0 h 0"/>
              <a:gd name="connsiteX1" fmla="*/ 2464641 w 2464641"/>
              <a:gd name="connsiteY1" fmla="*/ 0 h 0"/>
            </a:gdLst>
            <a:ahLst/>
            <a:cxnLst>
              <a:cxn ang="0">
                <a:pos x="connsiteX0" y="connsiteY0"/>
              </a:cxn>
              <a:cxn ang="0">
                <a:pos x="connsiteX1" y="connsiteY1"/>
              </a:cxn>
            </a:cxnLst>
            <a:rect l="l" t="t" r="r" b="b"/>
            <a:pathLst>
              <a:path w="2464641">
                <a:moveTo>
                  <a:pt x="0" y="0"/>
                </a:moveTo>
                <a:lnTo>
                  <a:pt x="2464641" y="0"/>
                </a:lnTo>
              </a:path>
            </a:pathLst>
          </a:cu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TextBox 12"/>
          <p:cNvSpPr txBox="1"/>
          <p:nvPr/>
        </p:nvSpPr>
        <p:spPr>
          <a:xfrm>
            <a:off x="372502" y="2631166"/>
            <a:ext cx="8647389" cy="830997"/>
          </a:xfrm>
          <a:prstGeom prst="rect">
            <a:avLst/>
          </a:prstGeom>
          <a:noFill/>
        </p:spPr>
        <p:txBody>
          <a:bodyPr wrap="square" rtlCol="0">
            <a:spAutoFit/>
          </a:bodyPr>
          <a:lstStyle/>
          <a:p>
            <a:r>
              <a:rPr lang="en-GB" sz="2400" dirty="0" smtClean="0">
                <a:solidFill>
                  <a:schemeClr val="accent2"/>
                </a:solidFill>
              </a:rPr>
              <a:t>Engage </a:t>
            </a:r>
            <a:r>
              <a:rPr lang="en-GB" sz="2400" dirty="0" smtClean="0">
                <a:solidFill>
                  <a:schemeClr val="accent2"/>
                </a:solidFill>
              </a:rPr>
              <a:t>with </a:t>
            </a:r>
            <a:r>
              <a:rPr lang="en-GB" sz="2400" dirty="0" smtClean="0">
                <a:solidFill>
                  <a:schemeClr val="accent2"/>
                </a:solidFill>
              </a:rPr>
              <a:t>the </a:t>
            </a:r>
            <a:r>
              <a:rPr lang="en-GB" sz="2400" dirty="0" smtClean="0">
                <a:solidFill>
                  <a:schemeClr val="accent2"/>
                </a:solidFill>
              </a:rPr>
              <a:t>OA2020 </a:t>
            </a:r>
            <a:r>
              <a:rPr lang="en-GB" sz="2400" dirty="0" smtClean="0">
                <a:solidFill>
                  <a:schemeClr val="accent2"/>
                </a:solidFill>
              </a:rPr>
              <a:t>community to share and learn strategies and best practice for addressing publishers</a:t>
            </a:r>
            <a:endParaRPr lang="en-GB" sz="2400" dirty="0">
              <a:solidFill>
                <a:schemeClr val="accent2"/>
              </a:solidFill>
            </a:endParaRPr>
          </a:p>
        </p:txBody>
      </p:sp>
      <p:sp>
        <p:nvSpPr>
          <p:cNvPr id="14" name="Rectangle 13"/>
          <p:cNvSpPr/>
          <p:nvPr/>
        </p:nvSpPr>
        <p:spPr>
          <a:xfrm>
            <a:off x="372502" y="3405249"/>
            <a:ext cx="4236801" cy="369332"/>
          </a:xfrm>
          <a:prstGeom prst="rect">
            <a:avLst/>
          </a:prstGeom>
        </p:spPr>
        <p:txBody>
          <a:bodyPr wrap="none">
            <a:spAutoFit/>
          </a:bodyPr>
          <a:lstStyle/>
          <a:p>
            <a:pPr>
              <a:spcAft>
                <a:spcPts val="0"/>
              </a:spcAft>
            </a:pPr>
            <a:r>
              <a:rPr lang="de-DE" u="sng" dirty="0" smtClean="0">
                <a:solidFill>
                  <a:srgbClr val="0000FF"/>
                </a:solidFill>
                <a:latin typeface="Calibri" panose="020F0502020204030204" pitchFamily="34" charset="0"/>
                <a:ea typeface="Calibri" panose="020F0502020204030204" pitchFamily="34" charset="0"/>
                <a:hlinkClick r:id="rId4"/>
              </a:rPr>
              <a:t>https</a:t>
            </a:r>
            <a:r>
              <a:rPr lang="de-DE" u="sng" dirty="0">
                <a:solidFill>
                  <a:srgbClr val="0000FF"/>
                </a:solidFill>
                <a:latin typeface="Calibri" panose="020F0502020204030204" pitchFamily="34" charset="0"/>
                <a:ea typeface="Calibri" panose="020F0502020204030204" pitchFamily="34" charset="0"/>
                <a:hlinkClick r:id="rId4"/>
              </a:rPr>
              <a:t>://oa2020.org/learn_more/#</a:t>
            </a:r>
            <a:r>
              <a:rPr lang="de-DE" u="sng" dirty="0" smtClean="0">
                <a:solidFill>
                  <a:srgbClr val="0000FF"/>
                </a:solidFill>
                <a:latin typeface="Calibri" panose="020F0502020204030204" pitchFamily="34" charset="0"/>
                <a:ea typeface="Calibri" panose="020F0502020204030204" pitchFamily="34" charset="0"/>
                <a:hlinkClick r:id="rId4"/>
              </a:rPr>
              <a:t>promote</a:t>
            </a:r>
            <a:r>
              <a:rPr lang="de-DE" u="sng" dirty="0" smtClean="0">
                <a:solidFill>
                  <a:srgbClr val="0000FF"/>
                </a:solidFill>
                <a:latin typeface="Calibri" panose="020F0502020204030204" pitchFamily="34" charset="0"/>
                <a:ea typeface="Calibri" panose="020F0502020204030204" pitchFamily="34" charset="0"/>
              </a:rPr>
              <a:t> </a:t>
            </a:r>
            <a:endParaRPr lang="en-GB" dirty="0">
              <a:latin typeface="Calibri" panose="020F0502020204030204" pitchFamily="34" charset="0"/>
              <a:ea typeface="Calibri" panose="020F0502020204030204" pitchFamily="34" charset="0"/>
            </a:endParaRPr>
          </a:p>
        </p:txBody>
      </p:sp>
      <p:sp>
        <p:nvSpPr>
          <p:cNvPr id="15" name="TextBox 14"/>
          <p:cNvSpPr txBox="1"/>
          <p:nvPr/>
        </p:nvSpPr>
        <p:spPr>
          <a:xfrm>
            <a:off x="372502" y="3989564"/>
            <a:ext cx="8647389" cy="830997"/>
          </a:xfrm>
          <a:prstGeom prst="rect">
            <a:avLst/>
          </a:prstGeom>
          <a:noFill/>
        </p:spPr>
        <p:txBody>
          <a:bodyPr wrap="square" rtlCol="0">
            <a:spAutoFit/>
          </a:bodyPr>
          <a:lstStyle/>
          <a:p>
            <a:r>
              <a:rPr lang="en-GB" sz="2400" dirty="0" smtClean="0">
                <a:solidFill>
                  <a:schemeClr val="accent2"/>
                </a:solidFill>
              </a:rPr>
              <a:t>Establish workflows to collect </a:t>
            </a:r>
            <a:r>
              <a:rPr lang="en-GB" sz="2400" dirty="0" smtClean="0">
                <a:solidFill>
                  <a:schemeClr val="accent2"/>
                </a:solidFill>
              </a:rPr>
              <a:t>data on Article Processing Charges and share this data with the </a:t>
            </a:r>
            <a:r>
              <a:rPr lang="en-GB" sz="2400" dirty="0" err="1" smtClean="0">
                <a:solidFill>
                  <a:schemeClr val="accent2"/>
                </a:solidFill>
              </a:rPr>
              <a:t>OpenAPC</a:t>
            </a:r>
            <a:r>
              <a:rPr lang="en-GB" sz="2400" dirty="0" smtClean="0">
                <a:solidFill>
                  <a:schemeClr val="accent2"/>
                </a:solidFill>
              </a:rPr>
              <a:t> Initiative</a:t>
            </a:r>
            <a:endParaRPr lang="en-GB" sz="2400" dirty="0">
              <a:solidFill>
                <a:schemeClr val="accent2"/>
              </a:solidFill>
            </a:endParaRPr>
          </a:p>
        </p:txBody>
      </p:sp>
      <p:sp>
        <p:nvSpPr>
          <p:cNvPr id="16" name="Rectangle 15"/>
          <p:cNvSpPr/>
          <p:nvPr/>
        </p:nvSpPr>
        <p:spPr>
          <a:xfrm>
            <a:off x="372502" y="4812153"/>
            <a:ext cx="3749744" cy="369332"/>
          </a:xfrm>
          <a:prstGeom prst="rect">
            <a:avLst/>
          </a:prstGeom>
        </p:spPr>
        <p:txBody>
          <a:bodyPr wrap="none">
            <a:spAutoFit/>
          </a:bodyPr>
          <a:lstStyle/>
          <a:p>
            <a:r>
              <a:rPr lang="en-GB" dirty="0">
                <a:hlinkClick r:id="rId5"/>
              </a:rPr>
              <a:t>https://treemaps.intact-project.org</a:t>
            </a:r>
            <a:r>
              <a:rPr lang="en-GB" dirty="0" smtClean="0">
                <a:hlinkClick r:id="rId5"/>
              </a:rPr>
              <a:t>/</a:t>
            </a:r>
            <a:r>
              <a:rPr lang="en-GB" dirty="0" smtClean="0"/>
              <a:t> </a:t>
            </a:r>
            <a:endParaRPr lang="en-GB" dirty="0"/>
          </a:p>
        </p:txBody>
      </p:sp>
      <p:sp>
        <p:nvSpPr>
          <p:cNvPr id="21" name="TextBox 20"/>
          <p:cNvSpPr txBox="1"/>
          <p:nvPr/>
        </p:nvSpPr>
        <p:spPr>
          <a:xfrm>
            <a:off x="372503" y="1226601"/>
            <a:ext cx="8647389" cy="830997"/>
          </a:xfrm>
          <a:prstGeom prst="rect">
            <a:avLst/>
          </a:prstGeom>
          <a:noFill/>
        </p:spPr>
        <p:txBody>
          <a:bodyPr wrap="square" rtlCol="0">
            <a:spAutoFit/>
          </a:bodyPr>
          <a:lstStyle/>
          <a:p>
            <a:r>
              <a:rPr lang="en-GB" sz="2400" dirty="0" smtClean="0">
                <a:solidFill>
                  <a:schemeClr val="accent2"/>
                </a:solidFill>
              </a:rPr>
              <a:t>Sign </a:t>
            </a:r>
            <a:r>
              <a:rPr lang="en-GB" sz="2400" dirty="0" smtClean="0">
                <a:solidFill>
                  <a:schemeClr val="accent2"/>
                </a:solidFill>
              </a:rPr>
              <a:t>the </a:t>
            </a:r>
            <a:r>
              <a:rPr lang="en-GB" sz="2400" dirty="0">
                <a:solidFill>
                  <a:schemeClr val="accent2"/>
                </a:solidFill>
              </a:rPr>
              <a:t>OA2020 Expression of Interest in the Large Scale Implementation of Open Access to Scholarly </a:t>
            </a:r>
            <a:r>
              <a:rPr lang="en-GB" sz="2400" dirty="0" smtClean="0">
                <a:solidFill>
                  <a:schemeClr val="accent2"/>
                </a:solidFill>
              </a:rPr>
              <a:t>Journals</a:t>
            </a:r>
            <a:endParaRPr lang="en-GB" sz="2400" dirty="0">
              <a:solidFill>
                <a:schemeClr val="accent2"/>
              </a:solidFill>
            </a:endParaRPr>
          </a:p>
        </p:txBody>
      </p:sp>
      <p:sp>
        <p:nvSpPr>
          <p:cNvPr id="22" name="TextBox 21"/>
          <p:cNvSpPr txBox="1"/>
          <p:nvPr/>
        </p:nvSpPr>
        <p:spPr>
          <a:xfrm>
            <a:off x="409085" y="2057598"/>
            <a:ext cx="3018775" cy="369332"/>
          </a:xfrm>
          <a:prstGeom prst="rect">
            <a:avLst/>
          </a:prstGeom>
          <a:noFill/>
        </p:spPr>
        <p:txBody>
          <a:bodyPr wrap="none" rtlCol="0">
            <a:spAutoFit/>
          </a:bodyPr>
          <a:lstStyle/>
          <a:p>
            <a:r>
              <a:rPr lang="en-GB" dirty="0">
                <a:hlinkClick r:id="rId6"/>
              </a:rPr>
              <a:t>https://oa2020.org/mission</a:t>
            </a:r>
            <a:r>
              <a:rPr lang="en-GB" dirty="0" smtClean="0">
                <a:hlinkClick r:id="rId6"/>
              </a:rPr>
              <a:t>/</a:t>
            </a:r>
            <a:r>
              <a:rPr lang="en-GB" dirty="0" smtClean="0"/>
              <a:t> </a:t>
            </a:r>
            <a:endParaRPr lang="en-GB" dirty="0"/>
          </a:p>
        </p:txBody>
      </p:sp>
      <p:sp>
        <p:nvSpPr>
          <p:cNvPr id="23" name="TextBox 22"/>
          <p:cNvSpPr txBox="1"/>
          <p:nvPr/>
        </p:nvSpPr>
        <p:spPr>
          <a:xfrm>
            <a:off x="302341" y="5380235"/>
            <a:ext cx="8647389" cy="830997"/>
          </a:xfrm>
          <a:prstGeom prst="rect">
            <a:avLst/>
          </a:prstGeom>
          <a:noFill/>
        </p:spPr>
        <p:txBody>
          <a:bodyPr wrap="square" rtlCol="0">
            <a:spAutoFit/>
          </a:bodyPr>
          <a:lstStyle/>
          <a:p>
            <a:r>
              <a:rPr lang="en-GB" sz="2400" dirty="0" smtClean="0">
                <a:solidFill>
                  <a:schemeClr val="accent2"/>
                </a:solidFill>
              </a:rPr>
              <a:t>Discuss OA2020 with your senior leadership at the University and Government level</a:t>
            </a:r>
            <a:endParaRPr lang="en-GB" sz="2400" dirty="0">
              <a:solidFill>
                <a:schemeClr val="accent2"/>
              </a:solidFill>
            </a:endParaRPr>
          </a:p>
        </p:txBody>
      </p:sp>
      <p:sp>
        <p:nvSpPr>
          <p:cNvPr id="17" name="Rectangle 16"/>
          <p:cNvSpPr/>
          <p:nvPr/>
        </p:nvSpPr>
        <p:spPr>
          <a:xfrm>
            <a:off x="281452" y="6184635"/>
            <a:ext cx="4327851" cy="369332"/>
          </a:xfrm>
          <a:prstGeom prst="rect">
            <a:avLst/>
          </a:prstGeom>
        </p:spPr>
        <p:txBody>
          <a:bodyPr wrap="none">
            <a:spAutoFit/>
          </a:bodyPr>
          <a:lstStyle/>
          <a:p>
            <a:pPr>
              <a:spcAft>
                <a:spcPts val="0"/>
              </a:spcAft>
            </a:pPr>
            <a:r>
              <a:rPr lang="de-DE" u="sng" dirty="0">
                <a:solidFill>
                  <a:srgbClr val="0000FF"/>
                </a:solidFill>
                <a:latin typeface="Calibri" panose="020F0502020204030204" pitchFamily="34" charset="0"/>
                <a:ea typeface="Calibri" panose="020F0502020204030204" pitchFamily="34" charset="0"/>
                <a:hlinkClick r:id="rId7"/>
              </a:rPr>
              <a:t>https://oa2020.org/Executive-Summary.pdf</a:t>
            </a:r>
            <a:r>
              <a:rPr lang="de-DE" dirty="0">
                <a:solidFill>
                  <a:srgbClr val="1F497D"/>
                </a:solidFill>
                <a:latin typeface="Calibri" panose="020F0502020204030204" pitchFamily="34" charset="0"/>
                <a:ea typeface="Calibri" panose="020F0502020204030204" pitchFamily="34" charset="0"/>
              </a:rPr>
              <a:t> </a:t>
            </a:r>
            <a:endParaRPr lang="en-GB" dirty="0">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1082506053"/>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p:cNvSpPr>
            <a:spLocks noGrp="1"/>
          </p:cNvSpPr>
          <p:nvPr>
            <p:ph type="sldNum" sz="quarter" idx="12"/>
          </p:nvPr>
        </p:nvSpPr>
        <p:spPr/>
        <p:txBody>
          <a:bodyPr/>
          <a:lstStyle/>
          <a:p>
            <a:fld id="{4AD1E780-DE1C-4ECA-B5E5-863D0BC53287}" type="slidenum">
              <a:rPr lang="de-DE" smtClean="0"/>
              <a:pPr/>
              <a:t>36</a:t>
            </a:fld>
            <a:endParaRPr lang="de-DE" dirty="0"/>
          </a:p>
        </p:txBody>
      </p:sp>
      <p:sp>
        <p:nvSpPr>
          <p:cNvPr id="3" name="Textplatzhalter 2"/>
          <p:cNvSpPr>
            <a:spLocks noGrp="1"/>
          </p:cNvSpPr>
          <p:nvPr>
            <p:ph type="body" sz="quarter" idx="13"/>
          </p:nvPr>
        </p:nvSpPr>
        <p:spPr>
          <a:xfrm>
            <a:off x="302341" y="426280"/>
            <a:ext cx="8885499" cy="697671"/>
          </a:xfrm>
        </p:spPr>
        <p:txBody>
          <a:bodyPr anchor="t" anchorCtr="0"/>
          <a:lstStyle/>
          <a:p>
            <a:r>
              <a:rPr lang="en-GB" sz="3600" b="1" dirty="0" smtClean="0">
                <a:solidFill>
                  <a:schemeClr val="accent6"/>
                </a:solidFill>
              </a:rPr>
              <a:t>Resources</a:t>
            </a:r>
            <a:endParaRPr lang="de-DE" sz="3600" dirty="0" smtClean="0"/>
          </a:p>
          <a:p>
            <a:endParaRPr lang="de-DE" sz="3600" dirty="0">
              <a:solidFill>
                <a:schemeClr val="accent2"/>
              </a:solidFill>
            </a:endParaRPr>
          </a:p>
        </p:txBody>
      </p:sp>
      <p:sp>
        <p:nvSpPr>
          <p:cNvPr id="11" name="TextBox 10"/>
          <p:cNvSpPr txBox="1"/>
          <p:nvPr/>
        </p:nvSpPr>
        <p:spPr>
          <a:xfrm>
            <a:off x="344488" y="1828726"/>
            <a:ext cx="3867912" cy="369332"/>
          </a:xfrm>
          <a:prstGeom prst="rect">
            <a:avLst/>
          </a:prstGeom>
          <a:noFill/>
        </p:spPr>
        <p:txBody>
          <a:bodyPr wrap="square" rtlCol="0">
            <a:spAutoFit/>
          </a:bodyPr>
          <a:lstStyle/>
          <a:p>
            <a:r>
              <a:rPr lang="en-GB" dirty="0">
                <a:hlinkClick r:id="rId3"/>
              </a:rPr>
              <a:t>http://esac-initiative.org</a:t>
            </a:r>
            <a:r>
              <a:rPr lang="en-GB" dirty="0" smtClean="0">
                <a:hlinkClick r:id="rId3"/>
              </a:rPr>
              <a:t>/</a:t>
            </a:r>
            <a:r>
              <a:rPr lang="en-GB" dirty="0" smtClean="0"/>
              <a:t> </a:t>
            </a:r>
            <a:endParaRPr lang="en-GB" dirty="0"/>
          </a:p>
        </p:txBody>
      </p:sp>
      <p:sp>
        <p:nvSpPr>
          <p:cNvPr id="5" name="TextBox 4"/>
          <p:cNvSpPr txBox="1"/>
          <p:nvPr/>
        </p:nvSpPr>
        <p:spPr>
          <a:xfrm>
            <a:off x="344488" y="1409010"/>
            <a:ext cx="8647389" cy="461665"/>
          </a:xfrm>
          <a:prstGeom prst="rect">
            <a:avLst/>
          </a:prstGeom>
          <a:noFill/>
        </p:spPr>
        <p:txBody>
          <a:bodyPr wrap="square" rtlCol="0">
            <a:spAutoFit/>
          </a:bodyPr>
          <a:lstStyle/>
          <a:p>
            <a:r>
              <a:rPr lang="en-GB" sz="2400" dirty="0" smtClean="0">
                <a:solidFill>
                  <a:schemeClr val="accent2"/>
                </a:solidFill>
              </a:rPr>
              <a:t>Transformative agreements (ESAC Initiative)</a:t>
            </a:r>
            <a:endParaRPr lang="en-GB" sz="2400" dirty="0">
              <a:solidFill>
                <a:schemeClr val="accent2"/>
              </a:solidFill>
            </a:endParaRPr>
          </a:p>
        </p:txBody>
      </p:sp>
      <p:sp>
        <p:nvSpPr>
          <p:cNvPr id="14" name="TextBox 13"/>
          <p:cNvSpPr txBox="1"/>
          <p:nvPr/>
        </p:nvSpPr>
        <p:spPr>
          <a:xfrm>
            <a:off x="344488" y="2491890"/>
            <a:ext cx="8647389" cy="461665"/>
          </a:xfrm>
          <a:prstGeom prst="rect">
            <a:avLst/>
          </a:prstGeom>
          <a:noFill/>
        </p:spPr>
        <p:txBody>
          <a:bodyPr wrap="square" rtlCol="0">
            <a:spAutoFit/>
          </a:bodyPr>
          <a:lstStyle/>
          <a:p>
            <a:r>
              <a:rPr lang="en-GB" sz="2400" dirty="0" smtClean="0">
                <a:solidFill>
                  <a:schemeClr val="accent2"/>
                </a:solidFill>
              </a:rPr>
              <a:t>Data on Article Processing Charges (</a:t>
            </a:r>
            <a:r>
              <a:rPr lang="en-GB" sz="2400" dirty="0" err="1" smtClean="0">
                <a:solidFill>
                  <a:schemeClr val="accent2"/>
                </a:solidFill>
              </a:rPr>
              <a:t>OpenAPC</a:t>
            </a:r>
            <a:r>
              <a:rPr lang="en-GB" sz="2400" dirty="0" smtClean="0">
                <a:solidFill>
                  <a:schemeClr val="accent2"/>
                </a:solidFill>
              </a:rPr>
              <a:t> Initiative)</a:t>
            </a:r>
            <a:endParaRPr lang="en-GB" sz="2400" dirty="0">
              <a:solidFill>
                <a:schemeClr val="accent2"/>
              </a:solidFill>
            </a:endParaRPr>
          </a:p>
        </p:txBody>
      </p:sp>
      <p:sp>
        <p:nvSpPr>
          <p:cNvPr id="15" name="Rectangle 14"/>
          <p:cNvSpPr/>
          <p:nvPr/>
        </p:nvSpPr>
        <p:spPr>
          <a:xfrm>
            <a:off x="344488" y="2953555"/>
            <a:ext cx="3749744" cy="369332"/>
          </a:xfrm>
          <a:prstGeom prst="rect">
            <a:avLst/>
          </a:prstGeom>
        </p:spPr>
        <p:txBody>
          <a:bodyPr wrap="none">
            <a:spAutoFit/>
          </a:bodyPr>
          <a:lstStyle/>
          <a:p>
            <a:r>
              <a:rPr lang="en-GB" dirty="0">
                <a:hlinkClick r:id="rId4"/>
              </a:rPr>
              <a:t>https://treemaps.intact-project.org</a:t>
            </a:r>
            <a:r>
              <a:rPr lang="en-GB" dirty="0" smtClean="0">
                <a:hlinkClick r:id="rId4"/>
              </a:rPr>
              <a:t>/</a:t>
            </a:r>
            <a:r>
              <a:rPr lang="en-GB" dirty="0" smtClean="0"/>
              <a:t> </a:t>
            </a:r>
            <a:endParaRPr lang="en-GB" dirty="0"/>
          </a:p>
        </p:txBody>
      </p:sp>
      <p:sp>
        <p:nvSpPr>
          <p:cNvPr id="17" name="TextBox 16"/>
          <p:cNvSpPr txBox="1"/>
          <p:nvPr/>
        </p:nvSpPr>
        <p:spPr>
          <a:xfrm>
            <a:off x="302341" y="3649623"/>
            <a:ext cx="8647389" cy="461665"/>
          </a:xfrm>
          <a:prstGeom prst="rect">
            <a:avLst/>
          </a:prstGeom>
          <a:noFill/>
        </p:spPr>
        <p:txBody>
          <a:bodyPr wrap="square" rtlCol="0">
            <a:spAutoFit/>
          </a:bodyPr>
          <a:lstStyle/>
          <a:p>
            <a:r>
              <a:rPr lang="en-GB" sz="2400" dirty="0" smtClean="0">
                <a:solidFill>
                  <a:schemeClr val="accent2"/>
                </a:solidFill>
              </a:rPr>
              <a:t>Open Access 2020 Resources</a:t>
            </a:r>
          </a:p>
        </p:txBody>
      </p:sp>
      <p:sp>
        <p:nvSpPr>
          <p:cNvPr id="18" name="Rectangle 17"/>
          <p:cNvSpPr/>
          <p:nvPr/>
        </p:nvSpPr>
        <p:spPr>
          <a:xfrm>
            <a:off x="344488" y="4111288"/>
            <a:ext cx="3967753" cy="369332"/>
          </a:xfrm>
          <a:prstGeom prst="rect">
            <a:avLst/>
          </a:prstGeom>
        </p:spPr>
        <p:txBody>
          <a:bodyPr wrap="none">
            <a:spAutoFit/>
          </a:bodyPr>
          <a:lstStyle/>
          <a:p>
            <a:r>
              <a:rPr lang="en-GB" dirty="0">
                <a:hlinkClick r:id="rId5"/>
              </a:rPr>
              <a:t>https://oa2020.org/learn_more/#</a:t>
            </a:r>
            <a:r>
              <a:rPr lang="en-GB" dirty="0" smtClean="0">
                <a:hlinkClick r:id="rId5"/>
              </a:rPr>
              <a:t>gain</a:t>
            </a:r>
            <a:r>
              <a:rPr lang="en-GB" dirty="0" smtClean="0"/>
              <a:t> </a:t>
            </a:r>
            <a:endParaRPr lang="en-GB" dirty="0"/>
          </a:p>
        </p:txBody>
      </p:sp>
      <p:sp>
        <p:nvSpPr>
          <p:cNvPr id="21" name="TextBox 20"/>
          <p:cNvSpPr txBox="1"/>
          <p:nvPr/>
        </p:nvSpPr>
        <p:spPr>
          <a:xfrm>
            <a:off x="344488" y="4821454"/>
            <a:ext cx="8647389" cy="461665"/>
          </a:xfrm>
          <a:prstGeom prst="rect">
            <a:avLst/>
          </a:prstGeom>
          <a:noFill/>
        </p:spPr>
        <p:txBody>
          <a:bodyPr wrap="square" rtlCol="0">
            <a:spAutoFit/>
          </a:bodyPr>
          <a:lstStyle/>
          <a:p>
            <a:r>
              <a:rPr lang="en-GB" sz="2400" dirty="0" smtClean="0">
                <a:solidFill>
                  <a:schemeClr val="accent2"/>
                </a:solidFill>
              </a:rPr>
              <a:t>Open </a:t>
            </a:r>
            <a:r>
              <a:rPr lang="en-GB" sz="2400" dirty="0" smtClean="0">
                <a:solidFill>
                  <a:schemeClr val="accent2"/>
                </a:solidFill>
              </a:rPr>
              <a:t>Access 2020 </a:t>
            </a:r>
            <a:r>
              <a:rPr lang="en-GB" sz="2400" dirty="0" smtClean="0">
                <a:solidFill>
                  <a:schemeClr val="accent2"/>
                </a:solidFill>
              </a:rPr>
              <a:t>Community listserv</a:t>
            </a:r>
            <a:endParaRPr lang="en-GB" sz="2400" dirty="0" smtClean="0">
              <a:solidFill>
                <a:schemeClr val="accent2"/>
              </a:solidFill>
            </a:endParaRPr>
          </a:p>
        </p:txBody>
      </p:sp>
      <p:sp>
        <p:nvSpPr>
          <p:cNvPr id="22" name="Rectangle 21"/>
          <p:cNvSpPr/>
          <p:nvPr/>
        </p:nvSpPr>
        <p:spPr>
          <a:xfrm>
            <a:off x="344488" y="5283119"/>
            <a:ext cx="2393604" cy="369332"/>
          </a:xfrm>
          <a:prstGeom prst="rect">
            <a:avLst/>
          </a:prstGeom>
        </p:spPr>
        <p:txBody>
          <a:bodyPr wrap="none">
            <a:spAutoFit/>
          </a:bodyPr>
          <a:lstStyle/>
          <a:p>
            <a:r>
              <a:rPr lang="en-GB" dirty="0" smtClean="0">
                <a:hlinkClick r:id="rId6"/>
              </a:rPr>
              <a:t>contact@oa2020.org</a:t>
            </a:r>
            <a:r>
              <a:rPr lang="en-GB" dirty="0" smtClean="0"/>
              <a:t> </a:t>
            </a:r>
            <a:endParaRPr lang="en-GB" dirty="0"/>
          </a:p>
        </p:txBody>
      </p:sp>
    </p:spTree>
    <p:extLst>
      <p:ext uri="{BB962C8B-B14F-4D97-AF65-F5344CB8AC3E}">
        <p14:creationId xmlns:p14="http://schemas.microsoft.com/office/powerpoint/2010/main" val="436632975"/>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uppieren 1"/>
          <p:cNvGrpSpPr/>
          <p:nvPr/>
        </p:nvGrpSpPr>
        <p:grpSpPr>
          <a:xfrm>
            <a:off x="587223" y="3202601"/>
            <a:ext cx="8645064" cy="2832129"/>
            <a:chOff x="587223" y="3202601"/>
            <a:chExt cx="8645064" cy="2832129"/>
          </a:xfrm>
        </p:grpSpPr>
        <p:grpSp>
          <p:nvGrpSpPr>
            <p:cNvPr id="56" name="Gruppieren 55"/>
            <p:cNvGrpSpPr/>
            <p:nvPr/>
          </p:nvGrpSpPr>
          <p:grpSpPr>
            <a:xfrm>
              <a:off x="4694860" y="5474604"/>
              <a:ext cx="400832" cy="558623"/>
              <a:chOff x="3306871" y="3281818"/>
              <a:chExt cx="1947797" cy="2599151"/>
            </a:xfrm>
          </p:grpSpPr>
          <p:sp>
            <p:nvSpPr>
              <p:cNvPr id="57" name="Rechteck 3"/>
              <p:cNvSpPr/>
              <p:nvPr/>
            </p:nvSpPr>
            <p:spPr>
              <a:xfrm>
                <a:off x="3306871" y="3281818"/>
                <a:ext cx="1947797" cy="2599151"/>
              </a:xfrm>
              <a:custGeom>
                <a:avLst/>
                <a:gdLst>
                  <a:gd name="connsiteX0" fmla="*/ 0 w 1947797"/>
                  <a:gd name="connsiteY0" fmla="*/ 0 h 2592888"/>
                  <a:gd name="connsiteX1" fmla="*/ 1947797 w 1947797"/>
                  <a:gd name="connsiteY1" fmla="*/ 0 h 2592888"/>
                  <a:gd name="connsiteX2" fmla="*/ 1947797 w 1947797"/>
                  <a:gd name="connsiteY2" fmla="*/ 2592888 h 2592888"/>
                  <a:gd name="connsiteX3" fmla="*/ 0 w 1947797"/>
                  <a:gd name="connsiteY3" fmla="*/ 2592888 h 2592888"/>
                  <a:gd name="connsiteX4" fmla="*/ 0 w 1947797"/>
                  <a:gd name="connsiteY4" fmla="*/ 0 h 2592888"/>
                  <a:gd name="connsiteX0" fmla="*/ 0 w 1947797"/>
                  <a:gd name="connsiteY0" fmla="*/ 6263 h 2599151"/>
                  <a:gd name="connsiteX1" fmla="*/ 1415441 w 1947797"/>
                  <a:gd name="connsiteY1" fmla="*/ 0 h 2599151"/>
                  <a:gd name="connsiteX2" fmla="*/ 1947797 w 1947797"/>
                  <a:gd name="connsiteY2" fmla="*/ 6263 h 2599151"/>
                  <a:gd name="connsiteX3" fmla="*/ 1947797 w 1947797"/>
                  <a:gd name="connsiteY3" fmla="*/ 2599151 h 2599151"/>
                  <a:gd name="connsiteX4" fmla="*/ 0 w 1947797"/>
                  <a:gd name="connsiteY4" fmla="*/ 2599151 h 2599151"/>
                  <a:gd name="connsiteX5" fmla="*/ 0 w 1947797"/>
                  <a:gd name="connsiteY5" fmla="*/ 6263 h 2599151"/>
                  <a:gd name="connsiteX0" fmla="*/ 0 w 1947797"/>
                  <a:gd name="connsiteY0" fmla="*/ 6263 h 2599151"/>
                  <a:gd name="connsiteX1" fmla="*/ 1415441 w 1947797"/>
                  <a:gd name="connsiteY1" fmla="*/ 0 h 2599151"/>
                  <a:gd name="connsiteX2" fmla="*/ 1947797 w 1947797"/>
                  <a:gd name="connsiteY2" fmla="*/ 6263 h 2599151"/>
                  <a:gd name="connsiteX3" fmla="*/ 1947797 w 1947797"/>
                  <a:gd name="connsiteY3" fmla="*/ 438412 h 2599151"/>
                  <a:gd name="connsiteX4" fmla="*/ 1947797 w 1947797"/>
                  <a:gd name="connsiteY4" fmla="*/ 2599151 h 2599151"/>
                  <a:gd name="connsiteX5" fmla="*/ 0 w 1947797"/>
                  <a:gd name="connsiteY5" fmla="*/ 2599151 h 2599151"/>
                  <a:gd name="connsiteX6" fmla="*/ 0 w 1947797"/>
                  <a:gd name="connsiteY6" fmla="*/ 6263 h 2599151"/>
                  <a:gd name="connsiteX0" fmla="*/ 0 w 1947797"/>
                  <a:gd name="connsiteY0" fmla="*/ 6263 h 2599151"/>
                  <a:gd name="connsiteX1" fmla="*/ 1415441 w 1947797"/>
                  <a:gd name="connsiteY1" fmla="*/ 0 h 2599151"/>
                  <a:gd name="connsiteX2" fmla="*/ 1947797 w 1947797"/>
                  <a:gd name="connsiteY2" fmla="*/ 438412 h 2599151"/>
                  <a:gd name="connsiteX3" fmla="*/ 1947797 w 1947797"/>
                  <a:gd name="connsiteY3" fmla="*/ 2599151 h 2599151"/>
                  <a:gd name="connsiteX4" fmla="*/ 0 w 1947797"/>
                  <a:gd name="connsiteY4" fmla="*/ 2599151 h 2599151"/>
                  <a:gd name="connsiteX5" fmla="*/ 0 w 1947797"/>
                  <a:gd name="connsiteY5" fmla="*/ 6263 h 2599151"/>
                  <a:gd name="connsiteX0" fmla="*/ 0 w 1947797"/>
                  <a:gd name="connsiteY0" fmla="*/ 6263 h 2599151"/>
                  <a:gd name="connsiteX1" fmla="*/ 1415441 w 1947797"/>
                  <a:gd name="connsiteY1" fmla="*/ 0 h 2599151"/>
                  <a:gd name="connsiteX2" fmla="*/ 1947797 w 1947797"/>
                  <a:gd name="connsiteY2" fmla="*/ 519831 h 2599151"/>
                  <a:gd name="connsiteX3" fmla="*/ 1947797 w 1947797"/>
                  <a:gd name="connsiteY3" fmla="*/ 2599151 h 2599151"/>
                  <a:gd name="connsiteX4" fmla="*/ 0 w 1947797"/>
                  <a:gd name="connsiteY4" fmla="*/ 2599151 h 2599151"/>
                  <a:gd name="connsiteX5" fmla="*/ 0 w 1947797"/>
                  <a:gd name="connsiteY5" fmla="*/ 6263 h 2599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47797" h="2599151">
                    <a:moveTo>
                      <a:pt x="0" y="6263"/>
                    </a:moveTo>
                    <a:lnTo>
                      <a:pt x="1415441" y="0"/>
                    </a:lnTo>
                    <a:lnTo>
                      <a:pt x="1947797" y="519831"/>
                    </a:lnTo>
                    <a:lnTo>
                      <a:pt x="1947797" y="2599151"/>
                    </a:lnTo>
                    <a:lnTo>
                      <a:pt x="0" y="2599151"/>
                    </a:lnTo>
                    <a:lnTo>
                      <a:pt x="0" y="6263"/>
                    </a:lnTo>
                    <a:close/>
                  </a:path>
                </a:pathLst>
              </a:custGeom>
              <a:solidFill>
                <a:schemeClr val="bg2"/>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58" name="Freihandform 57"/>
              <p:cNvSpPr/>
              <p:nvPr/>
            </p:nvSpPr>
            <p:spPr>
              <a:xfrm>
                <a:off x="4716049" y="3288082"/>
                <a:ext cx="532356" cy="519830"/>
              </a:xfrm>
              <a:custGeom>
                <a:avLst/>
                <a:gdLst>
                  <a:gd name="connsiteX0" fmla="*/ 0 w 532356"/>
                  <a:gd name="connsiteY0" fmla="*/ 0 h 457200"/>
                  <a:gd name="connsiteX1" fmla="*/ 0 w 532356"/>
                  <a:gd name="connsiteY1" fmla="*/ 457200 h 457200"/>
                  <a:gd name="connsiteX2" fmla="*/ 532356 w 532356"/>
                  <a:gd name="connsiteY2" fmla="*/ 457200 h 457200"/>
                </a:gdLst>
                <a:ahLst/>
                <a:cxnLst>
                  <a:cxn ang="0">
                    <a:pos x="connsiteX0" y="connsiteY0"/>
                  </a:cxn>
                  <a:cxn ang="0">
                    <a:pos x="connsiteX1" y="connsiteY1"/>
                  </a:cxn>
                  <a:cxn ang="0">
                    <a:pos x="connsiteX2" y="connsiteY2"/>
                  </a:cxn>
                </a:cxnLst>
                <a:rect l="l" t="t" r="r" b="b"/>
                <a:pathLst>
                  <a:path w="532356" h="457200">
                    <a:moveTo>
                      <a:pt x="0" y="0"/>
                    </a:moveTo>
                    <a:lnTo>
                      <a:pt x="0" y="457200"/>
                    </a:lnTo>
                    <a:lnTo>
                      <a:pt x="532356" y="457200"/>
                    </a:lnTo>
                  </a:path>
                </a:pathLst>
              </a:cu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59" name="Gerade Verbindung 58"/>
              <p:cNvCxnSpPr/>
              <p:nvPr/>
            </p:nvCxnSpPr>
            <p:spPr>
              <a:xfrm>
                <a:off x="3707704" y="4402899"/>
                <a:ext cx="1008345"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0" name="Gerade Verbindung 59"/>
              <p:cNvCxnSpPr/>
              <p:nvPr/>
            </p:nvCxnSpPr>
            <p:spPr>
              <a:xfrm>
                <a:off x="3707704" y="4831916"/>
                <a:ext cx="1008345"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1" name="Gerade Verbindung 60"/>
              <p:cNvCxnSpPr/>
              <p:nvPr/>
            </p:nvCxnSpPr>
            <p:spPr>
              <a:xfrm>
                <a:off x="3707703" y="5260932"/>
                <a:ext cx="1008345"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6" name="Gruppieren 5"/>
            <p:cNvGrpSpPr/>
            <p:nvPr/>
          </p:nvGrpSpPr>
          <p:grpSpPr>
            <a:xfrm>
              <a:off x="2258368" y="3240452"/>
              <a:ext cx="1159964" cy="733613"/>
              <a:chOff x="162838" y="3012510"/>
              <a:chExt cx="3663863" cy="2376816"/>
            </a:xfrm>
          </p:grpSpPr>
          <p:sp>
            <p:nvSpPr>
              <p:cNvPr id="7" name="Freihandform 6"/>
              <p:cNvSpPr/>
              <p:nvPr/>
            </p:nvSpPr>
            <p:spPr>
              <a:xfrm>
                <a:off x="162838" y="3012510"/>
                <a:ext cx="3613759" cy="2248422"/>
              </a:xfrm>
              <a:custGeom>
                <a:avLst/>
                <a:gdLst>
                  <a:gd name="connsiteX0" fmla="*/ 1471809 w 3613759"/>
                  <a:gd name="connsiteY0" fmla="*/ 2248422 h 2248422"/>
                  <a:gd name="connsiteX1" fmla="*/ 3613759 w 3613759"/>
                  <a:gd name="connsiteY1" fmla="*/ 1665961 h 2248422"/>
                  <a:gd name="connsiteX2" fmla="*/ 2317315 w 3613759"/>
                  <a:gd name="connsiteY2" fmla="*/ 1240076 h 2248422"/>
                  <a:gd name="connsiteX3" fmla="*/ 1885167 w 3613759"/>
                  <a:gd name="connsiteY3" fmla="*/ 0 h 2248422"/>
                  <a:gd name="connsiteX4" fmla="*/ 0 w 3613759"/>
                  <a:gd name="connsiteY4" fmla="*/ 300624 h 2248422"/>
                  <a:gd name="connsiteX5" fmla="*/ 419622 w 3613759"/>
                  <a:gd name="connsiteY5" fmla="*/ 1709802 h 2248422"/>
                  <a:gd name="connsiteX6" fmla="*/ 1471809 w 3613759"/>
                  <a:gd name="connsiteY6" fmla="*/ 2248422 h 2248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13759" h="2248422">
                    <a:moveTo>
                      <a:pt x="1471809" y="2248422"/>
                    </a:moveTo>
                    <a:lnTo>
                      <a:pt x="3613759" y="1665961"/>
                    </a:lnTo>
                    <a:lnTo>
                      <a:pt x="2317315" y="1240076"/>
                    </a:lnTo>
                    <a:lnTo>
                      <a:pt x="1885167" y="0"/>
                    </a:lnTo>
                    <a:lnTo>
                      <a:pt x="0" y="300624"/>
                    </a:lnTo>
                    <a:lnTo>
                      <a:pt x="419622" y="1709802"/>
                    </a:lnTo>
                    <a:lnTo>
                      <a:pt x="1471809" y="2248422"/>
                    </a:lnTo>
                    <a:close/>
                  </a:path>
                </a:pathLst>
              </a:cu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8" name="Freihandform 7"/>
              <p:cNvSpPr/>
              <p:nvPr/>
            </p:nvSpPr>
            <p:spPr>
              <a:xfrm>
                <a:off x="394570" y="3194137"/>
                <a:ext cx="1859945" cy="1265129"/>
              </a:xfrm>
              <a:custGeom>
                <a:avLst/>
                <a:gdLst>
                  <a:gd name="connsiteX0" fmla="*/ 1534438 w 1822537"/>
                  <a:gd name="connsiteY0" fmla="*/ 0 h 1265129"/>
                  <a:gd name="connsiteX1" fmla="*/ 0 w 1822537"/>
                  <a:gd name="connsiteY1" fmla="*/ 256784 h 1265129"/>
                  <a:gd name="connsiteX2" fmla="*/ 306888 w 1822537"/>
                  <a:gd name="connsiteY2" fmla="*/ 1265129 h 1265129"/>
                  <a:gd name="connsiteX3" fmla="*/ 1822537 w 1822537"/>
                  <a:gd name="connsiteY3" fmla="*/ 951978 h 1265129"/>
                  <a:gd name="connsiteX4" fmla="*/ 1534438 w 1822537"/>
                  <a:gd name="connsiteY4" fmla="*/ 0 h 1265129"/>
                  <a:gd name="connsiteX0" fmla="*/ 1534438 w 1843319"/>
                  <a:gd name="connsiteY0" fmla="*/ 0 h 1265129"/>
                  <a:gd name="connsiteX1" fmla="*/ 0 w 1843319"/>
                  <a:gd name="connsiteY1" fmla="*/ 256784 h 1265129"/>
                  <a:gd name="connsiteX2" fmla="*/ 306888 w 1843319"/>
                  <a:gd name="connsiteY2" fmla="*/ 1265129 h 1265129"/>
                  <a:gd name="connsiteX3" fmla="*/ 1843319 w 1843319"/>
                  <a:gd name="connsiteY3" fmla="*/ 947525 h 1265129"/>
                  <a:gd name="connsiteX4" fmla="*/ 1534438 w 1843319"/>
                  <a:gd name="connsiteY4" fmla="*/ 0 h 1265129"/>
                  <a:gd name="connsiteX0" fmla="*/ 1534438 w 1859945"/>
                  <a:gd name="connsiteY0" fmla="*/ 0 h 1265129"/>
                  <a:gd name="connsiteX1" fmla="*/ 0 w 1859945"/>
                  <a:gd name="connsiteY1" fmla="*/ 256784 h 1265129"/>
                  <a:gd name="connsiteX2" fmla="*/ 306888 w 1859945"/>
                  <a:gd name="connsiteY2" fmla="*/ 1265129 h 1265129"/>
                  <a:gd name="connsiteX3" fmla="*/ 1859945 w 1859945"/>
                  <a:gd name="connsiteY3" fmla="*/ 947525 h 1265129"/>
                  <a:gd name="connsiteX4" fmla="*/ 1534438 w 1859945"/>
                  <a:gd name="connsiteY4" fmla="*/ 0 h 12651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59945" h="1265129">
                    <a:moveTo>
                      <a:pt x="1534438" y="0"/>
                    </a:moveTo>
                    <a:lnTo>
                      <a:pt x="0" y="256784"/>
                    </a:lnTo>
                    <a:lnTo>
                      <a:pt x="306888" y="1265129"/>
                    </a:lnTo>
                    <a:lnTo>
                      <a:pt x="1859945" y="947525"/>
                    </a:lnTo>
                    <a:lnTo>
                      <a:pt x="1534438" y="0"/>
                    </a:lnTo>
                    <a:close/>
                  </a:path>
                </a:pathLst>
              </a:cu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9" name="Freihandform 8"/>
              <p:cNvSpPr/>
              <p:nvPr/>
            </p:nvSpPr>
            <p:spPr>
              <a:xfrm>
                <a:off x="563671" y="4380980"/>
                <a:ext cx="3263030" cy="1008346"/>
              </a:xfrm>
              <a:custGeom>
                <a:avLst/>
                <a:gdLst>
                  <a:gd name="connsiteX0" fmla="*/ 1471809 w 3613759"/>
                  <a:gd name="connsiteY0" fmla="*/ 2248422 h 2248422"/>
                  <a:gd name="connsiteX1" fmla="*/ 3613759 w 3613759"/>
                  <a:gd name="connsiteY1" fmla="*/ 1665961 h 2248422"/>
                  <a:gd name="connsiteX2" fmla="*/ 2317315 w 3613759"/>
                  <a:gd name="connsiteY2" fmla="*/ 1240076 h 2248422"/>
                  <a:gd name="connsiteX3" fmla="*/ 1885167 w 3613759"/>
                  <a:gd name="connsiteY3" fmla="*/ 0 h 2248422"/>
                  <a:gd name="connsiteX4" fmla="*/ 0 w 3613759"/>
                  <a:gd name="connsiteY4" fmla="*/ 300624 h 2248422"/>
                  <a:gd name="connsiteX5" fmla="*/ 419622 w 3613759"/>
                  <a:gd name="connsiteY5" fmla="*/ 1709802 h 2248422"/>
                  <a:gd name="connsiteX6" fmla="*/ 1471809 w 3613759"/>
                  <a:gd name="connsiteY6" fmla="*/ 2248422 h 2248422"/>
                  <a:gd name="connsiteX0" fmla="*/ 1471809 w 3613759"/>
                  <a:gd name="connsiteY0" fmla="*/ 1947798 h 1947798"/>
                  <a:gd name="connsiteX1" fmla="*/ 3613759 w 3613759"/>
                  <a:gd name="connsiteY1" fmla="*/ 1365337 h 1947798"/>
                  <a:gd name="connsiteX2" fmla="*/ 2317315 w 3613759"/>
                  <a:gd name="connsiteY2" fmla="*/ 939452 h 1947798"/>
                  <a:gd name="connsiteX3" fmla="*/ 0 w 3613759"/>
                  <a:gd name="connsiteY3" fmla="*/ 0 h 1947798"/>
                  <a:gd name="connsiteX4" fmla="*/ 419622 w 3613759"/>
                  <a:gd name="connsiteY4" fmla="*/ 1409178 h 1947798"/>
                  <a:gd name="connsiteX5" fmla="*/ 1471809 w 3613759"/>
                  <a:gd name="connsiteY5" fmla="*/ 1947798 h 1947798"/>
                  <a:gd name="connsiteX0" fmla="*/ 1052187 w 3194137"/>
                  <a:gd name="connsiteY0" fmla="*/ 1008346 h 1008346"/>
                  <a:gd name="connsiteX1" fmla="*/ 3194137 w 3194137"/>
                  <a:gd name="connsiteY1" fmla="*/ 425885 h 1008346"/>
                  <a:gd name="connsiteX2" fmla="*/ 1897693 w 3194137"/>
                  <a:gd name="connsiteY2" fmla="*/ 0 h 1008346"/>
                  <a:gd name="connsiteX3" fmla="*/ 0 w 3194137"/>
                  <a:gd name="connsiteY3" fmla="*/ 469726 h 1008346"/>
                  <a:gd name="connsiteX4" fmla="*/ 1052187 w 3194137"/>
                  <a:gd name="connsiteY4" fmla="*/ 1008346 h 1008346"/>
                  <a:gd name="connsiteX0" fmla="*/ 1052187 w 3194137"/>
                  <a:gd name="connsiteY0" fmla="*/ 1008346 h 1008346"/>
                  <a:gd name="connsiteX1" fmla="*/ 3194137 w 3194137"/>
                  <a:gd name="connsiteY1" fmla="*/ 425885 h 1008346"/>
                  <a:gd name="connsiteX2" fmla="*/ 1897693 w 3194137"/>
                  <a:gd name="connsiteY2" fmla="*/ 0 h 1008346"/>
                  <a:gd name="connsiteX3" fmla="*/ 25052 w 3194137"/>
                  <a:gd name="connsiteY3" fmla="*/ 316280 h 1008346"/>
                  <a:gd name="connsiteX4" fmla="*/ 0 w 3194137"/>
                  <a:gd name="connsiteY4" fmla="*/ 469726 h 1008346"/>
                  <a:gd name="connsiteX5" fmla="*/ 1052187 w 3194137"/>
                  <a:gd name="connsiteY5" fmla="*/ 1008346 h 1008346"/>
                  <a:gd name="connsiteX0" fmla="*/ 1052187 w 3194137"/>
                  <a:gd name="connsiteY0" fmla="*/ 1008346 h 1008346"/>
                  <a:gd name="connsiteX1" fmla="*/ 3194137 w 3194137"/>
                  <a:gd name="connsiteY1" fmla="*/ 425885 h 1008346"/>
                  <a:gd name="connsiteX2" fmla="*/ 3162822 w 3194137"/>
                  <a:gd name="connsiteY2" fmla="*/ 284965 h 1008346"/>
                  <a:gd name="connsiteX3" fmla="*/ 1897693 w 3194137"/>
                  <a:gd name="connsiteY3" fmla="*/ 0 h 1008346"/>
                  <a:gd name="connsiteX4" fmla="*/ 25052 w 3194137"/>
                  <a:gd name="connsiteY4" fmla="*/ 316280 h 1008346"/>
                  <a:gd name="connsiteX5" fmla="*/ 0 w 3194137"/>
                  <a:gd name="connsiteY5" fmla="*/ 469726 h 1008346"/>
                  <a:gd name="connsiteX6" fmla="*/ 1052187 w 3194137"/>
                  <a:gd name="connsiteY6" fmla="*/ 1008346 h 1008346"/>
                  <a:gd name="connsiteX0" fmla="*/ 1052187 w 3207156"/>
                  <a:gd name="connsiteY0" fmla="*/ 1008346 h 1008346"/>
                  <a:gd name="connsiteX1" fmla="*/ 3194137 w 3207156"/>
                  <a:gd name="connsiteY1" fmla="*/ 425885 h 1008346"/>
                  <a:gd name="connsiteX2" fmla="*/ 3162822 w 3207156"/>
                  <a:gd name="connsiteY2" fmla="*/ 284965 h 1008346"/>
                  <a:gd name="connsiteX3" fmla="*/ 1897693 w 3207156"/>
                  <a:gd name="connsiteY3" fmla="*/ 0 h 1008346"/>
                  <a:gd name="connsiteX4" fmla="*/ 25052 w 3207156"/>
                  <a:gd name="connsiteY4" fmla="*/ 316280 h 1008346"/>
                  <a:gd name="connsiteX5" fmla="*/ 0 w 3207156"/>
                  <a:gd name="connsiteY5" fmla="*/ 469726 h 1008346"/>
                  <a:gd name="connsiteX6" fmla="*/ 1052187 w 3207156"/>
                  <a:gd name="connsiteY6" fmla="*/ 1008346 h 1008346"/>
                  <a:gd name="connsiteX0" fmla="*/ 1052187 w 3194137"/>
                  <a:gd name="connsiteY0" fmla="*/ 1008346 h 1008346"/>
                  <a:gd name="connsiteX1" fmla="*/ 3194137 w 3194137"/>
                  <a:gd name="connsiteY1" fmla="*/ 425885 h 1008346"/>
                  <a:gd name="connsiteX2" fmla="*/ 3162822 w 3194137"/>
                  <a:gd name="connsiteY2" fmla="*/ 284965 h 1008346"/>
                  <a:gd name="connsiteX3" fmla="*/ 1897693 w 3194137"/>
                  <a:gd name="connsiteY3" fmla="*/ 0 h 1008346"/>
                  <a:gd name="connsiteX4" fmla="*/ 25052 w 3194137"/>
                  <a:gd name="connsiteY4" fmla="*/ 316280 h 1008346"/>
                  <a:gd name="connsiteX5" fmla="*/ 0 w 3194137"/>
                  <a:gd name="connsiteY5" fmla="*/ 469726 h 1008346"/>
                  <a:gd name="connsiteX6" fmla="*/ 1052187 w 3194137"/>
                  <a:gd name="connsiteY6" fmla="*/ 1008346 h 1008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94137" h="1008346">
                    <a:moveTo>
                      <a:pt x="1052187" y="1008346"/>
                    </a:moveTo>
                    <a:lnTo>
                      <a:pt x="3194137" y="425885"/>
                    </a:lnTo>
                    <a:cubicBezTo>
                      <a:pt x="3189962" y="355947"/>
                      <a:pt x="3192049" y="342377"/>
                      <a:pt x="3162822" y="284965"/>
                    </a:cubicBezTo>
                    <a:lnTo>
                      <a:pt x="1897693" y="0"/>
                    </a:lnTo>
                    <a:cubicBezTo>
                      <a:pt x="1329847" y="138829"/>
                      <a:pt x="592898" y="177451"/>
                      <a:pt x="25052" y="316280"/>
                    </a:cubicBezTo>
                    <a:lnTo>
                      <a:pt x="0" y="469726"/>
                    </a:lnTo>
                    <a:lnTo>
                      <a:pt x="1052187" y="1008346"/>
                    </a:lnTo>
                    <a:close/>
                  </a:path>
                </a:pathLst>
              </a:cu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grpSp>
        <p:grpSp>
          <p:nvGrpSpPr>
            <p:cNvPr id="10" name="Gruppieren 9"/>
            <p:cNvGrpSpPr/>
            <p:nvPr/>
          </p:nvGrpSpPr>
          <p:grpSpPr>
            <a:xfrm>
              <a:off x="6468312" y="3319157"/>
              <a:ext cx="400832" cy="558623"/>
              <a:chOff x="3306871" y="3281818"/>
              <a:chExt cx="1947797" cy="2599151"/>
            </a:xfrm>
          </p:grpSpPr>
          <p:sp>
            <p:nvSpPr>
              <p:cNvPr id="11" name="Rechteck 3"/>
              <p:cNvSpPr/>
              <p:nvPr/>
            </p:nvSpPr>
            <p:spPr>
              <a:xfrm>
                <a:off x="3306871" y="3281818"/>
                <a:ext cx="1947797" cy="2599151"/>
              </a:xfrm>
              <a:custGeom>
                <a:avLst/>
                <a:gdLst>
                  <a:gd name="connsiteX0" fmla="*/ 0 w 1947797"/>
                  <a:gd name="connsiteY0" fmla="*/ 0 h 2592888"/>
                  <a:gd name="connsiteX1" fmla="*/ 1947797 w 1947797"/>
                  <a:gd name="connsiteY1" fmla="*/ 0 h 2592888"/>
                  <a:gd name="connsiteX2" fmla="*/ 1947797 w 1947797"/>
                  <a:gd name="connsiteY2" fmla="*/ 2592888 h 2592888"/>
                  <a:gd name="connsiteX3" fmla="*/ 0 w 1947797"/>
                  <a:gd name="connsiteY3" fmla="*/ 2592888 h 2592888"/>
                  <a:gd name="connsiteX4" fmla="*/ 0 w 1947797"/>
                  <a:gd name="connsiteY4" fmla="*/ 0 h 2592888"/>
                  <a:gd name="connsiteX0" fmla="*/ 0 w 1947797"/>
                  <a:gd name="connsiteY0" fmla="*/ 6263 h 2599151"/>
                  <a:gd name="connsiteX1" fmla="*/ 1415441 w 1947797"/>
                  <a:gd name="connsiteY1" fmla="*/ 0 h 2599151"/>
                  <a:gd name="connsiteX2" fmla="*/ 1947797 w 1947797"/>
                  <a:gd name="connsiteY2" fmla="*/ 6263 h 2599151"/>
                  <a:gd name="connsiteX3" fmla="*/ 1947797 w 1947797"/>
                  <a:gd name="connsiteY3" fmla="*/ 2599151 h 2599151"/>
                  <a:gd name="connsiteX4" fmla="*/ 0 w 1947797"/>
                  <a:gd name="connsiteY4" fmla="*/ 2599151 h 2599151"/>
                  <a:gd name="connsiteX5" fmla="*/ 0 w 1947797"/>
                  <a:gd name="connsiteY5" fmla="*/ 6263 h 2599151"/>
                  <a:gd name="connsiteX0" fmla="*/ 0 w 1947797"/>
                  <a:gd name="connsiteY0" fmla="*/ 6263 h 2599151"/>
                  <a:gd name="connsiteX1" fmla="*/ 1415441 w 1947797"/>
                  <a:gd name="connsiteY1" fmla="*/ 0 h 2599151"/>
                  <a:gd name="connsiteX2" fmla="*/ 1947797 w 1947797"/>
                  <a:gd name="connsiteY2" fmla="*/ 6263 h 2599151"/>
                  <a:gd name="connsiteX3" fmla="*/ 1947797 w 1947797"/>
                  <a:gd name="connsiteY3" fmla="*/ 438412 h 2599151"/>
                  <a:gd name="connsiteX4" fmla="*/ 1947797 w 1947797"/>
                  <a:gd name="connsiteY4" fmla="*/ 2599151 h 2599151"/>
                  <a:gd name="connsiteX5" fmla="*/ 0 w 1947797"/>
                  <a:gd name="connsiteY5" fmla="*/ 2599151 h 2599151"/>
                  <a:gd name="connsiteX6" fmla="*/ 0 w 1947797"/>
                  <a:gd name="connsiteY6" fmla="*/ 6263 h 2599151"/>
                  <a:gd name="connsiteX0" fmla="*/ 0 w 1947797"/>
                  <a:gd name="connsiteY0" fmla="*/ 6263 h 2599151"/>
                  <a:gd name="connsiteX1" fmla="*/ 1415441 w 1947797"/>
                  <a:gd name="connsiteY1" fmla="*/ 0 h 2599151"/>
                  <a:gd name="connsiteX2" fmla="*/ 1947797 w 1947797"/>
                  <a:gd name="connsiteY2" fmla="*/ 438412 h 2599151"/>
                  <a:gd name="connsiteX3" fmla="*/ 1947797 w 1947797"/>
                  <a:gd name="connsiteY3" fmla="*/ 2599151 h 2599151"/>
                  <a:gd name="connsiteX4" fmla="*/ 0 w 1947797"/>
                  <a:gd name="connsiteY4" fmla="*/ 2599151 h 2599151"/>
                  <a:gd name="connsiteX5" fmla="*/ 0 w 1947797"/>
                  <a:gd name="connsiteY5" fmla="*/ 6263 h 2599151"/>
                  <a:gd name="connsiteX0" fmla="*/ 0 w 1947797"/>
                  <a:gd name="connsiteY0" fmla="*/ 6263 h 2599151"/>
                  <a:gd name="connsiteX1" fmla="*/ 1415441 w 1947797"/>
                  <a:gd name="connsiteY1" fmla="*/ 0 h 2599151"/>
                  <a:gd name="connsiteX2" fmla="*/ 1947797 w 1947797"/>
                  <a:gd name="connsiteY2" fmla="*/ 519831 h 2599151"/>
                  <a:gd name="connsiteX3" fmla="*/ 1947797 w 1947797"/>
                  <a:gd name="connsiteY3" fmla="*/ 2599151 h 2599151"/>
                  <a:gd name="connsiteX4" fmla="*/ 0 w 1947797"/>
                  <a:gd name="connsiteY4" fmla="*/ 2599151 h 2599151"/>
                  <a:gd name="connsiteX5" fmla="*/ 0 w 1947797"/>
                  <a:gd name="connsiteY5" fmla="*/ 6263 h 2599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47797" h="2599151">
                    <a:moveTo>
                      <a:pt x="0" y="6263"/>
                    </a:moveTo>
                    <a:lnTo>
                      <a:pt x="1415441" y="0"/>
                    </a:lnTo>
                    <a:lnTo>
                      <a:pt x="1947797" y="519831"/>
                    </a:lnTo>
                    <a:lnTo>
                      <a:pt x="1947797" y="2599151"/>
                    </a:lnTo>
                    <a:lnTo>
                      <a:pt x="0" y="2599151"/>
                    </a:lnTo>
                    <a:lnTo>
                      <a:pt x="0" y="6263"/>
                    </a:lnTo>
                    <a:close/>
                  </a:path>
                </a:pathLst>
              </a:custGeom>
              <a:solidFill>
                <a:schemeClr val="bg2"/>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12" name="Freihandform 11"/>
              <p:cNvSpPr/>
              <p:nvPr/>
            </p:nvSpPr>
            <p:spPr>
              <a:xfrm>
                <a:off x="4716049" y="3288082"/>
                <a:ext cx="532356" cy="519830"/>
              </a:xfrm>
              <a:custGeom>
                <a:avLst/>
                <a:gdLst>
                  <a:gd name="connsiteX0" fmla="*/ 0 w 532356"/>
                  <a:gd name="connsiteY0" fmla="*/ 0 h 457200"/>
                  <a:gd name="connsiteX1" fmla="*/ 0 w 532356"/>
                  <a:gd name="connsiteY1" fmla="*/ 457200 h 457200"/>
                  <a:gd name="connsiteX2" fmla="*/ 532356 w 532356"/>
                  <a:gd name="connsiteY2" fmla="*/ 457200 h 457200"/>
                </a:gdLst>
                <a:ahLst/>
                <a:cxnLst>
                  <a:cxn ang="0">
                    <a:pos x="connsiteX0" y="connsiteY0"/>
                  </a:cxn>
                  <a:cxn ang="0">
                    <a:pos x="connsiteX1" y="connsiteY1"/>
                  </a:cxn>
                  <a:cxn ang="0">
                    <a:pos x="connsiteX2" y="connsiteY2"/>
                  </a:cxn>
                </a:cxnLst>
                <a:rect l="l" t="t" r="r" b="b"/>
                <a:pathLst>
                  <a:path w="532356" h="457200">
                    <a:moveTo>
                      <a:pt x="0" y="0"/>
                    </a:moveTo>
                    <a:lnTo>
                      <a:pt x="0" y="457200"/>
                    </a:lnTo>
                    <a:lnTo>
                      <a:pt x="532356" y="457200"/>
                    </a:lnTo>
                  </a:path>
                </a:pathLst>
              </a:cu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13" name="Gerade Verbindung 12"/>
              <p:cNvCxnSpPr/>
              <p:nvPr/>
            </p:nvCxnSpPr>
            <p:spPr>
              <a:xfrm>
                <a:off x="3707704" y="4402899"/>
                <a:ext cx="1008345"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4" name="Gerade Verbindung 13"/>
              <p:cNvCxnSpPr/>
              <p:nvPr/>
            </p:nvCxnSpPr>
            <p:spPr>
              <a:xfrm>
                <a:off x="3707704" y="4831916"/>
                <a:ext cx="1008345"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5" name="Gerade Verbindung 14"/>
              <p:cNvCxnSpPr/>
              <p:nvPr/>
            </p:nvCxnSpPr>
            <p:spPr>
              <a:xfrm>
                <a:off x="3707703" y="5260932"/>
                <a:ext cx="1008345"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16" name="Gruppieren 15"/>
            <p:cNvGrpSpPr/>
            <p:nvPr/>
          </p:nvGrpSpPr>
          <p:grpSpPr>
            <a:xfrm>
              <a:off x="4767314" y="3202601"/>
              <a:ext cx="290338" cy="735718"/>
              <a:chOff x="8974260" y="3385711"/>
              <a:chExt cx="785293" cy="1974042"/>
            </a:xfrm>
          </p:grpSpPr>
          <p:grpSp>
            <p:nvGrpSpPr>
              <p:cNvPr id="17" name="Gruppieren 16"/>
              <p:cNvGrpSpPr/>
              <p:nvPr/>
            </p:nvGrpSpPr>
            <p:grpSpPr>
              <a:xfrm rot="8762874">
                <a:off x="8974260" y="3385711"/>
                <a:ext cx="240847" cy="1974042"/>
                <a:chOff x="8675657" y="2646996"/>
                <a:chExt cx="240847" cy="1974042"/>
              </a:xfrm>
              <a:solidFill>
                <a:schemeClr val="bg2"/>
              </a:solidFill>
            </p:grpSpPr>
            <p:sp>
              <p:nvSpPr>
                <p:cNvPr id="19" name="Rechteck 18"/>
                <p:cNvSpPr/>
                <p:nvPr/>
              </p:nvSpPr>
              <p:spPr>
                <a:xfrm>
                  <a:off x="8699341" y="2646996"/>
                  <a:ext cx="196656" cy="1551334"/>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600" dirty="0" smtClean="0">
                    <a:solidFill>
                      <a:schemeClr val="tx1"/>
                    </a:solidFill>
                  </a:endParaRPr>
                </a:p>
              </p:txBody>
            </p:sp>
            <p:sp>
              <p:nvSpPr>
                <p:cNvPr id="20" name="Gleichschenkliges Dreieck 19"/>
                <p:cNvSpPr/>
                <p:nvPr/>
              </p:nvSpPr>
              <p:spPr>
                <a:xfrm rot="10800000">
                  <a:off x="8675657" y="4240328"/>
                  <a:ext cx="240847" cy="380710"/>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600" dirty="0" smtClean="0">
                    <a:solidFill>
                      <a:schemeClr val="tx1"/>
                    </a:solidFill>
                  </a:endParaRPr>
                </a:p>
              </p:txBody>
            </p:sp>
          </p:grpSp>
          <p:sp>
            <p:nvSpPr>
              <p:cNvPr id="18" name="Ellipse 17"/>
              <p:cNvSpPr/>
              <p:nvPr/>
            </p:nvSpPr>
            <p:spPr>
              <a:xfrm rot="19738401">
                <a:off x="9537276" y="5144059"/>
                <a:ext cx="222277" cy="9877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600" dirty="0" smtClean="0">
                  <a:solidFill>
                    <a:schemeClr val="tx1"/>
                  </a:solidFill>
                </a:endParaRPr>
              </a:p>
            </p:txBody>
          </p:sp>
        </p:grpSp>
        <p:grpSp>
          <p:nvGrpSpPr>
            <p:cNvPr id="41" name="Gruppieren 40"/>
            <p:cNvGrpSpPr/>
            <p:nvPr/>
          </p:nvGrpSpPr>
          <p:grpSpPr>
            <a:xfrm>
              <a:off x="587223" y="5270984"/>
              <a:ext cx="1159964" cy="733613"/>
              <a:chOff x="162838" y="3012510"/>
              <a:chExt cx="3663863" cy="2376816"/>
            </a:xfrm>
          </p:grpSpPr>
          <p:sp>
            <p:nvSpPr>
              <p:cNvPr id="42" name="Freihandform 41"/>
              <p:cNvSpPr/>
              <p:nvPr/>
            </p:nvSpPr>
            <p:spPr>
              <a:xfrm>
                <a:off x="162838" y="3012510"/>
                <a:ext cx="3613759" cy="2248422"/>
              </a:xfrm>
              <a:custGeom>
                <a:avLst/>
                <a:gdLst>
                  <a:gd name="connsiteX0" fmla="*/ 1471809 w 3613759"/>
                  <a:gd name="connsiteY0" fmla="*/ 2248422 h 2248422"/>
                  <a:gd name="connsiteX1" fmla="*/ 3613759 w 3613759"/>
                  <a:gd name="connsiteY1" fmla="*/ 1665961 h 2248422"/>
                  <a:gd name="connsiteX2" fmla="*/ 2317315 w 3613759"/>
                  <a:gd name="connsiteY2" fmla="*/ 1240076 h 2248422"/>
                  <a:gd name="connsiteX3" fmla="*/ 1885167 w 3613759"/>
                  <a:gd name="connsiteY3" fmla="*/ 0 h 2248422"/>
                  <a:gd name="connsiteX4" fmla="*/ 0 w 3613759"/>
                  <a:gd name="connsiteY4" fmla="*/ 300624 h 2248422"/>
                  <a:gd name="connsiteX5" fmla="*/ 419622 w 3613759"/>
                  <a:gd name="connsiteY5" fmla="*/ 1709802 h 2248422"/>
                  <a:gd name="connsiteX6" fmla="*/ 1471809 w 3613759"/>
                  <a:gd name="connsiteY6" fmla="*/ 2248422 h 2248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13759" h="2248422">
                    <a:moveTo>
                      <a:pt x="1471809" y="2248422"/>
                    </a:moveTo>
                    <a:lnTo>
                      <a:pt x="3613759" y="1665961"/>
                    </a:lnTo>
                    <a:lnTo>
                      <a:pt x="2317315" y="1240076"/>
                    </a:lnTo>
                    <a:lnTo>
                      <a:pt x="1885167" y="0"/>
                    </a:lnTo>
                    <a:lnTo>
                      <a:pt x="0" y="300624"/>
                    </a:lnTo>
                    <a:lnTo>
                      <a:pt x="419622" y="1709802"/>
                    </a:lnTo>
                    <a:lnTo>
                      <a:pt x="1471809" y="2248422"/>
                    </a:lnTo>
                    <a:close/>
                  </a:path>
                </a:pathLst>
              </a:cu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43" name="Freihandform 42"/>
              <p:cNvSpPr/>
              <p:nvPr/>
            </p:nvSpPr>
            <p:spPr>
              <a:xfrm>
                <a:off x="394570" y="3194137"/>
                <a:ext cx="1859945" cy="1265129"/>
              </a:xfrm>
              <a:custGeom>
                <a:avLst/>
                <a:gdLst>
                  <a:gd name="connsiteX0" fmla="*/ 1534438 w 1822537"/>
                  <a:gd name="connsiteY0" fmla="*/ 0 h 1265129"/>
                  <a:gd name="connsiteX1" fmla="*/ 0 w 1822537"/>
                  <a:gd name="connsiteY1" fmla="*/ 256784 h 1265129"/>
                  <a:gd name="connsiteX2" fmla="*/ 306888 w 1822537"/>
                  <a:gd name="connsiteY2" fmla="*/ 1265129 h 1265129"/>
                  <a:gd name="connsiteX3" fmla="*/ 1822537 w 1822537"/>
                  <a:gd name="connsiteY3" fmla="*/ 951978 h 1265129"/>
                  <a:gd name="connsiteX4" fmla="*/ 1534438 w 1822537"/>
                  <a:gd name="connsiteY4" fmla="*/ 0 h 1265129"/>
                  <a:gd name="connsiteX0" fmla="*/ 1534438 w 1843319"/>
                  <a:gd name="connsiteY0" fmla="*/ 0 h 1265129"/>
                  <a:gd name="connsiteX1" fmla="*/ 0 w 1843319"/>
                  <a:gd name="connsiteY1" fmla="*/ 256784 h 1265129"/>
                  <a:gd name="connsiteX2" fmla="*/ 306888 w 1843319"/>
                  <a:gd name="connsiteY2" fmla="*/ 1265129 h 1265129"/>
                  <a:gd name="connsiteX3" fmla="*/ 1843319 w 1843319"/>
                  <a:gd name="connsiteY3" fmla="*/ 947525 h 1265129"/>
                  <a:gd name="connsiteX4" fmla="*/ 1534438 w 1843319"/>
                  <a:gd name="connsiteY4" fmla="*/ 0 h 1265129"/>
                  <a:gd name="connsiteX0" fmla="*/ 1534438 w 1859945"/>
                  <a:gd name="connsiteY0" fmla="*/ 0 h 1265129"/>
                  <a:gd name="connsiteX1" fmla="*/ 0 w 1859945"/>
                  <a:gd name="connsiteY1" fmla="*/ 256784 h 1265129"/>
                  <a:gd name="connsiteX2" fmla="*/ 306888 w 1859945"/>
                  <a:gd name="connsiteY2" fmla="*/ 1265129 h 1265129"/>
                  <a:gd name="connsiteX3" fmla="*/ 1859945 w 1859945"/>
                  <a:gd name="connsiteY3" fmla="*/ 947525 h 1265129"/>
                  <a:gd name="connsiteX4" fmla="*/ 1534438 w 1859945"/>
                  <a:gd name="connsiteY4" fmla="*/ 0 h 12651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59945" h="1265129">
                    <a:moveTo>
                      <a:pt x="1534438" y="0"/>
                    </a:moveTo>
                    <a:lnTo>
                      <a:pt x="0" y="256784"/>
                    </a:lnTo>
                    <a:lnTo>
                      <a:pt x="306888" y="1265129"/>
                    </a:lnTo>
                    <a:lnTo>
                      <a:pt x="1859945" y="947525"/>
                    </a:lnTo>
                    <a:lnTo>
                      <a:pt x="1534438" y="0"/>
                    </a:lnTo>
                    <a:close/>
                  </a:path>
                </a:pathLst>
              </a:cu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44" name="Freihandform 43"/>
              <p:cNvSpPr/>
              <p:nvPr/>
            </p:nvSpPr>
            <p:spPr>
              <a:xfrm>
                <a:off x="563671" y="4380980"/>
                <a:ext cx="3263030" cy="1008346"/>
              </a:xfrm>
              <a:custGeom>
                <a:avLst/>
                <a:gdLst>
                  <a:gd name="connsiteX0" fmla="*/ 1471809 w 3613759"/>
                  <a:gd name="connsiteY0" fmla="*/ 2248422 h 2248422"/>
                  <a:gd name="connsiteX1" fmla="*/ 3613759 w 3613759"/>
                  <a:gd name="connsiteY1" fmla="*/ 1665961 h 2248422"/>
                  <a:gd name="connsiteX2" fmla="*/ 2317315 w 3613759"/>
                  <a:gd name="connsiteY2" fmla="*/ 1240076 h 2248422"/>
                  <a:gd name="connsiteX3" fmla="*/ 1885167 w 3613759"/>
                  <a:gd name="connsiteY3" fmla="*/ 0 h 2248422"/>
                  <a:gd name="connsiteX4" fmla="*/ 0 w 3613759"/>
                  <a:gd name="connsiteY4" fmla="*/ 300624 h 2248422"/>
                  <a:gd name="connsiteX5" fmla="*/ 419622 w 3613759"/>
                  <a:gd name="connsiteY5" fmla="*/ 1709802 h 2248422"/>
                  <a:gd name="connsiteX6" fmla="*/ 1471809 w 3613759"/>
                  <a:gd name="connsiteY6" fmla="*/ 2248422 h 2248422"/>
                  <a:gd name="connsiteX0" fmla="*/ 1471809 w 3613759"/>
                  <a:gd name="connsiteY0" fmla="*/ 1947798 h 1947798"/>
                  <a:gd name="connsiteX1" fmla="*/ 3613759 w 3613759"/>
                  <a:gd name="connsiteY1" fmla="*/ 1365337 h 1947798"/>
                  <a:gd name="connsiteX2" fmla="*/ 2317315 w 3613759"/>
                  <a:gd name="connsiteY2" fmla="*/ 939452 h 1947798"/>
                  <a:gd name="connsiteX3" fmla="*/ 0 w 3613759"/>
                  <a:gd name="connsiteY3" fmla="*/ 0 h 1947798"/>
                  <a:gd name="connsiteX4" fmla="*/ 419622 w 3613759"/>
                  <a:gd name="connsiteY4" fmla="*/ 1409178 h 1947798"/>
                  <a:gd name="connsiteX5" fmla="*/ 1471809 w 3613759"/>
                  <a:gd name="connsiteY5" fmla="*/ 1947798 h 1947798"/>
                  <a:gd name="connsiteX0" fmla="*/ 1052187 w 3194137"/>
                  <a:gd name="connsiteY0" fmla="*/ 1008346 h 1008346"/>
                  <a:gd name="connsiteX1" fmla="*/ 3194137 w 3194137"/>
                  <a:gd name="connsiteY1" fmla="*/ 425885 h 1008346"/>
                  <a:gd name="connsiteX2" fmla="*/ 1897693 w 3194137"/>
                  <a:gd name="connsiteY2" fmla="*/ 0 h 1008346"/>
                  <a:gd name="connsiteX3" fmla="*/ 0 w 3194137"/>
                  <a:gd name="connsiteY3" fmla="*/ 469726 h 1008346"/>
                  <a:gd name="connsiteX4" fmla="*/ 1052187 w 3194137"/>
                  <a:gd name="connsiteY4" fmla="*/ 1008346 h 1008346"/>
                  <a:gd name="connsiteX0" fmla="*/ 1052187 w 3194137"/>
                  <a:gd name="connsiteY0" fmla="*/ 1008346 h 1008346"/>
                  <a:gd name="connsiteX1" fmla="*/ 3194137 w 3194137"/>
                  <a:gd name="connsiteY1" fmla="*/ 425885 h 1008346"/>
                  <a:gd name="connsiteX2" fmla="*/ 1897693 w 3194137"/>
                  <a:gd name="connsiteY2" fmla="*/ 0 h 1008346"/>
                  <a:gd name="connsiteX3" fmla="*/ 25052 w 3194137"/>
                  <a:gd name="connsiteY3" fmla="*/ 316280 h 1008346"/>
                  <a:gd name="connsiteX4" fmla="*/ 0 w 3194137"/>
                  <a:gd name="connsiteY4" fmla="*/ 469726 h 1008346"/>
                  <a:gd name="connsiteX5" fmla="*/ 1052187 w 3194137"/>
                  <a:gd name="connsiteY5" fmla="*/ 1008346 h 1008346"/>
                  <a:gd name="connsiteX0" fmla="*/ 1052187 w 3194137"/>
                  <a:gd name="connsiteY0" fmla="*/ 1008346 h 1008346"/>
                  <a:gd name="connsiteX1" fmla="*/ 3194137 w 3194137"/>
                  <a:gd name="connsiteY1" fmla="*/ 425885 h 1008346"/>
                  <a:gd name="connsiteX2" fmla="*/ 3162822 w 3194137"/>
                  <a:gd name="connsiteY2" fmla="*/ 284965 h 1008346"/>
                  <a:gd name="connsiteX3" fmla="*/ 1897693 w 3194137"/>
                  <a:gd name="connsiteY3" fmla="*/ 0 h 1008346"/>
                  <a:gd name="connsiteX4" fmla="*/ 25052 w 3194137"/>
                  <a:gd name="connsiteY4" fmla="*/ 316280 h 1008346"/>
                  <a:gd name="connsiteX5" fmla="*/ 0 w 3194137"/>
                  <a:gd name="connsiteY5" fmla="*/ 469726 h 1008346"/>
                  <a:gd name="connsiteX6" fmla="*/ 1052187 w 3194137"/>
                  <a:gd name="connsiteY6" fmla="*/ 1008346 h 1008346"/>
                  <a:gd name="connsiteX0" fmla="*/ 1052187 w 3207156"/>
                  <a:gd name="connsiteY0" fmla="*/ 1008346 h 1008346"/>
                  <a:gd name="connsiteX1" fmla="*/ 3194137 w 3207156"/>
                  <a:gd name="connsiteY1" fmla="*/ 425885 h 1008346"/>
                  <a:gd name="connsiteX2" fmla="*/ 3162822 w 3207156"/>
                  <a:gd name="connsiteY2" fmla="*/ 284965 h 1008346"/>
                  <a:gd name="connsiteX3" fmla="*/ 1897693 w 3207156"/>
                  <a:gd name="connsiteY3" fmla="*/ 0 h 1008346"/>
                  <a:gd name="connsiteX4" fmla="*/ 25052 w 3207156"/>
                  <a:gd name="connsiteY4" fmla="*/ 316280 h 1008346"/>
                  <a:gd name="connsiteX5" fmla="*/ 0 w 3207156"/>
                  <a:gd name="connsiteY5" fmla="*/ 469726 h 1008346"/>
                  <a:gd name="connsiteX6" fmla="*/ 1052187 w 3207156"/>
                  <a:gd name="connsiteY6" fmla="*/ 1008346 h 1008346"/>
                  <a:gd name="connsiteX0" fmla="*/ 1052187 w 3194137"/>
                  <a:gd name="connsiteY0" fmla="*/ 1008346 h 1008346"/>
                  <a:gd name="connsiteX1" fmla="*/ 3194137 w 3194137"/>
                  <a:gd name="connsiteY1" fmla="*/ 425885 h 1008346"/>
                  <a:gd name="connsiteX2" fmla="*/ 3162822 w 3194137"/>
                  <a:gd name="connsiteY2" fmla="*/ 284965 h 1008346"/>
                  <a:gd name="connsiteX3" fmla="*/ 1897693 w 3194137"/>
                  <a:gd name="connsiteY3" fmla="*/ 0 h 1008346"/>
                  <a:gd name="connsiteX4" fmla="*/ 25052 w 3194137"/>
                  <a:gd name="connsiteY4" fmla="*/ 316280 h 1008346"/>
                  <a:gd name="connsiteX5" fmla="*/ 0 w 3194137"/>
                  <a:gd name="connsiteY5" fmla="*/ 469726 h 1008346"/>
                  <a:gd name="connsiteX6" fmla="*/ 1052187 w 3194137"/>
                  <a:gd name="connsiteY6" fmla="*/ 1008346 h 1008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94137" h="1008346">
                    <a:moveTo>
                      <a:pt x="1052187" y="1008346"/>
                    </a:moveTo>
                    <a:lnTo>
                      <a:pt x="3194137" y="425885"/>
                    </a:lnTo>
                    <a:cubicBezTo>
                      <a:pt x="3189962" y="355947"/>
                      <a:pt x="3192049" y="342377"/>
                      <a:pt x="3162822" y="284965"/>
                    </a:cubicBezTo>
                    <a:lnTo>
                      <a:pt x="1897693" y="0"/>
                    </a:lnTo>
                    <a:cubicBezTo>
                      <a:pt x="1329847" y="138829"/>
                      <a:pt x="592898" y="177451"/>
                      <a:pt x="25052" y="316280"/>
                    </a:cubicBezTo>
                    <a:lnTo>
                      <a:pt x="0" y="469726"/>
                    </a:lnTo>
                    <a:lnTo>
                      <a:pt x="1052187" y="1008346"/>
                    </a:lnTo>
                    <a:close/>
                  </a:path>
                </a:pathLst>
              </a:cu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grpSp>
        <p:grpSp>
          <p:nvGrpSpPr>
            <p:cNvPr id="45" name="Gruppieren 44"/>
            <p:cNvGrpSpPr/>
            <p:nvPr/>
          </p:nvGrpSpPr>
          <p:grpSpPr>
            <a:xfrm>
              <a:off x="2630246" y="5179250"/>
              <a:ext cx="290338" cy="735718"/>
              <a:chOff x="8974260" y="3385711"/>
              <a:chExt cx="785293" cy="1974042"/>
            </a:xfrm>
          </p:grpSpPr>
          <p:grpSp>
            <p:nvGrpSpPr>
              <p:cNvPr id="46" name="Gruppieren 45"/>
              <p:cNvGrpSpPr/>
              <p:nvPr/>
            </p:nvGrpSpPr>
            <p:grpSpPr>
              <a:xfrm rot="8762874">
                <a:off x="8974260" y="3385711"/>
                <a:ext cx="240847" cy="1974042"/>
                <a:chOff x="8675657" y="2646996"/>
                <a:chExt cx="240847" cy="1974042"/>
              </a:xfrm>
              <a:solidFill>
                <a:schemeClr val="bg2"/>
              </a:solidFill>
            </p:grpSpPr>
            <p:sp>
              <p:nvSpPr>
                <p:cNvPr id="48" name="Rechteck 47"/>
                <p:cNvSpPr/>
                <p:nvPr/>
              </p:nvSpPr>
              <p:spPr>
                <a:xfrm>
                  <a:off x="8699341" y="2646996"/>
                  <a:ext cx="196656" cy="1551334"/>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600" dirty="0" smtClean="0">
                    <a:solidFill>
                      <a:schemeClr val="tx1"/>
                    </a:solidFill>
                  </a:endParaRPr>
                </a:p>
              </p:txBody>
            </p:sp>
            <p:sp>
              <p:nvSpPr>
                <p:cNvPr id="49" name="Gleichschenkliges Dreieck 48"/>
                <p:cNvSpPr/>
                <p:nvPr/>
              </p:nvSpPr>
              <p:spPr>
                <a:xfrm rot="10800000">
                  <a:off x="8675657" y="4240328"/>
                  <a:ext cx="240847" cy="380710"/>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600" dirty="0" smtClean="0">
                    <a:solidFill>
                      <a:schemeClr val="tx1"/>
                    </a:solidFill>
                  </a:endParaRPr>
                </a:p>
              </p:txBody>
            </p:sp>
          </p:grpSp>
          <p:sp>
            <p:nvSpPr>
              <p:cNvPr id="47" name="Ellipse 46"/>
              <p:cNvSpPr/>
              <p:nvPr/>
            </p:nvSpPr>
            <p:spPr>
              <a:xfrm rot="19738401">
                <a:off x="9537276" y="5144059"/>
                <a:ext cx="222277" cy="9877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600" dirty="0" smtClean="0">
                  <a:solidFill>
                    <a:schemeClr val="tx1"/>
                  </a:solidFill>
                </a:endParaRPr>
              </a:p>
            </p:txBody>
          </p:sp>
        </p:grpSp>
        <p:grpSp>
          <p:nvGrpSpPr>
            <p:cNvPr id="50" name="Gruppieren 49"/>
            <p:cNvGrpSpPr/>
            <p:nvPr/>
          </p:nvGrpSpPr>
          <p:grpSpPr>
            <a:xfrm>
              <a:off x="849138" y="3319157"/>
              <a:ext cx="400832" cy="558623"/>
              <a:chOff x="3306871" y="3281818"/>
              <a:chExt cx="1947797" cy="2599151"/>
            </a:xfrm>
          </p:grpSpPr>
          <p:sp>
            <p:nvSpPr>
              <p:cNvPr id="51" name="Rechteck 3"/>
              <p:cNvSpPr/>
              <p:nvPr/>
            </p:nvSpPr>
            <p:spPr>
              <a:xfrm>
                <a:off x="3306871" y="3281818"/>
                <a:ext cx="1947797" cy="2599151"/>
              </a:xfrm>
              <a:custGeom>
                <a:avLst/>
                <a:gdLst>
                  <a:gd name="connsiteX0" fmla="*/ 0 w 1947797"/>
                  <a:gd name="connsiteY0" fmla="*/ 0 h 2592888"/>
                  <a:gd name="connsiteX1" fmla="*/ 1947797 w 1947797"/>
                  <a:gd name="connsiteY1" fmla="*/ 0 h 2592888"/>
                  <a:gd name="connsiteX2" fmla="*/ 1947797 w 1947797"/>
                  <a:gd name="connsiteY2" fmla="*/ 2592888 h 2592888"/>
                  <a:gd name="connsiteX3" fmla="*/ 0 w 1947797"/>
                  <a:gd name="connsiteY3" fmla="*/ 2592888 h 2592888"/>
                  <a:gd name="connsiteX4" fmla="*/ 0 w 1947797"/>
                  <a:gd name="connsiteY4" fmla="*/ 0 h 2592888"/>
                  <a:gd name="connsiteX0" fmla="*/ 0 w 1947797"/>
                  <a:gd name="connsiteY0" fmla="*/ 6263 h 2599151"/>
                  <a:gd name="connsiteX1" fmla="*/ 1415441 w 1947797"/>
                  <a:gd name="connsiteY1" fmla="*/ 0 h 2599151"/>
                  <a:gd name="connsiteX2" fmla="*/ 1947797 w 1947797"/>
                  <a:gd name="connsiteY2" fmla="*/ 6263 h 2599151"/>
                  <a:gd name="connsiteX3" fmla="*/ 1947797 w 1947797"/>
                  <a:gd name="connsiteY3" fmla="*/ 2599151 h 2599151"/>
                  <a:gd name="connsiteX4" fmla="*/ 0 w 1947797"/>
                  <a:gd name="connsiteY4" fmla="*/ 2599151 h 2599151"/>
                  <a:gd name="connsiteX5" fmla="*/ 0 w 1947797"/>
                  <a:gd name="connsiteY5" fmla="*/ 6263 h 2599151"/>
                  <a:gd name="connsiteX0" fmla="*/ 0 w 1947797"/>
                  <a:gd name="connsiteY0" fmla="*/ 6263 h 2599151"/>
                  <a:gd name="connsiteX1" fmla="*/ 1415441 w 1947797"/>
                  <a:gd name="connsiteY1" fmla="*/ 0 h 2599151"/>
                  <a:gd name="connsiteX2" fmla="*/ 1947797 w 1947797"/>
                  <a:gd name="connsiteY2" fmla="*/ 6263 h 2599151"/>
                  <a:gd name="connsiteX3" fmla="*/ 1947797 w 1947797"/>
                  <a:gd name="connsiteY3" fmla="*/ 438412 h 2599151"/>
                  <a:gd name="connsiteX4" fmla="*/ 1947797 w 1947797"/>
                  <a:gd name="connsiteY4" fmla="*/ 2599151 h 2599151"/>
                  <a:gd name="connsiteX5" fmla="*/ 0 w 1947797"/>
                  <a:gd name="connsiteY5" fmla="*/ 2599151 h 2599151"/>
                  <a:gd name="connsiteX6" fmla="*/ 0 w 1947797"/>
                  <a:gd name="connsiteY6" fmla="*/ 6263 h 2599151"/>
                  <a:gd name="connsiteX0" fmla="*/ 0 w 1947797"/>
                  <a:gd name="connsiteY0" fmla="*/ 6263 h 2599151"/>
                  <a:gd name="connsiteX1" fmla="*/ 1415441 w 1947797"/>
                  <a:gd name="connsiteY1" fmla="*/ 0 h 2599151"/>
                  <a:gd name="connsiteX2" fmla="*/ 1947797 w 1947797"/>
                  <a:gd name="connsiteY2" fmla="*/ 438412 h 2599151"/>
                  <a:gd name="connsiteX3" fmla="*/ 1947797 w 1947797"/>
                  <a:gd name="connsiteY3" fmla="*/ 2599151 h 2599151"/>
                  <a:gd name="connsiteX4" fmla="*/ 0 w 1947797"/>
                  <a:gd name="connsiteY4" fmla="*/ 2599151 h 2599151"/>
                  <a:gd name="connsiteX5" fmla="*/ 0 w 1947797"/>
                  <a:gd name="connsiteY5" fmla="*/ 6263 h 2599151"/>
                  <a:gd name="connsiteX0" fmla="*/ 0 w 1947797"/>
                  <a:gd name="connsiteY0" fmla="*/ 6263 h 2599151"/>
                  <a:gd name="connsiteX1" fmla="*/ 1415441 w 1947797"/>
                  <a:gd name="connsiteY1" fmla="*/ 0 h 2599151"/>
                  <a:gd name="connsiteX2" fmla="*/ 1947797 w 1947797"/>
                  <a:gd name="connsiteY2" fmla="*/ 519831 h 2599151"/>
                  <a:gd name="connsiteX3" fmla="*/ 1947797 w 1947797"/>
                  <a:gd name="connsiteY3" fmla="*/ 2599151 h 2599151"/>
                  <a:gd name="connsiteX4" fmla="*/ 0 w 1947797"/>
                  <a:gd name="connsiteY4" fmla="*/ 2599151 h 2599151"/>
                  <a:gd name="connsiteX5" fmla="*/ 0 w 1947797"/>
                  <a:gd name="connsiteY5" fmla="*/ 6263 h 2599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47797" h="2599151">
                    <a:moveTo>
                      <a:pt x="0" y="6263"/>
                    </a:moveTo>
                    <a:lnTo>
                      <a:pt x="1415441" y="0"/>
                    </a:lnTo>
                    <a:lnTo>
                      <a:pt x="1947797" y="519831"/>
                    </a:lnTo>
                    <a:lnTo>
                      <a:pt x="1947797" y="2599151"/>
                    </a:lnTo>
                    <a:lnTo>
                      <a:pt x="0" y="2599151"/>
                    </a:lnTo>
                    <a:lnTo>
                      <a:pt x="0" y="6263"/>
                    </a:lnTo>
                    <a:close/>
                  </a:path>
                </a:pathLst>
              </a:custGeom>
              <a:solidFill>
                <a:schemeClr val="bg2"/>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52" name="Freihandform 51"/>
              <p:cNvSpPr/>
              <p:nvPr/>
            </p:nvSpPr>
            <p:spPr>
              <a:xfrm>
                <a:off x="4716049" y="3288082"/>
                <a:ext cx="532356" cy="519830"/>
              </a:xfrm>
              <a:custGeom>
                <a:avLst/>
                <a:gdLst>
                  <a:gd name="connsiteX0" fmla="*/ 0 w 532356"/>
                  <a:gd name="connsiteY0" fmla="*/ 0 h 457200"/>
                  <a:gd name="connsiteX1" fmla="*/ 0 w 532356"/>
                  <a:gd name="connsiteY1" fmla="*/ 457200 h 457200"/>
                  <a:gd name="connsiteX2" fmla="*/ 532356 w 532356"/>
                  <a:gd name="connsiteY2" fmla="*/ 457200 h 457200"/>
                </a:gdLst>
                <a:ahLst/>
                <a:cxnLst>
                  <a:cxn ang="0">
                    <a:pos x="connsiteX0" y="connsiteY0"/>
                  </a:cxn>
                  <a:cxn ang="0">
                    <a:pos x="connsiteX1" y="connsiteY1"/>
                  </a:cxn>
                  <a:cxn ang="0">
                    <a:pos x="connsiteX2" y="connsiteY2"/>
                  </a:cxn>
                </a:cxnLst>
                <a:rect l="l" t="t" r="r" b="b"/>
                <a:pathLst>
                  <a:path w="532356" h="457200">
                    <a:moveTo>
                      <a:pt x="0" y="0"/>
                    </a:moveTo>
                    <a:lnTo>
                      <a:pt x="0" y="457200"/>
                    </a:lnTo>
                    <a:lnTo>
                      <a:pt x="532356" y="457200"/>
                    </a:lnTo>
                  </a:path>
                </a:pathLst>
              </a:cu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53" name="Gerade Verbindung 52"/>
              <p:cNvCxnSpPr/>
              <p:nvPr/>
            </p:nvCxnSpPr>
            <p:spPr>
              <a:xfrm>
                <a:off x="3707704" y="4402899"/>
                <a:ext cx="1008345"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4" name="Gerade Verbindung 53"/>
              <p:cNvCxnSpPr/>
              <p:nvPr/>
            </p:nvCxnSpPr>
            <p:spPr>
              <a:xfrm>
                <a:off x="3707704" y="4831916"/>
                <a:ext cx="1008345"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5" name="Gerade Verbindung 54"/>
              <p:cNvCxnSpPr/>
              <p:nvPr/>
            </p:nvCxnSpPr>
            <p:spPr>
              <a:xfrm>
                <a:off x="3707703" y="5260932"/>
                <a:ext cx="1008345"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62" name="Gruppieren 61"/>
            <p:cNvGrpSpPr/>
            <p:nvPr/>
          </p:nvGrpSpPr>
          <p:grpSpPr>
            <a:xfrm>
              <a:off x="6289162" y="5301117"/>
              <a:ext cx="1159964" cy="733613"/>
              <a:chOff x="162838" y="3012510"/>
              <a:chExt cx="3663863" cy="2376816"/>
            </a:xfrm>
          </p:grpSpPr>
          <p:sp>
            <p:nvSpPr>
              <p:cNvPr id="63" name="Freihandform 62"/>
              <p:cNvSpPr/>
              <p:nvPr/>
            </p:nvSpPr>
            <p:spPr>
              <a:xfrm>
                <a:off x="162838" y="3012510"/>
                <a:ext cx="3613759" cy="2248422"/>
              </a:xfrm>
              <a:custGeom>
                <a:avLst/>
                <a:gdLst>
                  <a:gd name="connsiteX0" fmla="*/ 1471809 w 3613759"/>
                  <a:gd name="connsiteY0" fmla="*/ 2248422 h 2248422"/>
                  <a:gd name="connsiteX1" fmla="*/ 3613759 w 3613759"/>
                  <a:gd name="connsiteY1" fmla="*/ 1665961 h 2248422"/>
                  <a:gd name="connsiteX2" fmla="*/ 2317315 w 3613759"/>
                  <a:gd name="connsiteY2" fmla="*/ 1240076 h 2248422"/>
                  <a:gd name="connsiteX3" fmla="*/ 1885167 w 3613759"/>
                  <a:gd name="connsiteY3" fmla="*/ 0 h 2248422"/>
                  <a:gd name="connsiteX4" fmla="*/ 0 w 3613759"/>
                  <a:gd name="connsiteY4" fmla="*/ 300624 h 2248422"/>
                  <a:gd name="connsiteX5" fmla="*/ 419622 w 3613759"/>
                  <a:gd name="connsiteY5" fmla="*/ 1709802 h 2248422"/>
                  <a:gd name="connsiteX6" fmla="*/ 1471809 w 3613759"/>
                  <a:gd name="connsiteY6" fmla="*/ 2248422 h 2248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13759" h="2248422">
                    <a:moveTo>
                      <a:pt x="1471809" y="2248422"/>
                    </a:moveTo>
                    <a:lnTo>
                      <a:pt x="3613759" y="1665961"/>
                    </a:lnTo>
                    <a:lnTo>
                      <a:pt x="2317315" y="1240076"/>
                    </a:lnTo>
                    <a:lnTo>
                      <a:pt x="1885167" y="0"/>
                    </a:lnTo>
                    <a:lnTo>
                      <a:pt x="0" y="300624"/>
                    </a:lnTo>
                    <a:lnTo>
                      <a:pt x="419622" y="1709802"/>
                    </a:lnTo>
                    <a:lnTo>
                      <a:pt x="1471809" y="2248422"/>
                    </a:lnTo>
                    <a:close/>
                  </a:path>
                </a:pathLst>
              </a:cu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64" name="Freihandform 63"/>
              <p:cNvSpPr/>
              <p:nvPr/>
            </p:nvSpPr>
            <p:spPr>
              <a:xfrm>
                <a:off x="394570" y="3194137"/>
                <a:ext cx="1859945" cy="1265129"/>
              </a:xfrm>
              <a:custGeom>
                <a:avLst/>
                <a:gdLst>
                  <a:gd name="connsiteX0" fmla="*/ 1534438 w 1822537"/>
                  <a:gd name="connsiteY0" fmla="*/ 0 h 1265129"/>
                  <a:gd name="connsiteX1" fmla="*/ 0 w 1822537"/>
                  <a:gd name="connsiteY1" fmla="*/ 256784 h 1265129"/>
                  <a:gd name="connsiteX2" fmla="*/ 306888 w 1822537"/>
                  <a:gd name="connsiteY2" fmla="*/ 1265129 h 1265129"/>
                  <a:gd name="connsiteX3" fmla="*/ 1822537 w 1822537"/>
                  <a:gd name="connsiteY3" fmla="*/ 951978 h 1265129"/>
                  <a:gd name="connsiteX4" fmla="*/ 1534438 w 1822537"/>
                  <a:gd name="connsiteY4" fmla="*/ 0 h 1265129"/>
                  <a:gd name="connsiteX0" fmla="*/ 1534438 w 1843319"/>
                  <a:gd name="connsiteY0" fmla="*/ 0 h 1265129"/>
                  <a:gd name="connsiteX1" fmla="*/ 0 w 1843319"/>
                  <a:gd name="connsiteY1" fmla="*/ 256784 h 1265129"/>
                  <a:gd name="connsiteX2" fmla="*/ 306888 w 1843319"/>
                  <a:gd name="connsiteY2" fmla="*/ 1265129 h 1265129"/>
                  <a:gd name="connsiteX3" fmla="*/ 1843319 w 1843319"/>
                  <a:gd name="connsiteY3" fmla="*/ 947525 h 1265129"/>
                  <a:gd name="connsiteX4" fmla="*/ 1534438 w 1843319"/>
                  <a:gd name="connsiteY4" fmla="*/ 0 h 1265129"/>
                  <a:gd name="connsiteX0" fmla="*/ 1534438 w 1859945"/>
                  <a:gd name="connsiteY0" fmla="*/ 0 h 1265129"/>
                  <a:gd name="connsiteX1" fmla="*/ 0 w 1859945"/>
                  <a:gd name="connsiteY1" fmla="*/ 256784 h 1265129"/>
                  <a:gd name="connsiteX2" fmla="*/ 306888 w 1859945"/>
                  <a:gd name="connsiteY2" fmla="*/ 1265129 h 1265129"/>
                  <a:gd name="connsiteX3" fmla="*/ 1859945 w 1859945"/>
                  <a:gd name="connsiteY3" fmla="*/ 947525 h 1265129"/>
                  <a:gd name="connsiteX4" fmla="*/ 1534438 w 1859945"/>
                  <a:gd name="connsiteY4" fmla="*/ 0 h 12651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59945" h="1265129">
                    <a:moveTo>
                      <a:pt x="1534438" y="0"/>
                    </a:moveTo>
                    <a:lnTo>
                      <a:pt x="0" y="256784"/>
                    </a:lnTo>
                    <a:lnTo>
                      <a:pt x="306888" y="1265129"/>
                    </a:lnTo>
                    <a:lnTo>
                      <a:pt x="1859945" y="947525"/>
                    </a:lnTo>
                    <a:lnTo>
                      <a:pt x="1534438" y="0"/>
                    </a:lnTo>
                    <a:close/>
                  </a:path>
                </a:pathLst>
              </a:cu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65" name="Freihandform 64"/>
              <p:cNvSpPr/>
              <p:nvPr/>
            </p:nvSpPr>
            <p:spPr>
              <a:xfrm>
                <a:off x="563671" y="4380980"/>
                <a:ext cx="3263030" cy="1008346"/>
              </a:xfrm>
              <a:custGeom>
                <a:avLst/>
                <a:gdLst>
                  <a:gd name="connsiteX0" fmla="*/ 1471809 w 3613759"/>
                  <a:gd name="connsiteY0" fmla="*/ 2248422 h 2248422"/>
                  <a:gd name="connsiteX1" fmla="*/ 3613759 w 3613759"/>
                  <a:gd name="connsiteY1" fmla="*/ 1665961 h 2248422"/>
                  <a:gd name="connsiteX2" fmla="*/ 2317315 w 3613759"/>
                  <a:gd name="connsiteY2" fmla="*/ 1240076 h 2248422"/>
                  <a:gd name="connsiteX3" fmla="*/ 1885167 w 3613759"/>
                  <a:gd name="connsiteY3" fmla="*/ 0 h 2248422"/>
                  <a:gd name="connsiteX4" fmla="*/ 0 w 3613759"/>
                  <a:gd name="connsiteY4" fmla="*/ 300624 h 2248422"/>
                  <a:gd name="connsiteX5" fmla="*/ 419622 w 3613759"/>
                  <a:gd name="connsiteY5" fmla="*/ 1709802 h 2248422"/>
                  <a:gd name="connsiteX6" fmla="*/ 1471809 w 3613759"/>
                  <a:gd name="connsiteY6" fmla="*/ 2248422 h 2248422"/>
                  <a:gd name="connsiteX0" fmla="*/ 1471809 w 3613759"/>
                  <a:gd name="connsiteY0" fmla="*/ 1947798 h 1947798"/>
                  <a:gd name="connsiteX1" fmla="*/ 3613759 w 3613759"/>
                  <a:gd name="connsiteY1" fmla="*/ 1365337 h 1947798"/>
                  <a:gd name="connsiteX2" fmla="*/ 2317315 w 3613759"/>
                  <a:gd name="connsiteY2" fmla="*/ 939452 h 1947798"/>
                  <a:gd name="connsiteX3" fmla="*/ 0 w 3613759"/>
                  <a:gd name="connsiteY3" fmla="*/ 0 h 1947798"/>
                  <a:gd name="connsiteX4" fmla="*/ 419622 w 3613759"/>
                  <a:gd name="connsiteY4" fmla="*/ 1409178 h 1947798"/>
                  <a:gd name="connsiteX5" fmla="*/ 1471809 w 3613759"/>
                  <a:gd name="connsiteY5" fmla="*/ 1947798 h 1947798"/>
                  <a:gd name="connsiteX0" fmla="*/ 1052187 w 3194137"/>
                  <a:gd name="connsiteY0" fmla="*/ 1008346 h 1008346"/>
                  <a:gd name="connsiteX1" fmla="*/ 3194137 w 3194137"/>
                  <a:gd name="connsiteY1" fmla="*/ 425885 h 1008346"/>
                  <a:gd name="connsiteX2" fmla="*/ 1897693 w 3194137"/>
                  <a:gd name="connsiteY2" fmla="*/ 0 h 1008346"/>
                  <a:gd name="connsiteX3" fmla="*/ 0 w 3194137"/>
                  <a:gd name="connsiteY3" fmla="*/ 469726 h 1008346"/>
                  <a:gd name="connsiteX4" fmla="*/ 1052187 w 3194137"/>
                  <a:gd name="connsiteY4" fmla="*/ 1008346 h 1008346"/>
                  <a:gd name="connsiteX0" fmla="*/ 1052187 w 3194137"/>
                  <a:gd name="connsiteY0" fmla="*/ 1008346 h 1008346"/>
                  <a:gd name="connsiteX1" fmla="*/ 3194137 w 3194137"/>
                  <a:gd name="connsiteY1" fmla="*/ 425885 h 1008346"/>
                  <a:gd name="connsiteX2" fmla="*/ 1897693 w 3194137"/>
                  <a:gd name="connsiteY2" fmla="*/ 0 h 1008346"/>
                  <a:gd name="connsiteX3" fmla="*/ 25052 w 3194137"/>
                  <a:gd name="connsiteY3" fmla="*/ 316280 h 1008346"/>
                  <a:gd name="connsiteX4" fmla="*/ 0 w 3194137"/>
                  <a:gd name="connsiteY4" fmla="*/ 469726 h 1008346"/>
                  <a:gd name="connsiteX5" fmla="*/ 1052187 w 3194137"/>
                  <a:gd name="connsiteY5" fmla="*/ 1008346 h 1008346"/>
                  <a:gd name="connsiteX0" fmla="*/ 1052187 w 3194137"/>
                  <a:gd name="connsiteY0" fmla="*/ 1008346 h 1008346"/>
                  <a:gd name="connsiteX1" fmla="*/ 3194137 w 3194137"/>
                  <a:gd name="connsiteY1" fmla="*/ 425885 h 1008346"/>
                  <a:gd name="connsiteX2" fmla="*/ 3162822 w 3194137"/>
                  <a:gd name="connsiteY2" fmla="*/ 284965 h 1008346"/>
                  <a:gd name="connsiteX3" fmla="*/ 1897693 w 3194137"/>
                  <a:gd name="connsiteY3" fmla="*/ 0 h 1008346"/>
                  <a:gd name="connsiteX4" fmla="*/ 25052 w 3194137"/>
                  <a:gd name="connsiteY4" fmla="*/ 316280 h 1008346"/>
                  <a:gd name="connsiteX5" fmla="*/ 0 w 3194137"/>
                  <a:gd name="connsiteY5" fmla="*/ 469726 h 1008346"/>
                  <a:gd name="connsiteX6" fmla="*/ 1052187 w 3194137"/>
                  <a:gd name="connsiteY6" fmla="*/ 1008346 h 1008346"/>
                  <a:gd name="connsiteX0" fmla="*/ 1052187 w 3207156"/>
                  <a:gd name="connsiteY0" fmla="*/ 1008346 h 1008346"/>
                  <a:gd name="connsiteX1" fmla="*/ 3194137 w 3207156"/>
                  <a:gd name="connsiteY1" fmla="*/ 425885 h 1008346"/>
                  <a:gd name="connsiteX2" fmla="*/ 3162822 w 3207156"/>
                  <a:gd name="connsiteY2" fmla="*/ 284965 h 1008346"/>
                  <a:gd name="connsiteX3" fmla="*/ 1897693 w 3207156"/>
                  <a:gd name="connsiteY3" fmla="*/ 0 h 1008346"/>
                  <a:gd name="connsiteX4" fmla="*/ 25052 w 3207156"/>
                  <a:gd name="connsiteY4" fmla="*/ 316280 h 1008346"/>
                  <a:gd name="connsiteX5" fmla="*/ 0 w 3207156"/>
                  <a:gd name="connsiteY5" fmla="*/ 469726 h 1008346"/>
                  <a:gd name="connsiteX6" fmla="*/ 1052187 w 3207156"/>
                  <a:gd name="connsiteY6" fmla="*/ 1008346 h 1008346"/>
                  <a:gd name="connsiteX0" fmla="*/ 1052187 w 3194137"/>
                  <a:gd name="connsiteY0" fmla="*/ 1008346 h 1008346"/>
                  <a:gd name="connsiteX1" fmla="*/ 3194137 w 3194137"/>
                  <a:gd name="connsiteY1" fmla="*/ 425885 h 1008346"/>
                  <a:gd name="connsiteX2" fmla="*/ 3162822 w 3194137"/>
                  <a:gd name="connsiteY2" fmla="*/ 284965 h 1008346"/>
                  <a:gd name="connsiteX3" fmla="*/ 1897693 w 3194137"/>
                  <a:gd name="connsiteY3" fmla="*/ 0 h 1008346"/>
                  <a:gd name="connsiteX4" fmla="*/ 25052 w 3194137"/>
                  <a:gd name="connsiteY4" fmla="*/ 316280 h 1008346"/>
                  <a:gd name="connsiteX5" fmla="*/ 0 w 3194137"/>
                  <a:gd name="connsiteY5" fmla="*/ 469726 h 1008346"/>
                  <a:gd name="connsiteX6" fmla="*/ 1052187 w 3194137"/>
                  <a:gd name="connsiteY6" fmla="*/ 1008346 h 1008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94137" h="1008346">
                    <a:moveTo>
                      <a:pt x="1052187" y="1008346"/>
                    </a:moveTo>
                    <a:lnTo>
                      <a:pt x="3194137" y="425885"/>
                    </a:lnTo>
                    <a:cubicBezTo>
                      <a:pt x="3189962" y="355947"/>
                      <a:pt x="3192049" y="342377"/>
                      <a:pt x="3162822" y="284965"/>
                    </a:cubicBezTo>
                    <a:lnTo>
                      <a:pt x="1897693" y="0"/>
                    </a:lnTo>
                    <a:cubicBezTo>
                      <a:pt x="1329847" y="138829"/>
                      <a:pt x="592898" y="177451"/>
                      <a:pt x="25052" y="316280"/>
                    </a:cubicBezTo>
                    <a:lnTo>
                      <a:pt x="0" y="469726"/>
                    </a:lnTo>
                    <a:lnTo>
                      <a:pt x="1052187" y="1008346"/>
                    </a:lnTo>
                    <a:close/>
                  </a:path>
                </a:pathLst>
              </a:cu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grpSp>
        <p:grpSp>
          <p:nvGrpSpPr>
            <p:cNvPr id="66" name="Gruppieren 65"/>
            <p:cNvGrpSpPr/>
            <p:nvPr/>
          </p:nvGrpSpPr>
          <p:grpSpPr>
            <a:xfrm>
              <a:off x="8822941" y="5280250"/>
              <a:ext cx="290338" cy="735718"/>
              <a:chOff x="8974260" y="3385711"/>
              <a:chExt cx="785293" cy="1974042"/>
            </a:xfrm>
          </p:grpSpPr>
          <p:grpSp>
            <p:nvGrpSpPr>
              <p:cNvPr id="67" name="Gruppieren 66"/>
              <p:cNvGrpSpPr/>
              <p:nvPr/>
            </p:nvGrpSpPr>
            <p:grpSpPr>
              <a:xfrm rot="8762874">
                <a:off x="8974260" y="3385711"/>
                <a:ext cx="240847" cy="1974042"/>
                <a:chOff x="8675657" y="2646996"/>
                <a:chExt cx="240847" cy="1974042"/>
              </a:xfrm>
              <a:solidFill>
                <a:schemeClr val="bg2"/>
              </a:solidFill>
            </p:grpSpPr>
            <p:sp>
              <p:nvSpPr>
                <p:cNvPr id="69" name="Rechteck 68"/>
                <p:cNvSpPr/>
                <p:nvPr/>
              </p:nvSpPr>
              <p:spPr>
                <a:xfrm>
                  <a:off x="8699341" y="2646996"/>
                  <a:ext cx="196656" cy="1551334"/>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600" dirty="0" smtClean="0">
                    <a:solidFill>
                      <a:schemeClr val="tx1"/>
                    </a:solidFill>
                  </a:endParaRPr>
                </a:p>
              </p:txBody>
            </p:sp>
            <p:sp>
              <p:nvSpPr>
                <p:cNvPr id="70" name="Gleichschenkliges Dreieck 69"/>
                <p:cNvSpPr/>
                <p:nvPr/>
              </p:nvSpPr>
              <p:spPr>
                <a:xfrm rot="10800000">
                  <a:off x="8675657" y="4240328"/>
                  <a:ext cx="240847" cy="380710"/>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600" dirty="0" smtClean="0">
                    <a:solidFill>
                      <a:schemeClr val="tx1"/>
                    </a:solidFill>
                  </a:endParaRPr>
                </a:p>
              </p:txBody>
            </p:sp>
          </p:grpSp>
          <p:sp>
            <p:nvSpPr>
              <p:cNvPr id="68" name="Ellipse 67"/>
              <p:cNvSpPr/>
              <p:nvPr/>
            </p:nvSpPr>
            <p:spPr>
              <a:xfrm rot="19738401">
                <a:off x="9537276" y="5144059"/>
                <a:ext cx="222277" cy="9877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600" dirty="0" smtClean="0">
                  <a:solidFill>
                    <a:schemeClr val="tx1"/>
                  </a:solidFill>
                </a:endParaRPr>
              </a:p>
            </p:txBody>
          </p:sp>
        </p:grpSp>
        <p:grpSp>
          <p:nvGrpSpPr>
            <p:cNvPr id="71" name="Gruppieren 70"/>
            <p:cNvGrpSpPr/>
            <p:nvPr/>
          </p:nvGrpSpPr>
          <p:grpSpPr>
            <a:xfrm>
              <a:off x="8072323" y="3240452"/>
              <a:ext cx="1159964" cy="733613"/>
              <a:chOff x="162838" y="3012510"/>
              <a:chExt cx="3663863" cy="2376816"/>
            </a:xfrm>
          </p:grpSpPr>
          <p:sp>
            <p:nvSpPr>
              <p:cNvPr id="72" name="Freihandform 71"/>
              <p:cNvSpPr/>
              <p:nvPr/>
            </p:nvSpPr>
            <p:spPr>
              <a:xfrm>
                <a:off x="162838" y="3012510"/>
                <a:ext cx="3613759" cy="2248422"/>
              </a:xfrm>
              <a:custGeom>
                <a:avLst/>
                <a:gdLst>
                  <a:gd name="connsiteX0" fmla="*/ 1471809 w 3613759"/>
                  <a:gd name="connsiteY0" fmla="*/ 2248422 h 2248422"/>
                  <a:gd name="connsiteX1" fmla="*/ 3613759 w 3613759"/>
                  <a:gd name="connsiteY1" fmla="*/ 1665961 h 2248422"/>
                  <a:gd name="connsiteX2" fmla="*/ 2317315 w 3613759"/>
                  <a:gd name="connsiteY2" fmla="*/ 1240076 h 2248422"/>
                  <a:gd name="connsiteX3" fmla="*/ 1885167 w 3613759"/>
                  <a:gd name="connsiteY3" fmla="*/ 0 h 2248422"/>
                  <a:gd name="connsiteX4" fmla="*/ 0 w 3613759"/>
                  <a:gd name="connsiteY4" fmla="*/ 300624 h 2248422"/>
                  <a:gd name="connsiteX5" fmla="*/ 419622 w 3613759"/>
                  <a:gd name="connsiteY5" fmla="*/ 1709802 h 2248422"/>
                  <a:gd name="connsiteX6" fmla="*/ 1471809 w 3613759"/>
                  <a:gd name="connsiteY6" fmla="*/ 2248422 h 2248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13759" h="2248422">
                    <a:moveTo>
                      <a:pt x="1471809" y="2248422"/>
                    </a:moveTo>
                    <a:lnTo>
                      <a:pt x="3613759" y="1665961"/>
                    </a:lnTo>
                    <a:lnTo>
                      <a:pt x="2317315" y="1240076"/>
                    </a:lnTo>
                    <a:lnTo>
                      <a:pt x="1885167" y="0"/>
                    </a:lnTo>
                    <a:lnTo>
                      <a:pt x="0" y="300624"/>
                    </a:lnTo>
                    <a:lnTo>
                      <a:pt x="419622" y="1709802"/>
                    </a:lnTo>
                    <a:lnTo>
                      <a:pt x="1471809" y="2248422"/>
                    </a:lnTo>
                    <a:close/>
                  </a:path>
                </a:pathLst>
              </a:cu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73" name="Freihandform 72"/>
              <p:cNvSpPr/>
              <p:nvPr/>
            </p:nvSpPr>
            <p:spPr>
              <a:xfrm>
                <a:off x="394570" y="3194137"/>
                <a:ext cx="1859945" cy="1265129"/>
              </a:xfrm>
              <a:custGeom>
                <a:avLst/>
                <a:gdLst>
                  <a:gd name="connsiteX0" fmla="*/ 1534438 w 1822537"/>
                  <a:gd name="connsiteY0" fmla="*/ 0 h 1265129"/>
                  <a:gd name="connsiteX1" fmla="*/ 0 w 1822537"/>
                  <a:gd name="connsiteY1" fmla="*/ 256784 h 1265129"/>
                  <a:gd name="connsiteX2" fmla="*/ 306888 w 1822537"/>
                  <a:gd name="connsiteY2" fmla="*/ 1265129 h 1265129"/>
                  <a:gd name="connsiteX3" fmla="*/ 1822537 w 1822537"/>
                  <a:gd name="connsiteY3" fmla="*/ 951978 h 1265129"/>
                  <a:gd name="connsiteX4" fmla="*/ 1534438 w 1822537"/>
                  <a:gd name="connsiteY4" fmla="*/ 0 h 1265129"/>
                  <a:gd name="connsiteX0" fmla="*/ 1534438 w 1843319"/>
                  <a:gd name="connsiteY0" fmla="*/ 0 h 1265129"/>
                  <a:gd name="connsiteX1" fmla="*/ 0 w 1843319"/>
                  <a:gd name="connsiteY1" fmla="*/ 256784 h 1265129"/>
                  <a:gd name="connsiteX2" fmla="*/ 306888 w 1843319"/>
                  <a:gd name="connsiteY2" fmla="*/ 1265129 h 1265129"/>
                  <a:gd name="connsiteX3" fmla="*/ 1843319 w 1843319"/>
                  <a:gd name="connsiteY3" fmla="*/ 947525 h 1265129"/>
                  <a:gd name="connsiteX4" fmla="*/ 1534438 w 1843319"/>
                  <a:gd name="connsiteY4" fmla="*/ 0 h 1265129"/>
                  <a:gd name="connsiteX0" fmla="*/ 1534438 w 1859945"/>
                  <a:gd name="connsiteY0" fmla="*/ 0 h 1265129"/>
                  <a:gd name="connsiteX1" fmla="*/ 0 w 1859945"/>
                  <a:gd name="connsiteY1" fmla="*/ 256784 h 1265129"/>
                  <a:gd name="connsiteX2" fmla="*/ 306888 w 1859945"/>
                  <a:gd name="connsiteY2" fmla="*/ 1265129 h 1265129"/>
                  <a:gd name="connsiteX3" fmla="*/ 1859945 w 1859945"/>
                  <a:gd name="connsiteY3" fmla="*/ 947525 h 1265129"/>
                  <a:gd name="connsiteX4" fmla="*/ 1534438 w 1859945"/>
                  <a:gd name="connsiteY4" fmla="*/ 0 h 12651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59945" h="1265129">
                    <a:moveTo>
                      <a:pt x="1534438" y="0"/>
                    </a:moveTo>
                    <a:lnTo>
                      <a:pt x="0" y="256784"/>
                    </a:lnTo>
                    <a:lnTo>
                      <a:pt x="306888" y="1265129"/>
                    </a:lnTo>
                    <a:lnTo>
                      <a:pt x="1859945" y="947525"/>
                    </a:lnTo>
                    <a:lnTo>
                      <a:pt x="1534438" y="0"/>
                    </a:lnTo>
                    <a:close/>
                  </a:path>
                </a:pathLst>
              </a:cu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74" name="Freihandform 73"/>
              <p:cNvSpPr/>
              <p:nvPr/>
            </p:nvSpPr>
            <p:spPr>
              <a:xfrm>
                <a:off x="563671" y="4380980"/>
                <a:ext cx="3263030" cy="1008346"/>
              </a:xfrm>
              <a:custGeom>
                <a:avLst/>
                <a:gdLst>
                  <a:gd name="connsiteX0" fmla="*/ 1471809 w 3613759"/>
                  <a:gd name="connsiteY0" fmla="*/ 2248422 h 2248422"/>
                  <a:gd name="connsiteX1" fmla="*/ 3613759 w 3613759"/>
                  <a:gd name="connsiteY1" fmla="*/ 1665961 h 2248422"/>
                  <a:gd name="connsiteX2" fmla="*/ 2317315 w 3613759"/>
                  <a:gd name="connsiteY2" fmla="*/ 1240076 h 2248422"/>
                  <a:gd name="connsiteX3" fmla="*/ 1885167 w 3613759"/>
                  <a:gd name="connsiteY3" fmla="*/ 0 h 2248422"/>
                  <a:gd name="connsiteX4" fmla="*/ 0 w 3613759"/>
                  <a:gd name="connsiteY4" fmla="*/ 300624 h 2248422"/>
                  <a:gd name="connsiteX5" fmla="*/ 419622 w 3613759"/>
                  <a:gd name="connsiteY5" fmla="*/ 1709802 h 2248422"/>
                  <a:gd name="connsiteX6" fmla="*/ 1471809 w 3613759"/>
                  <a:gd name="connsiteY6" fmla="*/ 2248422 h 2248422"/>
                  <a:gd name="connsiteX0" fmla="*/ 1471809 w 3613759"/>
                  <a:gd name="connsiteY0" fmla="*/ 1947798 h 1947798"/>
                  <a:gd name="connsiteX1" fmla="*/ 3613759 w 3613759"/>
                  <a:gd name="connsiteY1" fmla="*/ 1365337 h 1947798"/>
                  <a:gd name="connsiteX2" fmla="*/ 2317315 w 3613759"/>
                  <a:gd name="connsiteY2" fmla="*/ 939452 h 1947798"/>
                  <a:gd name="connsiteX3" fmla="*/ 0 w 3613759"/>
                  <a:gd name="connsiteY3" fmla="*/ 0 h 1947798"/>
                  <a:gd name="connsiteX4" fmla="*/ 419622 w 3613759"/>
                  <a:gd name="connsiteY4" fmla="*/ 1409178 h 1947798"/>
                  <a:gd name="connsiteX5" fmla="*/ 1471809 w 3613759"/>
                  <a:gd name="connsiteY5" fmla="*/ 1947798 h 1947798"/>
                  <a:gd name="connsiteX0" fmla="*/ 1052187 w 3194137"/>
                  <a:gd name="connsiteY0" fmla="*/ 1008346 h 1008346"/>
                  <a:gd name="connsiteX1" fmla="*/ 3194137 w 3194137"/>
                  <a:gd name="connsiteY1" fmla="*/ 425885 h 1008346"/>
                  <a:gd name="connsiteX2" fmla="*/ 1897693 w 3194137"/>
                  <a:gd name="connsiteY2" fmla="*/ 0 h 1008346"/>
                  <a:gd name="connsiteX3" fmla="*/ 0 w 3194137"/>
                  <a:gd name="connsiteY3" fmla="*/ 469726 h 1008346"/>
                  <a:gd name="connsiteX4" fmla="*/ 1052187 w 3194137"/>
                  <a:gd name="connsiteY4" fmla="*/ 1008346 h 1008346"/>
                  <a:gd name="connsiteX0" fmla="*/ 1052187 w 3194137"/>
                  <a:gd name="connsiteY0" fmla="*/ 1008346 h 1008346"/>
                  <a:gd name="connsiteX1" fmla="*/ 3194137 w 3194137"/>
                  <a:gd name="connsiteY1" fmla="*/ 425885 h 1008346"/>
                  <a:gd name="connsiteX2" fmla="*/ 1897693 w 3194137"/>
                  <a:gd name="connsiteY2" fmla="*/ 0 h 1008346"/>
                  <a:gd name="connsiteX3" fmla="*/ 25052 w 3194137"/>
                  <a:gd name="connsiteY3" fmla="*/ 316280 h 1008346"/>
                  <a:gd name="connsiteX4" fmla="*/ 0 w 3194137"/>
                  <a:gd name="connsiteY4" fmla="*/ 469726 h 1008346"/>
                  <a:gd name="connsiteX5" fmla="*/ 1052187 w 3194137"/>
                  <a:gd name="connsiteY5" fmla="*/ 1008346 h 1008346"/>
                  <a:gd name="connsiteX0" fmla="*/ 1052187 w 3194137"/>
                  <a:gd name="connsiteY0" fmla="*/ 1008346 h 1008346"/>
                  <a:gd name="connsiteX1" fmla="*/ 3194137 w 3194137"/>
                  <a:gd name="connsiteY1" fmla="*/ 425885 h 1008346"/>
                  <a:gd name="connsiteX2" fmla="*/ 3162822 w 3194137"/>
                  <a:gd name="connsiteY2" fmla="*/ 284965 h 1008346"/>
                  <a:gd name="connsiteX3" fmla="*/ 1897693 w 3194137"/>
                  <a:gd name="connsiteY3" fmla="*/ 0 h 1008346"/>
                  <a:gd name="connsiteX4" fmla="*/ 25052 w 3194137"/>
                  <a:gd name="connsiteY4" fmla="*/ 316280 h 1008346"/>
                  <a:gd name="connsiteX5" fmla="*/ 0 w 3194137"/>
                  <a:gd name="connsiteY5" fmla="*/ 469726 h 1008346"/>
                  <a:gd name="connsiteX6" fmla="*/ 1052187 w 3194137"/>
                  <a:gd name="connsiteY6" fmla="*/ 1008346 h 1008346"/>
                  <a:gd name="connsiteX0" fmla="*/ 1052187 w 3207156"/>
                  <a:gd name="connsiteY0" fmla="*/ 1008346 h 1008346"/>
                  <a:gd name="connsiteX1" fmla="*/ 3194137 w 3207156"/>
                  <a:gd name="connsiteY1" fmla="*/ 425885 h 1008346"/>
                  <a:gd name="connsiteX2" fmla="*/ 3162822 w 3207156"/>
                  <a:gd name="connsiteY2" fmla="*/ 284965 h 1008346"/>
                  <a:gd name="connsiteX3" fmla="*/ 1897693 w 3207156"/>
                  <a:gd name="connsiteY3" fmla="*/ 0 h 1008346"/>
                  <a:gd name="connsiteX4" fmla="*/ 25052 w 3207156"/>
                  <a:gd name="connsiteY4" fmla="*/ 316280 h 1008346"/>
                  <a:gd name="connsiteX5" fmla="*/ 0 w 3207156"/>
                  <a:gd name="connsiteY5" fmla="*/ 469726 h 1008346"/>
                  <a:gd name="connsiteX6" fmla="*/ 1052187 w 3207156"/>
                  <a:gd name="connsiteY6" fmla="*/ 1008346 h 1008346"/>
                  <a:gd name="connsiteX0" fmla="*/ 1052187 w 3194137"/>
                  <a:gd name="connsiteY0" fmla="*/ 1008346 h 1008346"/>
                  <a:gd name="connsiteX1" fmla="*/ 3194137 w 3194137"/>
                  <a:gd name="connsiteY1" fmla="*/ 425885 h 1008346"/>
                  <a:gd name="connsiteX2" fmla="*/ 3162822 w 3194137"/>
                  <a:gd name="connsiteY2" fmla="*/ 284965 h 1008346"/>
                  <a:gd name="connsiteX3" fmla="*/ 1897693 w 3194137"/>
                  <a:gd name="connsiteY3" fmla="*/ 0 h 1008346"/>
                  <a:gd name="connsiteX4" fmla="*/ 25052 w 3194137"/>
                  <a:gd name="connsiteY4" fmla="*/ 316280 h 1008346"/>
                  <a:gd name="connsiteX5" fmla="*/ 0 w 3194137"/>
                  <a:gd name="connsiteY5" fmla="*/ 469726 h 1008346"/>
                  <a:gd name="connsiteX6" fmla="*/ 1052187 w 3194137"/>
                  <a:gd name="connsiteY6" fmla="*/ 1008346 h 1008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94137" h="1008346">
                    <a:moveTo>
                      <a:pt x="1052187" y="1008346"/>
                    </a:moveTo>
                    <a:lnTo>
                      <a:pt x="3194137" y="425885"/>
                    </a:lnTo>
                    <a:cubicBezTo>
                      <a:pt x="3189962" y="355947"/>
                      <a:pt x="3192049" y="342377"/>
                      <a:pt x="3162822" y="284965"/>
                    </a:cubicBezTo>
                    <a:lnTo>
                      <a:pt x="1897693" y="0"/>
                    </a:lnTo>
                    <a:cubicBezTo>
                      <a:pt x="1329847" y="138829"/>
                      <a:pt x="592898" y="177451"/>
                      <a:pt x="25052" y="316280"/>
                    </a:cubicBezTo>
                    <a:lnTo>
                      <a:pt x="0" y="469726"/>
                    </a:lnTo>
                    <a:lnTo>
                      <a:pt x="1052187" y="1008346"/>
                    </a:lnTo>
                    <a:close/>
                  </a:path>
                </a:pathLst>
              </a:cu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grpSp>
      </p:grpSp>
      <p:sp>
        <p:nvSpPr>
          <p:cNvPr id="3" name="Foliennummernplatzhalter 2"/>
          <p:cNvSpPr>
            <a:spLocks noGrp="1"/>
          </p:cNvSpPr>
          <p:nvPr>
            <p:ph type="sldNum" sz="quarter" idx="12"/>
          </p:nvPr>
        </p:nvSpPr>
        <p:spPr/>
        <p:txBody>
          <a:bodyPr/>
          <a:lstStyle/>
          <a:p>
            <a:fld id="{4AD1E780-DE1C-4ECA-B5E5-863D0BC53287}" type="slidenum">
              <a:rPr lang="de-DE" smtClean="0"/>
              <a:pPr/>
              <a:t>37</a:t>
            </a:fld>
            <a:endParaRPr lang="de-DE" dirty="0"/>
          </a:p>
        </p:txBody>
      </p:sp>
      <p:sp>
        <p:nvSpPr>
          <p:cNvPr id="5" name="Textplatzhalter 2"/>
          <p:cNvSpPr txBox="1">
            <a:spLocks/>
          </p:cNvSpPr>
          <p:nvPr/>
        </p:nvSpPr>
        <p:spPr>
          <a:xfrm>
            <a:off x="302341" y="426280"/>
            <a:ext cx="8929946" cy="697671"/>
          </a:xfrm>
          <a:prstGeom prst="rect">
            <a:avLst/>
          </a:prstGeom>
        </p:spPr>
        <p:txBody>
          <a:bodyPr anchor="t" anchorCtr="0"/>
          <a:lstStyle>
            <a:lvl1pPr marL="0" indent="0" algn="l" defTabSz="914400" rtl="0" eaLnBrk="1" latinLnBrk="0" hangingPunct="1">
              <a:spcBef>
                <a:spcPts val="200"/>
              </a:spcBef>
              <a:buClr>
                <a:schemeClr val="tx2"/>
              </a:buClr>
              <a:buFont typeface="Wingdings" pitchFamily="2" charset="2"/>
              <a:buNone/>
              <a:defRPr sz="1600" kern="1200">
                <a:solidFill>
                  <a:schemeClr val="tx2"/>
                </a:solidFill>
                <a:latin typeface="+mn-lt"/>
                <a:ea typeface="+mn-ea"/>
                <a:cs typeface="+mn-cs"/>
              </a:defRPr>
            </a:lvl1pPr>
            <a:lvl2pPr marL="180975" indent="-180975" algn="l" defTabSz="914400" rtl="0" eaLnBrk="1" latinLnBrk="0" hangingPunct="1">
              <a:spcBef>
                <a:spcPts val="200"/>
              </a:spcBef>
              <a:buClr>
                <a:schemeClr val="tx2"/>
              </a:buClr>
              <a:buFont typeface="Wingdings" pitchFamily="2" charset="2"/>
              <a:buChar char="§"/>
              <a:defRPr sz="1600" kern="1200">
                <a:solidFill>
                  <a:schemeClr val="tx2"/>
                </a:solidFill>
                <a:latin typeface="+mn-lt"/>
                <a:ea typeface="+mn-ea"/>
                <a:cs typeface="+mn-cs"/>
              </a:defRPr>
            </a:lvl2pPr>
            <a:lvl3pPr marL="355600" indent="-174625"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3pPr>
            <a:lvl4pPr marL="538163" indent="-182563"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4pPr>
            <a:lvl5pPr marL="719138" indent="-180975" algn="l" defTabSz="914400" rtl="0" eaLnBrk="1" latinLnBrk="0" hangingPunct="1">
              <a:spcBef>
                <a:spcPts val="200"/>
              </a:spcBef>
              <a:buClr>
                <a:schemeClr val="tx2"/>
              </a:buClr>
              <a:buFont typeface="Symbol" pitchFamily="18" charset="2"/>
              <a:buChar char="-"/>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de-DE" sz="3600" dirty="0"/>
          </a:p>
        </p:txBody>
      </p:sp>
      <p:pic>
        <p:nvPicPr>
          <p:cNvPr id="21" name="Grafik 2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rot="21072779">
            <a:off x="3788305" y="5314685"/>
            <a:ext cx="1884116" cy="855480"/>
          </a:xfrm>
          <a:prstGeom prst="rect">
            <a:avLst/>
          </a:prstGeom>
          <a:effectLst>
            <a:outerShdw blurRad="50800" dist="38100" dir="2700000" algn="tl" rotWithShape="0">
              <a:prstClr val="black">
                <a:alpha val="40000"/>
              </a:prstClr>
            </a:outerShdw>
          </a:effectLst>
        </p:spPr>
      </p:pic>
      <p:pic>
        <p:nvPicPr>
          <p:cNvPr id="22" name="Grafik 2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rot="21072779">
            <a:off x="3788305" y="5157030"/>
            <a:ext cx="1884116" cy="855480"/>
          </a:xfrm>
          <a:prstGeom prst="rect">
            <a:avLst/>
          </a:prstGeom>
          <a:effectLst>
            <a:outerShdw blurRad="50800" dist="38100" dir="2700000" algn="tl" rotWithShape="0">
              <a:prstClr val="black">
                <a:alpha val="40000"/>
              </a:prstClr>
            </a:outerShdw>
          </a:effectLst>
        </p:spPr>
      </p:pic>
      <p:pic>
        <p:nvPicPr>
          <p:cNvPr id="23" name="Grafik 2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rot="21072779">
            <a:off x="3788305" y="4982135"/>
            <a:ext cx="1884116" cy="855480"/>
          </a:xfrm>
          <a:prstGeom prst="rect">
            <a:avLst/>
          </a:prstGeom>
          <a:effectLst>
            <a:outerShdw blurRad="50800" dist="38100" dir="2700000" algn="tl" rotWithShape="0">
              <a:prstClr val="black">
                <a:alpha val="40000"/>
              </a:prstClr>
            </a:outerShdw>
          </a:effectLst>
        </p:spPr>
      </p:pic>
      <p:pic>
        <p:nvPicPr>
          <p:cNvPr id="24" name="Grafik 2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rot="21072779">
            <a:off x="3794647" y="4819109"/>
            <a:ext cx="1884116" cy="855480"/>
          </a:xfrm>
          <a:prstGeom prst="rect">
            <a:avLst/>
          </a:prstGeom>
          <a:effectLst>
            <a:outerShdw blurRad="50800" dist="38100" dir="2700000" algn="tl" rotWithShape="0">
              <a:prstClr val="black">
                <a:alpha val="40000"/>
              </a:prstClr>
            </a:outerShdw>
          </a:effectLst>
        </p:spPr>
      </p:pic>
      <p:pic>
        <p:nvPicPr>
          <p:cNvPr id="25" name="Grafik 2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rot="21072779">
            <a:off x="3794647" y="4636831"/>
            <a:ext cx="1884116" cy="855480"/>
          </a:xfrm>
          <a:prstGeom prst="rect">
            <a:avLst/>
          </a:prstGeom>
          <a:effectLst>
            <a:outerShdw blurRad="50800" dist="38100" dir="2700000" algn="tl" rotWithShape="0">
              <a:prstClr val="black">
                <a:alpha val="40000"/>
              </a:prstClr>
            </a:outerShdw>
          </a:effectLst>
        </p:spPr>
      </p:pic>
      <p:pic>
        <p:nvPicPr>
          <p:cNvPr id="26" name="Grafik 2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158995" y="5674826"/>
            <a:ext cx="1884116" cy="855480"/>
          </a:xfrm>
          <a:prstGeom prst="rect">
            <a:avLst/>
          </a:prstGeom>
          <a:effectLst>
            <a:outerShdw blurRad="50800" dist="38100" dir="2700000" algn="tl" rotWithShape="0">
              <a:prstClr val="black">
                <a:alpha val="40000"/>
              </a:prstClr>
            </a:outerShdw>
          </a:effectLst>
        </p:spPr>
      </p:pic>
      <p:pic>
        <p:nvPicPr>
          <p:cNvPr id="27" name="Grafik 2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158995" y="5517171"/>
            <a:ext cx="1884116" cy="855480"/>
          </a:xfrm>
          <a:prstGeom prst="rect">
            <a:avLst/>
          </a:prstGeom>
          <a:effectLst>
            <a:outerShdw blurRad="50800" dist="38100" dir="2700000" algn="tl" rotWithShape="0">
              <a:prstClr val="black">
                <a:alpha val="40000"/>
              </a:prstClr>
            </a:outerShdw>
          </a:effectLst>
        </p:spPr>
      </p:pic>
      <p:pic>
        <p:nvPicPr>
          <p:cNvPr id="28" name="Grafik 2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158995" y="5342276"/>
            <a:ext cx="1884116" cy="855480"/>
          </a:xfrm>
          <a:prstGeom prst="rect">
            <a:avLst/>
          </a:prstGeom>
          <a:effectLst>
            <a:outerShdw blurRad="50800" dist="38100" dir="2700000" algn="tl" rotWithShape="0">
              <a:prstClr val="black">
                <a:alpha val="40000"/>
              </a:prstClr>
            </a:outerShdw>
          </a:effectLst>
        </p:spPr>
      </p:pic>
      <p:pic>
        <p:nvPicPr>
          <p:cNvPr id="29" name="Grafik 2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165337" y="5179250"/>
            <a:ext cx="1884116" cy="855480"/>
          </a:xfrm>
          <a:prstGeom prst="rect">
            <a:avLst/>
          </a:prstGeom>
          <a:effectLst>
            <a:outerShdw blurRad="50800" dist="38100" dir="2700000" algn="tl" rotWithShape="0">
              <a:prstClr val="black">
                <a:alpha val="40000"/>
              </a:prstClr>
            </a:outerShdw>
          </a:effectLst>
        </p:spPr>
      </p:pic>
      <p:pic>
        <p:nvPicPr>
          <p:cNvPr id="30" name="Grafik 2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165337" y="4996972"/>
            <a:ext cx="1884116" cy="855480"/>
          </a:xfrm>
          <a:prstGeom prst="rect">
            <a:avLst/>
          </a:prstGeom>
          <a:effectLst>
            <a:outerShdw blurRad="50800" dist="38100" dir="2700000" algn="tl" rotWithShape="0">
              <a:prstClr val="black">
                <a:alpha val="40000"/>
              </a:prstClr>
            </a:outerShdw>
          </a:effectLst>
        </p:spPr>
      </p:pic>
      <p:pic>
        <p:nvPicPr>
          <p:cNvPr id="31" name="Grafik 3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rot="21072779">
            <a:off x="3788305" y="4483103"/>
            <a:ext cx="1884116" cy="855480"/>
          </a:xfrm>
          <a:prstGeom prst="rect">
            <a:avLst/>
          </a:prstGeom>
          <a:effectLst>
            <a:outerShdw blurRad="50800" dist="38100" dir="2700000" algn="tl" rotWithShape="0">
              <a:prstClr val="black">
                <a:alpha val="40000"/>
              </a:prstClr>
            </a:outerShdw>
          </a:effectLst>
        </p:spPr>
      </p:pic>
      <p:pic>
        <p:nvPicPr>
          <p:cNvPr id="32" name="Grafik 3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rot="21072779">
            <a:off x="3788305" y="4325448"/>
            <a:ext cx="1884116" cy="855480"/>
          </a:xfrm>
          <a:prstGeom prst="rect">
            <a:avLst/>
          </a:prstGeom>
          <a:effectLst>
            <a:outerShdw blurRad="50800" dist="38100" dir="2700000" algn="tl" rotWithShape="0">
              <a:prstClr val="black">
                <a:alpha val="40000"/>
              </a:prstClr>
            </a:outerShdw>
          </a:effectLst>
        </p:spPr>
      </p:pic>
      <p:pic>
        <p:nvPicPr>
          <p:cNvPr id="33" name="Grafik 3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rot="21072779">
            <a:off x="3788305" y="4150553"/>
            <a:ext cx="1884116" cy="855480"/>
          </a:xfrm>
          <a:prstGeom prst="rect">
            <a:avLst/>
          </a:prstGeom>
          <a:effectLst>
            <a:outerShdw blurRad="50800" dist="38100" dir="2700000" algn="tl" rotWithShape="0">
              <a:prstClr val="black">
                <a:alpha val="40000"/>
              </a:prstClr>
            </a:outerShdw>
          </a:effectLst>
        </p:spPr>
      </p:pic>
      <p:pic>
        <p:nvPicPr>
          <p:cNvPr id="34" name="Grafik 3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rot="21072779">
            <a:off x="3794647" y="3987527"/>
            <a:ext cx="1884116" cy="855480"/>
          </a:xfrm>
          <a:prstGeom prst="rect">
            <a:avLst/>
          </a:prstGeom>
          <a:effectLst>
            <a:outerShdw blurRad="50800" dist="38100" dir="2700000" algn="tl" rotWithShape="0">
              <a:prstClr val="black">
                <a:alpha val="40000"/>
              </a:prstClr>
            </a:outerShdw>
          </a:effectLst>
        </p:spPr>
      </p:pic>
      <p:pic>
        <p:nvPicPr>
          <p:cNvPr id="35" name="Grafik 3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rot="21072779">
            <a:off x="3794647" y="3805249"/>
            <a:ext cx="1884116" cy="855480"/>
          </a:xfrm>
          <a:prstGeom prst="rect">
            <a:avLst/>
          </a:prstGeom>
          <a:effectLst>
            <a:outerShdw blurRad="50800" dist="38100" dir="2700000" algn="tl" rotWithShape="0">
              <a:prstClr val="black">
                <a:alpha val="40000"/>
              </a:prstClr>
            </a:outerShdw>
          </a:effectLst>
        </p:spPr>
      </p:pic>
      <p:pic>
        <p:nvPicPr>
          <p:cNvPr id="36" name="Grafik 3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158995" y="4843244"/>
            <a:ext cx="1884116" cy="855480"/>
          </a:xfrm>
          <a:prstGeom prst="rect">
            <a:avLst/>
          </a:prstGeom>
          <a:effectLst>
            <a:outerShdw blurRad="50800" dist="38100" dir="2700000" algn="tl" rotWithShape="0">
              <a:prstClr val="black">
                <a:alpha val="40000"/>
              </a:prstClr>
            </a:outerShdw>
          </a:effectLst>
        </p:spPr>
      </p:pic>
      <p:pic>
        <p:nvPicPr>
          <p:cNvPr id="37" name="Grafik 3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158995" y="4685589"/>
            <a:ext cx="1884116" cy="855480"/>
          </a:xfrm>
          <a:prstGeom prst="rect">
            <a:avLst/>
          </a:prstGeom>
          <a:effectLst>
            <a:outerShdw blurRad="50800" dist="38100" dir="2700000" algn="tl" rotWithShape="0">
              <a:prstClr val="black">
                <a:alpha val="40000"/>
              </a:prstClr>
            </a:outerShdw>
          </a:effectLst>
        </p:spPr>
      </p:pic>
      <p:pic>
        <p:nvPicPr>
          <p:cNvPr id="38" name="Grafik 3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158995" y="4510694"/>
            <a:ext cx="1884116" cy="855480"/>
          </a:xfrm>
          <a:prstGeom prst="rect">
            <a:avLst/>
          </a:prstGeom>
          <a:effectLst>
            <a:outerShdw blurRad="50800" dist="38100" dir="2700000" algn="tl" rotWithShape="0">
              <a:prstClr val="black">
                <a:alpha val="40000"/>
              </a:prstClr>
            </a:outerShdw>
          </a:effectLst>
        </p:spPr>
      </p:pic>
      <p:pic>
        <p:nvPicPr>
          <p:cNvPr id="39" name="Grafik 3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165337" y="4347668"/>
            <a:ext cx="1884116" cy="855480"/>
          </a:xfrm>
          <a:prstGeom prst="rect">
            <a:avLst/>
          </a:prstGeom>
          <a:effectLst>
            <a:outerShdw blurRad="50800" dist="38100" dir="2700000" algn="tl" rotWithShape="0">
              <a:prstClr val="black">
                <a:alpha val="40000"/>
              </a:prstClr>
            </a:outerShdw>
          </a:effectLst>
        </p:spPr>
      </p:pic>
      <p:pic>
        <p:nvPicPr>
          <p:cNvPr id="40" name="Grafik 3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165337" y="4165390"/>
            <a:ext cx="1884116" cy="855480"/>
          </a:xfrm>
          <a:prstGeom prst="rect">
            <a:avLst/>
          </a:prstGeom>
          <a:effectLst>
            <a:outerShdw blurRad="50800" dist="38100" dir="2700000" algn="tl" rotWithShape="0">
              <a:prstClr val="black">
                <a:alpha val="40000"/>
              </a:prstClr>
            </a:outerShdw>
          </a:effectLst>
        </p:spPr>
      </p:pic>
      <p:sp>
        <p:nvSpPr>
          <p:cNvPr id="76" name="Inhaltsplatzhalter 2"/>
          <p:cNvSpPr txBox="1">
            <a:spLocks/>
          </p:cNvSpPr>
          <p:nvPr/>
        </p:nvSpPr>
        <p:spPr>
          <a:xfrm>
            <a:off x="338123" y="1108415"/>
            <a:ext cx="9356878" cy="450492"/>
          </a:xfrm>
          <a:prstGeom prst="rect">
            <a:avLst/>
          </a:prstGeom>
        </p:spPr>
        <p:txBody>
          <a:bodyPr vert="horz" lIns="0" tIns="0" rIns="0" bIns="0" rtlCol="0">
            <a:noAutofit/>
          </a:bodyPr>
          <a:lstStyle>
            <a:lvl1pPr marL="0" indent="0" algn="ctr" defTabSz="1280160" rtl="0" eaLnBrk="1" latinLnBrk="0" hangingPunct="1">
              <a:spcBef>
                <a:spcPct val="20000"/>
              </a:spcBef>
              <a:buFont typeface="Arial" panose="020B0604020202020204" pitchFamily="34" charset="0"/>
              <a:buNone/>
              <a:defRPr sz="4500" kern="1200">
                <a:solidFill>
                  <a:schemeClr val="tx1">
                    <a:tint val="75000"/>
                  </a:schemeClr>
                </a:solidFill>
                <a:latin typeface="+mn-lt"/>
                <a:ea typeface="+mn-ea"/>
                <a:cs typeface="+mn-cs"/>
              </a:defRPr>
            </a:lvl1pPr>
            <a:lvl2pPr marL="640080" indent="0" algn="ctr" defTabSz="1280160" rtl="0" eaLnBrk="1" latinLnBrk="0" hangingPunct="1">
              <a:spcBef>
                <a:spcPct val="20000"/>
              </a:spcBef>
              <a:buFont typeface="Arial" panose="020B0604020202020204" pitchFamily="34" charset="0"/>
              <a:buNone/>
              <a:defRPr sz="3900" kern="1200">
                <a:solidFill>
                  <a:schemeClr val="tx1">
                    <a:tint val="75000"/>
                  </a:schemeClr>
                </a:solidFill>
                <a:latin typeface="+mn-lt"/>
                <a:ea typeface="+mn-ea"/>
                <a:cs typeface="+mn-cs"/>
              </a:defRPr>
            </a:lvl2pPr>
            <a:lvl3pPr marL="1280160" indent="0" algn="ctr" defTabSz="1280160" rtl="0" eaLnBrk="1" latinLnBrk="0" hangingPunct="1">
              <a:spcBef>
                <a:spcPct val="20000"/>
              </a:spcBef>
              <a:buFont typeface="Arial" panose="020B0604020202020204" pitchFamily="34" charset="0"/>
              <a:buNone/>
              <a:defRPr sz="3400" kern="1200">
                <a:solidFill>
                  <a:schemeClr val="tx1">
                    <a:tint val="75000"/>
                  </a:schemeClr>
                </a:solidFill>
                <a:latin typeface="+mn-lt"/>
                <a:ea typeface="+mn-ea"/>
                <a:cs typeface="+mn-cs"/>
              </a:defRPr>
            </a:lvl3pPr>
            <a:lvl4pPr marL="192024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4pPr>
            <a:lvl5pPr marL="256032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5pPr>
            <a:lvl6pPr marL="320040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6pPr>
            <a:lvl7pPr marL="384048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7pPr>
            <a:lvl8pPr marL="448056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8pPr>
            <a:lvl9pPr marL="512064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9pPr>
          </a:lstStyle>
          <a:p>
            <a:pPr algn="l"/>
            <a:r>
              <a:rPr lang="en-US" sz="3100" kern="1000" dirty="0" smtClean="0">
                <a:solidFill>
                  <a:schemeClr val="accent2"/>
                </a:solidFill>
                <a:latin typeface="Arial" panose="020B0604020202020204" pitchFamily="34" charset="0"/>
                <a:cs typeface="Arial" panose="020B0604020202020204" pitchFamily="34" charset="0"/>
              </a:rPr>
              <a:t>We can </a:t>
            </a:r>
            <a:r>
              <a:rPr lang="en-US" sz="3100" kern="1000" dirty="0" smtClean="0">
                <a:solidFill>
                  <a:schemeClr val="accent2"/>
                </a:solidFill>
                <a:latin typeface="Arial" panose="020B0604020202020204" pitchFamily="34" charset="0"/>
                <a:cs typeface="Arial" panose="020B0604020202020204" pitchFamily="34" charset="0"/>
              </a:rPr>
              <a:t>break the subscription system so our</a:t>
            </a:r>
            <a:r>
              <a:rPr lang="en-US" sz="3100" kern="1000" dirty="0" smtClean="0">
                <a:solidFill>
                  <a:schemeClr val="accent2"/>
                </a:solidFill>
                <a:latin typeface="Arial" panose="020B0604020202020204" pitchFamily="34" charset="0"/>
                <a:cs typeface="Arial" panose="020B0604020202020204" pitchFamily="34" charset="0"/>
              </a:rPr>
              <a:t> </a:t>
            </a:r>
            <a:r>
              <a:rPr lang="en-US" sz="3100" kern="1000" dirty="0" smtClean="0">
                <a:solidFill>
                  <a:schemeClr val="accent2"/>
                </a:solidFill>
                <a:latin typeface="Arial" panose="020B0604020202020204" pitchFamily="34" charset="0"/>
                <a:cs typeface="Arial" panose="020B0604020202020204" pitchFamily="34" charset="0"/>
              </a:rPr>
              <a:t>money can follow scholars, not publishers.</a:t>
            </a:r>
          </a:p>
        </p:txBody>
      </p:sp>
      <p:sp>
        <p:nvSpPr>
          <p:cNvPr id="77" name="Textplatzhalter 2"/>
          <p:cNvSpPr txBox="1">
            <a:spLocks/>
          </p:cNvSpPr>
          <p:nvPr/>
        </p:nvSpPr>
        <p:spPr>
          <a:xfrm>
            <a:off x="259425" y="401120"/>
            <a:ext cx="8929946" cy="697671"/>
          </a:xfrm>
          <a:prstGeom prst="rect">
            <a:avLst/>
          </a:prstGeom>
        </p:spPr>
        <p:txBody>
          <a:bodyPr anchor="t" anchorCtr="0"/>
          <a:lstStyle>
            <a:lvl1pPr marL="0" indent="0" algn="l" defTabSz="914400" rtl="0" eaLnBrk="1" latinLnBrk="0" hangingPunct="1">
              <a:spcBef>
                <a:spcPts val="200"/>
              </a:spcBef>
              <a:buClr>
                <a:schemeClr val="tx2"/>
              </a:buClr>
              <a:buFont typeface="Wingdings" pitchFamily="2" charset="2"/>
              <a:buNone/>
              <a:defRPr sz="1600" kern="1200">
                <a:solidFill>
                  <a:schemeClr val="tx2"/>
                </a:solidFill>
                <a:latin typeface="+mn-lt"/>
                <a:ea typeface="+mn-ea"/>
                <a:cs typeface="+mn-cs"/>
              </a:defRPr>
            </a:lvl1pPr>
            <a:lvl2pPr marL="180975" indent="-180975" algn="l" defTabSz="914400" rtl="0" eaLnBrk="1" latinLnBrk="0" hangingPunct="1">
              <a:spcBef>
                <a:spcPts val="200"/>
              </a:spcBef>
              <a:buClr>
                <a:schemeClr val="tx2"/>
              </a:buClr>
              <a:buFont typeface="Wingdings" pitchFamily="2" charset="2"/>
              <a:buChar char="§"/>
              <a:defRPr sz="1600" kern="1200">
                <a:solidFill>
                  <a:schemeClr val="tx2"/>
                </a:solidFill>
                <a:latin typeface="+mn-lt"/>
                <a:ea typeface="+mn-ea"/>
                <a:cs typeface="+mn-cs"/>
              </a:defRPr>
            </a:lvl2pPr>
            <a:lvl3pPr marL="355600" indent="-174625"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3pPr>
            <a:lvl4pPr marL="538163" indent="-182563"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4pPr>
            <a:lvl5pPr marL="719138" indent="-180975" algn="l" defTabSz="914400" rtl="0" eaLnBrk="1" latinLnBrk="0" hangingPunct="1">
              <a:spcBef>
                <a:spcPts val="200"/>
              </a:spcBef>
              <a:buClr>
                <a:schemeClr val="tx2"/>
              </a:buClr>
              <a:buFont typeface="Symbol" pitchFamily="18" charset="2"/>
              <a:buChar char="-"/>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GB" sz="3600" b="1" dirty="0" smtClean="0">
                <a:solidFill>
                  <a:schemeClr val="accent6"/>
                </a:solidFill>
              </a:rPr>
              <a:t>Aligning our strategies</a:t>
            </a:r>
            <a:endParaRPr lang="de-DE" sz="3600" dirty="0"/>
          </a:p>
        </p:txBody>
      </p:sp>
    </p:spTree>
    <p:extLst>
      <p:ext uri="{BB962C8B-B14F-4D97-AF65-F5344CB8AC3E}">
        <p14:creationId xmlns:p14="http://schemas.microsoft.com/office/powerpoint/2010/main" val="26810488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0" presetClass="path" presetSubtype="0" accel="50000" decel="50000" fill="hold" nodeType="afterEffect">
                                  <p:stCondLst>
                                    <p:cond delay="2000"/>
                                  </p:stCondLst>
                                  <p:childTnLst>
                                    <p:animMotion origin="layout" path="M 6.07755E-6 -9.25497E-8 C 0.01683 -0.00139 0.03141 -0.00648 0.04759 -0.01204 C 0.07003 -0.01967 0.09262 -0.02731 0.11457 -0.03772 C 0.13172 -0.04582 0.14822 -0.05646 0.16536 -0.06456 C 0.16745 -0.06548 0.16969 -0.06641 0.17177 -0.0671 C 0.17386 -0.0678 0.1761 -0.06803 0.17818 -0.06895 C 0.18972 -0.07428 0.20174 -0.0789 0.21311 -0.08469 C 0.22289 -0.08978 0.23346 -0.09602 0.24372 -0.09834 C 0.2567 -0.10459 0.26967 -0.11106 0.28249 -0.11777 C 0.299 -0.12633 0.31326 -0.13837 0.33088 -0.14346 C 0.33377 -0.14554 0.33681 -0.14623 0.33986 -0.14808 C 0.34146 -0.14901 0.34498 -0.15086 0.34498 -0.15086 " pathEditMode="relative" ptsTypes="fffffffffffA">
                                      <p:cBhvr>
                                        <p:cTn id="10" dur="2000" fill="hold"/>
                                        <p:tgtEl>
                                          <p:spTgt spid="40"/>
                                        </p:tgtEl>
                                        <p:attrNameLst>
                                          <p:attrName>ppt_x</p:attrName>
                                          <p:attrName>ppt_y</p:attrName>
                                        </p:attrNameLst>
                                      </p:cBhvr>
                                    </p:animMotion>
                                  </p:childTnLst>
                                </p:cTn>
                              </p:par>
                              <p:par>
                                <p:cTn id="11" presetID="0" presetClass="path" presetSubtype="0" accel="50000" decel="50000" fill="hold" nodeType="withEffect">
                                  <p:stCondLst>
                                    <p:cond delay="2000"/>
                                  </p:stCondLst>
                                  <p:childTnLst>
                                    <p:animMotion origin="layout" path="M 1.84586E-6 5.49745E-6 C -0.02388 -0.00878 -0.04583 -0.02359 -0.07067 -0.02683 C -0.09646 -0.03562 -0.12178 -0.04372 -0.14822 -0.04789 C -0.15334 -0.04881 -0.15847 -0.04904 -0.1636 -0.04974 C -0.16889 -0.05043 -0.17946 -0.05159 -0.17946 -0.05159 C -0.18523 -0.05298 -0.18699 -0.05784 -0.19212 -0.06084 C -0.19468 -0.06802 -0.20302 -0.07287 -0.20302 -0.0819 " pathEditMode="relative" ptsTypes="ffffffA">
                                      <p:cBhvr>
                                        <p:cTn id="12" dur="2000" fill="hold"/>
                                        <p:tgtEl>
                                          <p:spTgt spid="35"/>
                                        </p:tgtEl>
                                        <p:attrNameLst>
                                          <p:attrName>ppt_x</p:attrName>
                                          <p:attrName>ppt_y</p:attrName>
                                        </p:attrNameLst>
                                      </p:cBhvr>
                                    </p:animMotion>
                                  </p:childTnLst>
                                </p:cTn>
                              </p:par>
                              <p:par>
                                <p:cTn id="13" presetID="0" presetClass="path" presetSubtype="0" accel="50000" decel="50000" fill="hold" nodeType="withEffect">
                                  <p:stCondLst>
                                    <p:cond delay="2000"/>
                                  </p:stCondLst>
                                  <p:childTnLst>
                                    <p:animMotion origin="layout" path="M 4.38391E-6 6.39981E-6 C 0.01202 0.00348 0.01426 0.00533 0.02419 0.01551 C 0.03028 0.02199 0.03861 0.02453 0.04454 0.03124 C 0.05079 0.03818 0.0431 0.03171 0.05031 0.03865 C 0.0548 0.04304 0.05351 0.03772 0.05976 0.04675 C 0.06281 0.05114 0.06121 0.04998 0.06425 0.05137 C 0.06906 0.05831 0.07402 0.06387 0.07883 0.07081 C 0.08252 0.07613 0.0854 0.08284 0.08909 0.08816 C 0.09165 0.09186 0.0955 0.09464 0.09806 0.09834 C 0.10367 0.10667 0.10799 0.1106 0.1152 0.11569 C 0.11857 0.11801 0.11681 0.1194 0.12209 0.12125 C 0.13539 0.12611 0.15158 0.12402 0.16488 0.12402 " pathEditMode="relative" ptsTypes="fffffffffffA">
                                      <p:cBhvr>
                                        <p:cTn id="14" dur="2000" fill="hold"/>
                                        <p:tgtEl>
                                          <p:spTgt spid="39"/>
                                        </p:tgtEl>
                                        <p:attrNameLst>
                                          <p:attrName>ppt_x</p:attrName>
                                          <p:attrName>ppt_y</p:attrName>
                                        </p:attrNameLst>
                                      </p:cBhvr>
                                    </p:animMotion>
                                  </p:childTnLst>
                                </p:cTn>
                              </p:par>
                              <p:par>
                                <p:cTn id="15" presetID="0" presetClass="path" presetSubtype="0" accel="50000" decel="50000" fill="hold" nodeType="withEffect">
                                  <p:stCondLst>
                                    <p:cond delay="2000"/>
                                  </p:stCondLst>
                                  <p:childTnLst>
                                    <p:animMotion origin="layout" path="M 4.38391E-6 5.22906E-7 C -0.01282 0.0037 0.00448 -0.00093 -0.02997 0.00185 C -0.04951 0.00347 -0.06842 0.0148 -0.08781 0.01851 C -0.0931 0.02105 -0.09887 0.0229 -0.10447 0.02406 C -0.11184 0.02822 -0.12146 0.03146 -0.12931 0.03308 C -0.15126 0.04419 -0.17722 0.04928 -0.19997 0.05715 C -0.21631 0.0627 -0.23202 0.07357 -0.24884 0.07728 C -0.27015 0.08746 -0.30028 0.09208 -0.32271 0.09393 C -0.35091 0.09347 -0.36212 0.09324 -0.38456 0.08931 C -0.39113 0.08676 -0.39882 0.0863 -0.40491 0.0819 " pathEditMode="relative" ptsTypes="fffffffffA">
                                      <p:cBhvr>
                                        <p:cTn id="16" dur="2000" fill="hold"/>
                                        <p:tgtEl>
                                          <p:spTgt spid="37"/>
                                        </p:tgtEl>
                                        <p:attrNameLst>
                                          <p:attrName>ppt_x</p:attrName>
                                          <p:attrName>ppt_y</p:attrName>
                                        </p:attrNameLst>
                                      </p:cBhvr>
                                    </p:animMotion>
                                  </p:childTnLst>
                                </p:cTn>
                              </p:par>
                              <p:par>
                                <p:cTn id="17" presetID="0" presetClass="path" presetSubtype="0" accel="50000" decel="50000" fill="hold" nodeType="withEffect">
                                  <p:stCondLst>
                                    <p:cond delay="2000"/>
                                  </p:stCondLst>
                                  <p:childTnLst>
                                    <p:animMotion origin="layout" path="M 7.7071E-7 2.65618E-6 C 0.00481 -0.00925 0.00785 -0.02152 0.0109 -0.03216 C 0.01426 -0.04419 0.01987 -0.05553 0.02484 -0.06617 C 0.02692 -0.0708 0.02868 -0.07612 0.03125 -0.08006 C 0.04246 -0.09741 0.0548 -0.1025 0.06746 -0.11592 C 0.07451 -0.12355 0.08204 -0.13281 0.08797 -0.14253 C 0.09101 -0.14762 0.09261 -0.15456 0.09614 -0.15919 C 0.09886 -0.16266 0.10255 -0.16451 0.10511 -0.16821 C 0.11216 -0.17839 0.11985 -0.18834 0.1261 -0.19944 C 0.12722 -0.20615 0.12626 -0.20222 0.13059 -0.21055 C 0.13379 -0.21657 0.13556 -0.22466 0.1394 -0.22975 C 0.1418 -0.2367 0.14517 -0.24572 0.14517 -0.25382 " pathEditMode="relative" ptsTypes="fffffffffffA">
                                      <p:cBhvr>
                                        <p:cTn id="18" dur="2000" fill="hold"/>
                                        <p:tgtEl>
                                          <p:spTgt spid="36"/>
                                        </p:tgtEl>
                                        <p:attrNameLst>
                                          <p:attrName>ppt_x</p:attrName>
                                          <p:attrName>ppt_y</p:attrName>
                                        </p:attrNameLst>
                                      </p:cBhvr>
                                    </p:animMotion>
                                  </p:childTnLst>
                                </p:cTn>
                              </p:par>
                              <p:par>
                                <p:cTn id="19" presetID="0" presetClass="path" presetSubtype="0" accel="50000" decel="50000" fill="hold" nodeType="withEffect">
                                  <p:stCondLst>
                                    <p:cond delay="2000"/>
                                  </p:stCondLst>
                                  <p:childTnLst>
                                    <p:animMotion origin="layout" path="M -1.07515E-6 -6.11291E-6 C -0.00256 -0.01088 -0.00112 -0.02361 -0.0032 -0.03495 C -0.00593 -0.04929 -0.01057 -0.06294 -0.0133 -0.07729 C -0.0157 -0.09001 -0.01682 -0.10366 -0.01842 -0.11662 C -0.0189 -0.14207 -0.01858 -0.16775 -0.02035 -0.19297 C -0.02051 -0.20686 -0.02067 -0.22051 -0.02099 -0.23439 C -0.02115 -0.24226 -0.02211 -0.25822 -0.02916 -0.25822 " pathEditMode="relative" ptsTypes="ffffffA">
                                      <p:cBhvr>
                                        <p:cTn id="20" dur="2000" fill="hold"/>
                                        <p:tgtEl>
                                          <p:spTgt spid="30"/>
                                        </p:tgtEl>
                                        <p:attrNameLst>
                                          <p:attrName>ppt_x</p:attrName>
                                          <p:attrName>ppt_y</p:attrName>
                                        </p:attrNameLst>
                                      </p:cBhvr>
                                    </p:animMotion>
                                  </p:childTnLst>
                                </p:cTn>
                              </p:par>
                              <p:par>
                                <p:cTn id="21" presetID="0" presetClass="path" presetSubtype="0" accel="50000" decel="50000" fill="hold" nodeType="withEffect">
                                  <p:stCondLst>
                                    <p:cond delay="2000"/>
                                  </p:stCondLst>
                                  <p:childTnLst>
                                    <p:animMotion origin="layout" path="M -0.00641 0.02175 C 0.04022 0.02314 0.08685 0.02661 0.13363 0.02962 C 0.14597 0.03263 0.15831 0.03355 0.17065 0.03772 " pathEditMode="relative" rAng="0" ptsTypes="fff">
                                      <p:cBhvr>
                                        <p:cTn id="22" dur="2000" fill="hold"/>
                                        <p:tgtEl>
                                          <p:spTgt spid="29"/>
                                        </p:tgtEl>
                                        <p:attrNameLst>
                                          <p:attrName>ppt_x</p:attrName>
                                          <p:attrName>ppt_y</p:attrName>
                                        </p:attrNameLst>
                                      </p:cBhvr>
                                      <p:rCtr x="8845" y="787"/>
                                    </p:animMotion>
                                  </p:childTnLst>
                                </p:cTn>
                              </p:par>
                              <p:par>
                                <p:cTn id="23" presetID="0" presetClass="path" presetSubtype="0" accel="50000" decel="50000" fill="hold" nodeType="withEffect">
                                  <p:stCondLst>
                                    <p:cond delay="2000"/>
                                  </p:stCondLst>
                                  <p:childTnLst>
                                    <p:animMotion origin="layout" path="M -1.34273E-6 -4.43776E-6 C -0.00272 -0.01203 -0.00977 -0.01851 -0.0157 -0.0266 C -0.02419 -0.03771 -0.03317 -0.04673 -0.04182 -0.05691 C -0.04759 -0.06362 -0.05223 -0.07242 -0.05912 -0.07612 C -0.06441 -0.0826 -0.0705 -0.0856 -0.07691 -0.08815 C -0.09149 -0.08792 -0.10591 -0.08792 -0.12033 -0.08722 C -0.12626 -0.08699 -0.13828 -0.08537 -0.13828 -0.08514 C -0.166 -0.08607 -0.19067 -0.08931 -0.21775 -0.09463 C -0.22128 -0.09648 -0.22496 -0.09787 -0.22849 -0.09926 C -0.23057 -0.10018 -0.23458 -0.10111 -0.23458 -0.10087 C -0.24259 -0.10643 -0.2522 -0.10782 -0.25989 -0.11568 C -0.26935 -0.12517 -0.27976 -0.13142 -0.28922 -0.14067 C -0.31021 -0.16126 -0.33007 -0.1844 -0.34738 -0.21124 C -0.36404 -0.23692 -0.38407 -0.25798 -0.39689 -0.28944 C -0.39705 -0.29245 -0.39721 -0.29569 -0.39721 -0.2987 C -0.39721 -0.30263 -0.39689 -0.3105 -0.39689 -0.31027 " pathEditMode="relative" rAng="0" ptsTypes="fffffffffffffffA">
                                      <p:cBhvr>
                                        <p:cTn id="24" dur="2000" fill="hold"/>
                                        <p:tgtEl>
                                          <p:spTgt spid="28"/>
                                        </p:tgtEl>
                                        <p:attrNameLst>
                                          <p:attrName>ppt_x</p:attrName>
                                          <p:attrName>ppt_y</p:attrName>
                                        </p:attrNameLst>
                                      </p:cBhvr>
                                      <p:rCtr x="-19869" y="-15525"/>
                                    </p:animMotion>
                                  </p:childTnLst>
                                </p:cTn>
                              </p:par>
                              <p:par>
                                <p:cTn id="25" presetID="0" presetClass="path" presetSubtype="0" accel="50000" decel="50000" fill="hold" nodeType="withEffect">
                                  <p:stCondLst>
                                    <p:cond delay="2000"/>
                                  </p:stCondLst>
                                  <p:childTnLst>
                                    <p:animMotion origin="layout" path="M -2.07659E-6 -3.28552E-7 C -0.00064 -0.00232 -0.0008 -0.00741 -0.00192 -0.00903 C -0.00384 -0.0118 -0.00769 -0.01366 -0.01025 -0.01458 C -0.0165 -0.02175 -0.02451 -0.02592 -0.03188 -0.03031 C -0.05271 -0.04281 -0.07226 -0.04975 -0.09485 -0.05137 C -0.14084 -0.05068 -0.18522 -0.04975 -0.23105 -0.05044 C -0.23506 -0.0516 -0.23313 -0.05137 -0.23682 -0.05137 " pathEditMode="relative" ptsTypes="ffffffA">
                                      <p:cBhvr>
                                        <p:cTn id="26" dur="2000" fill="hold"/>
                                        <p:tgtEl>
                                          <p:spTgt spid="27"/>
                                        </p:tgtEl>
                                        <p:attrNameLst>
                                          <p:attrName>ppt_x</p:attrName>
                                          <p:attrName>ppt_y</p:attrName>
                                        </p:attrNameLst>
                                      </p:cBhvr>
                                    </p:animMotion>
                                  </p:childTnLst>
                                </p:cTn>
                              </p:par>
                              <p:par>
                                <p:cTn id="27" presetID="0" presetClass="path" presetSubtype="0" accel="50000" decel="50000" fill="hold" nodeType="withEffect">
                                  <p:stCondLst>
                                    <p:cond delay="2000"/>
                                  </p:stCondLst>
                                  <p:childTnLst>
                                    <p:animMotion origin="layout" path="M -2.99952E-6 -8.51458E-7 C -0.00192 -0.00833 0.00032 0.00209 -0.00128 -0.01827 C -0.00208 -0.02915 -0.00576 -0.03933 -0.00576 -0.05044 " pathEditMode="relative" ptsTypes="ffA">
                                      <p:cBhvr>
                                        <p:cTn id="28" dur="2000" fill="hold"/>
                                        <p:tgtEl>
                                          <p:spTgt spid="26"/>
                                        </p:tgtEl>
                                        <p:attrNameLst>
                                          <p:attrName>ppt_x</p:attrName>
                                          <p:attrName>ppt_y</p:attrName>
                                        </p:attrNameLst>
                                      </p:cBhvr>
                                    </p:animMotion>
                                  </p:childTnLst>
                                </p:cTn>
                              </p:par>
                              <p:par>
                                <p:cTn id="29" presetID="0" presetClass="path" presetSubtype="0" accel="50000" decel="50000" fill="hold" nodeType="withEffect">
                                  <p:stCondLst>
                                    <p:cond delay="2000"/>
                                  </p:stCondLst>
                                  <p:childTnLst>
                                    <p:animMotion origin="layout" path="M -4.46243E-6 -2.60528E-6 C 0.00657 -0.00647 0.0141 -0.01064 0.02115 -0.0155 C 0.02932 -0.02105 0.03638 -0.02753 0.04519 -0.03123 C 0.05496 -0.0354 0.06538 -0.03609 0.07515 -0.04025 C 0.09246 -0.04789 0.11008 -0.0546 0.12739 -0.06247 C 0.13251 -0.06478 0.13636 -0.06964 0.14133 -0.07242 C 0.14854 -0.07658 0.15783 -0.07913 0.16424 -0.0863 C 0.16696 -0.08931 0.16937 -0.09324 0.17193 -0.09648 C 0.17401 -0.09902 0.1769 -0.09995 0.17898 -0.10273 C 0.18283 -0.10782 0.18475 -0.11244 0.18972 -0.11476 C 0.19276 -0.12147 0.18875 -0.1136 0.19356 -0.11938 C 0.1942 -0.12008 0.19484 -0.12216 0.19484 -0.12216 " pathEditMode="relative" ptsTypes="fffffffffffA">
                                      <p:cBhvr>
                                        <p:cTn id="30" dur="2000" fill="hold"/>
                                        <p:tgtEl>
                                          <p:spTgt spid="34"/>
                                        </p:tgtEl>
                                        <p:attrNameLst>
                                          <p:attrName>ppt_x</p:attrName>
                                          <p:attrName>ppt_y</p:attrName>
                                        </p:attrNameLst>
                                      </p:cBhvr>
                                    </p:animMotion>
                                  </p:childTnLst>
                                </p:cTn>
                              </p:par>
                              <p:par>
                                <p:cTn id="31" presetID="0" presetClass="path" presetSubtype="0" accel="50000" decel="50000" fill="hold" nodeType="withEffect">
                                  <p:stCondLst>
                                    <p:cond delay="2000"/>
                                  </p:stCondLst>
                                  <p:childTnLst>
                                    <p:animMotion origin="layout" path="M 2.64861E-6 -3.66497E-6 C 0.02051 0.00139 0.04038 0.00324 0.0604 0.00903 C 0.06842 0.01134 0.08043 0.01296 0.08652 0.02036 C 0.09197 0.02684 0.08492 0.01898 0.09405 0.02661 C 0.10062 0.0324 0.10655 0.03911 0.11232 0.04582 C 0.11584 0.04975 0.12081 0.05299 0.1245 0.05715 C 0.13571 0.06918 0.14437 0.08446 0.1575 0.0944 C 0.16183 0.09764 0.166 0.09857 0.17032 0.10158 C 0.17657 0.10551 0.18298 0.11083 0.19003 0.11268 C 0.20189 0.12171 0.21839 0.11986 0.23185 0.11986 C 0.29338 0.12009 0.35475 0.11986 0.41628 0.11986 " pathEditMode="relative" rAng="0" ptsTypes="ffffffffffA">
                                      <p:cBhvr>
                                        <p:cTn id="32" dur="2000" fill="hold"/>
                                        <p:tgtEl>
                                          <p:spTgt spid="33"/>
                                        </p:tgtEl>
                                        <p:attrNameLst>
                                          <p:attrName>ppt_x</p:attrName>
                                          <p:attrName>ppt_y</p:attrName>
                                        </p:attrNameLst>
                                      </p:cBhvr>
                                      <p:rCtr x="20814" y="6085"/>
                                    </p:animMotion>
                                  </p:childTnLst>
                                </p:cTn>
                              </p:par>
                              <p:par>
                                <p:cTn id="33" presetID="0" presetClass="path" presetSubtype="0" accel="50000" decel="50000" fill="hold" nodeType="withEffect">
                                  <p:stCondLst>
                                    <p:cond delay="2000"/>
                                  </p:stCondLst>
                                  <p:childTnLst>
                                    <p:animMotion origin="layout" path="M 2.64861E-6 -4.84498E-6 C -0.02163 -0.00069 -0.04326 -0.00092 -0.0649 -0.003 C -0.07323 -0.00509 -0.08156 -0.00902 -0.08989 -0.01018 C -0.0939 -0.01226 -0.09806 -0.01318 -0.10207 -0.01596 C -0.10688 -0.0192 -0.112 -0.02383 -0.11729 -0.02591 C -0.1213 -0.02961 -0.12562 -0.03331 -0.12963 -0.03678 C -0.13059 -0.03771 -0.13187 -0.03771 -0.13283 -0.0384 C -0.13428 -0.03933 -0.1354 -0.04049 -0.13668 -0.04187 C -0.14693 -0.05182 -0.15671 -0.0627 -0.16728 -0.07265 C -0.18395 -0.08838 -0.19869 -0.09949 -0.19869 -0.12586 " pathEditMode="relative" rAng="0" ptsTypes="fffffffffA">
                                      <p:cBhvr>
                                        <p:cTn id="34" dur="2000" fill="hold"/>
                                        <p:tgtEl>
                                          <p:spTgt spid="32"/>
                                        </p:tgtEl>
                                        <p:attrNameLst>
                                          <p:attrName>ppt_x</p:attrName>
                                          <p:attrName>ppt_y</p:attrName>
                                        </p:attrNameLst>
                                      </p:cBhvr>
                                      <p:rCtr x="-9934" y="-6293"/>
                                    </p:animMotion>
                                  </p:childTnLst>
                                </p:cTn>
                              </p:par>
                              <p:par>
                                <p:cTn id="35" presetID="0" presetClass="path" presetSubtype="0" accel="50000" decel="50000" fill="hold" nodeType="withEffect">
                                  <p:stCondLst>
                                    <p:cond delay="2000"/>
                                  </p:stCondLst>
                                  <p:childTnLst>
                                    <p:animMotion origin="layout" path="M -6.30828E-6 -2.74873E-6 C -0.00225 -0.00486 -0.00145 -0.01018 -0.00241 -0.01573 C -0.00225 -0.05738 -0.00209 -0.09902 -0.00177 -0.14067 C -0.00177 -0.14738 -0.00129 -0.15455 0.00128 -0.16011 C 0.00257 -0.16728 0.00736 -0.17168 0.00897 -0.17839 C 0.01025 -0.18394 0.01185 -0.19019 0.01409 -0.19504 C 0.01506 -0.20245 0.01473 -0.19944 0.01538 -0.2087 C 0.01554 -0.2117 0.0157 -0.21494 0.01602 -0.21795 C 0.01618 -0.21957 0.01666 -0.22258 0.01666 -0.22258 " pathEditMode="relative" ptsTypes="ffffffffA">
                                      <p:cBhvr>
                                        <p:cTn id="36" dur="2000" fill="hold"/>
                                        <p:tgtEl>
                                          <p:spTgt spid="31"/>
                                        </p:tgtEl>
                                        <p:attrNameLst>
                                          <p:attrName>ppt_x</p:attrName>
                                          <p:attrName>ppt_y</p:attrName>
                                        </p:attrNameLst>
                                      </p:cBhvr>
                                    </p:animMotion>
                                  </p:childTnLst>
                                </p:cTn>
                              </p:par>
                              <p:par>
                                <p:cTn id="37" presetID="0" presetClass="path" presetSubtype="0" accel="50000" decel="50000" fill="hold" nodeType="withEffect">
                                  <p:stCondLst>
                                    <p:cond delay="2000"/>
                                  </p:stCondLst>
                                  <p:childTnLst>
                                    <p:animMotion origin="layout" path="M -4.61465E-6 -4.22027E-6 C 0.00497 -0.00231 0.01122 -0.00277 0.01651 -0.0037 C 0.0274 -0.00994 0.04278 -0.00902 0.05416 -0.01018 C 0.07868 -0.01642 0.10207 -0.02614 0.1261 -0.03493 C 0.15815 -0.0465 0.19308 -0.04997 0.22593 -0.05344 C 0.23763 -0.05645 0.24932 -0.05784 0.26102 -0.06154 C 0.26855 -0.06409 0.2756 -0.06779 0.28329 -0.06987 C 0.29739 -0.08005 0.31005 -0.08607 0.32271 -0.10018 C 0.33328 -0.11198 0.34226 -0.12957 0.34947 -0.1453 C 0.35267 -0.15224 0.35507 -0.15964 0.35844 -0.16635 C 0.35876 -0.1682 0.36132 -0.17561 0.36212 -0.17561 " pathEditMode="relative" ptsTypes="ffffffffffA">
                                      <p:cBhvr>
                                        <p:cTn id="38" dur="2000" fill="hold"/>
                                        <p:tgtEl>
                                          <p:spTgt spid="25"/>
                                        </p:tgtEl>
                                        <p:attrNameLst>
                                          <p:attrName>ppt_x</p:attrName>
                                          <p:attrName>ppt_y</p:attrName>
                                        </p:attrNameLst>
                                      </p:cBhvr>
                                    </p:animMotion>
                                  </p:childTnLst>
                                </p:cTn>
                              </p:par>
                              <p:par>
                                <p:cTn id="39" presetID="0" presetClass="path" presetSubtype="0" accel="50000" decel="50000" fill="hold" nodeType="withEffect">
                                  <p:stCondLst>
                                    <p:cond delay="2000"/>
                                  </p:stCondLst>
                                  <p:childTnLst>
                                    <p:animMotion origin="layout" path="M 2.61657E-6 2.51273E-6 C 0.0173 0.00347 0.00929 0.00231 0.02419 0.0037 C 0.02964 0.00532 0.03525 0.00648 0.04069 0.0074 C 0.04566 0.00925 0.04951 0.01134 0.05415 0.01365 C 0.06088 0.02105 0.07146 0.02453 0.07963 0.02753 C 0.08332 0.0317 0.08732 0.0317 0.09165 0.03494 C 0.09678 0.03864 0.1019 0.0428 0.10751 0.04419 C 0.11456 0.04951 0.12001 0.05136 0.12674 0.05599 C 0.13235 0.05993 0.13699 0.06386 0.14324 0.06525 C 0.14805 0.06987 0.15446 0.07011 0.15975 0.07358 C 0.16439 0.07658 0.16856 0.08167 0.17321 0.08445 C 0.18554 0.09186 0.19564 0.09602 0.20878 0.09741 C 0.24355 0.09579 0.27768 0.09301 0.31196 0.08538 C 0.32911 0.08167 0.34641 0.0782 0.3634 0.07358 C 0.36885 0.07196 0.37397 0.06918 0.37942 0.06802 C 0.38535 0.06247 0.39272 0.06062 0.39913 0.05599 C 0.40105 0.0546 0.40298 0.05368 0.4049 0.05229 C 0.40618 0.05136 0.40858 0.04951 0.40858 0.04951 " pathEditMode="relative" ptsTypes="fffffffffffffffffA">
                                      <p:cBhvr>
                                        <p:cTn id="40" dur="2000" fill="hold"/>
                                        <p:tgtEl>
                                          <p:spTgt spid="24"/>
                                        </p:tgtEl>
                                        <p:attrNameLst>
                                          <p:attrName>ppt_x</p:attrName>
                                          <p:attrName>ppt_y</p:attrName>
                                        </p:attrNameLst>
                                      </p:cBhvr>
                                    </p:animMotion>
                                  </p:childTnLst>
                                </p:cTn>
                              </p:par>
                              <p:par>
                                <p:cTn id="41" presetID="0" presetClass="path" presetSubtype="0" accel="50000" decel="50000" fill="hold" nodeType="withEffect">
                                  <p:stCondLst>
                                    <p:cond delay="2000"/>
                                  </p:stCondLst>
                                  <p:childTnLst>
                                    <p:animMotion origin="layout" path="M -4.61465E-6 -7.58908E-7 C -0.01522 0.0037 -0.02868 0.01203 -0.04326 0.01827 C -0.05319 0.02267 -0.06313 0.02267 -0.07322 0.02568 C -0.10543 0.02545 -0.13764 0.02568 -0.16984 0.02475 C -0.17737 0.02452 -0.19788 0.01735 -0.20365 0.00902 " pathEditMode="relative" ptsTypes="ffffA">
                                      <p:cBhvr>
                                        <p:cTn id="42" dur="2000" fill="hold"/>
                                        <p:tgtEl>
                                          <p:spTgt spid="22"/>
                                        </p:tgtEl>
                                        <p:attrNameLst>
                                          <p:attrName>ppt_x</p:attrName>
                                          <p:attrName>ppt_y</p:attrName>
                                        </p:attrNameLst>
                                      </p:cBhvr>
                                    </p:animMotion>
                                  </p:childTnLst>
                                </p:cTn>
                              </p:par>
                              <p:par>
                                <p:cTn id="43" presetID="0" presetClass="path" presetSubtype="0" accel="50000" decel="50000" fill="hold" nodeType="withEffect">
                                  <p:stCondLst>
                                    <p:cond delay="2000"/>
                                  </p:stCondLst>
                                  <p:childTnLst>
                                    <p:animMotion origin="layout" path="M -9.22929E-7 7.58908E-7 C -0.04807 -0.00046 -0.09165 -0.00069 -0.13812 -0.00555 C -0.16776 -0.01342 -0.1958 -0.02476 -0.224 -0.04049 C -0.23538 -0.04674 -0.25124 -0.05599 -0.25958 -0.06802 C -0.2655 -0.07658 -0.2732 -0.08376 -0.2788 -0.09278 C -0.28569 -0.10389 -0.29114 -0.11684 -0.29723 -0.12864 C -0.30124 -0.14623 -0.30861 -0.16358 -0.31437 -0.18024 C -0.32591 -0.21379 -0.33793 -0.24711 -0.34946 -0.28043 " pathEditMode="relative" ptsTypes="fffffffA">
                                      <p:cBhvr>
                                        <p:cTn id="44" dur="2000" fill="hold"/>
                                        <p:tgtEl>
                                          <p:spTgt spid="21"/>
                                        </p:tgtEl>
                                        <p:attrNameLst>
                                          <p:attrName>ppt_x</p:attrName>
                                          <p:attrName>ppt_y</p:attrName>
                                        </p:attrNameLst>
                                      </p:cBhvr>
                                    </p:animMotion>
                                  </p:childTnLst>
                                </p:cTn>
                              </p:par>
                              <p:par>
                                <p:cTn id="45" presetID="0" presetClass="path" presetSubtype="0" accel="50000" decel="50000" fill="hold" nodeType="withEffect">
                                  <p:stCondLst>
                                    <p:cond delay="2000"/>
                                  </p:stCondLst>
                                  <p:childTnLst>
                                    <p:animMotion origin="layout" path="M 1.76734E-6 5.49745E-6 C -0.00369 -0.00254 -0.00849 -0.00554 -0.01266 -0.00624 C -0.01795 -0.00693 -0.02868 -0.00809 -0.02868 -0.00809 C -0.04839 -0.01619 -0.07002 -0.01318 -0.09037 -0.01457 C -0.12226 -0.01364 -0.15398 -0.01225 -0.18587 -0.00994 C -0.19468 -0.00855 -0.20317 -0.00786 -0.21199 -0.00716 C -0.21888 -0.00601 -0.22545 -0.00369 -0.23233 -0.00254 C -0.25284 0.00602 -0.27399 0.01343 -0.29402 0.025 C -0.29723 0.02685 -0.30011 0.03032 -0.30364 0.03124 C -0.3062 0.03194 -0.3078 0.03217 -0.31005 0.03402 C -0.31437 0.03772 -0.31774 0.04328 -0.32271 0.04513 C -0.32831 0.05137 -0.33488 0.05508 -0.34113 0.05993 C -0.34914 0.06618 -0.35651 0.07405 -0.36469 0.08006 C -0.36741 0.08215 -0.37334 0.09117 -0.37494 0.09117 " pathEditMode="relative" ptsTypes="fffffffffffffA">
                                      <p:cBhvr>
                                        <p:cTn id="46" dur="2000" fill="hold"/>
                                        <p:tgtEl>
                                          <p:spTgt spid="38"/>
                                        </p:tgtEl>
                                        <p:attrNameLst>
                                          <p:attrName>ppt_x</p:attrName>
                                          <p:attrName>ppt_y</p:attrName>
                                        </p:attrNameLst>
                                      </p:cBhvr>
                                    </p:animMotion>
                                  </p:childTnLst>
                                </p:cTn>
                              </p:par>
                              <p:par>
                                <p:cTn id="47" presetID="0" presetClass="path" presetSubtype="0" accel="50000" decel="50000" fill="hold" nodeType="withEffect">
                                  <p:stCondLst>
                                    <p:cond delay="2000"/>
                                  </p:stCondLst>
                                  <p:childTnLst>
                                    <p:animMotion origin="layout" path="M -2.8473E-6 1.13836E-6 C -0.00417 0.00393 -0.00785 0.00532 -0.00961 0.01296 C -0.00993 0.01967 -0.0125 0.03401 -0.00769 0.03864 C -0.00449 0.04558 -0.00609 0.04234 -0.0032 0.0479 C -0.00192 0.05322 -0.00304 0.04998 0.00112 0.05623 C 0.00176 0.05715 0.00304 0.05877 0.00304 0.05877 " pathEditMode="relative" ptsTypes="fffffA">
                                      <p:cBhvr>
                                        <p:cTn id="48" dur="2000" fill="hold"/>
                                        <p:tgtEl>
                                          <p:spTgt spid="23"/>
                                        </p:tgtEl>
                                        <p:attrNameLst>
                                          <p:attrName>ppt_x</p:attrName>
                                          <p:attrName>ppt_y</p:attrName>
                                        </p:attrNameLst>
                                      </p:cBhvr>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p:cNvSpPr>
            <a:spLocks noGrp="1"/>
          </p:cNvSpPr>
          <p:nvPr>
            <p:ph type="sldNum" sz="quarter" idx="12"/>
          </p:nvPr>
        </p:nvSpPr>
        <p:spPr/>
        <p:txBody>
          <a:bodyPr/>
          <a:lstStyle/>
          <a:p>
            <a:fld id="{4AD1E780-DE1C-4ECA-B5E5-863D0BC53287}" type="slidenum">
              <a:rPr lang="de-DE" smtClean="0"/>
              <a:pPr/>
              <a:t>38</a:t>
            </a:fld>
            <a:endParaRPr lang="de-DE" dirty="0"/>
          </a:p>
        </p:txBody>
      </p:sp>
      <p:sp>
        <p:nvSpPr>
          <p:cNvPr id="4" name="Inhaltsplatzhalter 2"/>
          <p:cNvSpPr txBox="1">
            <a:spLocks/>
          </p:cNvSpPr>
          <p:nvPr/>
        </p:nvSpPr>
        <p:spPr>
          <a:xfrm>
            <a:off x="646477" y="592453"/>
            <a:ext cx="9160097" cy="450492"/>
          </a:xfrm>
          <a:prstGeom prst="rect">
            <a:avLst/>
          </a:prstGeom>
        </p:spPr>
        <p:txBody>
          <a:bodyPr vert="horz" lIns="0" tIns="0" rIns="0" bIns="0" rtlCol="0">
            <a:noAutofit/>
          </a:bodyPr>
          <a:lstStyle>
            <a:lvl1pPr marL="0" indent="0" algn="ctr" defTabSz="1280160" rtl="0" eaLnBrk="1" latinLnBrk="0" hangingPunct="1">
              <a:spcBef>
                <a:spcPct val="20000"/>
              </a:spcBef>
              <a:buFont typeface="Arial" panose="020B0604020202020204" pitchFamily="34" charset="0"/>
              <a:buNone/>
              <a:defRPr sz="4500" kern="1200">
                <a:solidFill>
                  <a:schemeClr val="tx1">
                    <a:tint val="75000"/>
                  </a:schemeClr>
                </a:solidFill>
                <a:latin typeface="+mn-lt"/>
                <a:ea typeface="+mn-ea"/>
                <a:cs typeface="+mn-cs"/>
              </a:defRPr>
            </a:lvl1pPr>
            <a:lvl2pPr marL="640080" indent="0" algn="ctr" defTabSz="1280160" rtl="0" eaLnBrk="1" latinLnBrk="0" hangingPunct="1">
              <a:spcBef>
                <a:spcPct val="20000"/>
              </a:spcBef>
              <a:buFont typeface="Arial" panose="020B0604020202020204" pitchFamily="34" charset="0"/>
              <a:buNone/>
              <a:defRPr sz="3900" kern="1200">
                <a:solidFill>
                  <a:schemeClr val="tx1">
                    <a:tint val="75000"/>
                  </a:schemeClr>
                </a:solidFill>
                <a:latin typeface="+mn-lt"/>
                <a:ea typeface="+mn-ea"/>
                <a:cs typeface="+mn-cs"/>
              </a:defRPr>
            </a:lvl2pPr>
            <a:lvl3pPr marL="1280160" indent="0" algn="ctr" defTabSz="1280160" rtl="0" eaLnBrk="1" latinLnBrk="0" hangingPunct="1">
              <a:spcBef>
                <a:spcPct val="20000"/>
              </a:spcBef>
              <a:buFont typeface="Arial" panose="020B0604020202020204" pitchFamily="34" charset="0"/>
              <a:buNone/>
              <a:defRPr sz="3400" kern="1200">
                <a:solidFill>
                  <a:schemeClr val="tx1">
                    <a:tint val="75000"/>
                  </a:schemeClr>
                </a:solidFill>
                <a:latin typeface="+mn-lt"/>
                <a:ea typeface="+mn-ea"/>
                <a:cs typeface="+mn-cs"/>
              </a:defRPr>
            </a:lvl3pPr>
            <a:lvl4pPr marL="192024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4pPr>
            <a:lvl5pPr marL="256032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5pPr>
            <a:lvl6pPr marL="320040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6pPr>
            <a:lvl7pPr marL="384048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7pPr>
            <a:lvl8pPr marL="448056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8pPr>
            <a:lvl9pPr marL="5120640" indent="0" algn="ctr" defTabSz="128016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9pPr>
          </a:lstStyle>
          <a:p>
            <a:pPr algn="l"/>
            <a:r>
              <a:rPr lang="en-US" sz="4400" b="1" dirty="0" smtClean="0">
                <a:solidFill>
                  <a:schemeClr val="accent6"/>
                </a:solidFill>
                <a:latin typeface="Arial" panose="020B0604020202020204" pitchFamily="34" charset="0"/>
                <a:cs typeface="Arial" panose="020B0604020202020204" pitchFamily="34" charset="0"/>
              </a:rPr>
              <a:t>Thank you!</a:t>
            </a:r>
            <a:endParaRPr lang="en-US" sz="4400" b="1" dirty="0">
              <a:solidFill>
                <a:schemeClr val="accent6"/>
              </a:solidFill>
              <a:latin typeface="Arial" panose="020B0604020202020204" pitchFamily="34" charset="0"/>
              <a:cs typeface="Arial" panose="020B0604020202020204" pitchFamily="34" charset="0"/>
            </a:endParaRPr>
          </a:p>
        </p:txBody>
      </p:sp>
      <p:sp>
        <p:nvSpPr>
          <p:cNvPr id="8" name="TextBox 7"/>
          <p:cNvSpPr txBox="1"/>
          <p:nvPr/>
        </p:nvSpPr>
        <p:spPr>
          <a:xfrm>
            <a:off x="646477" y="4722909"/>
            <a:ext cx="4997450" cy="1815882"/>
          </a:xfrm>
          <a:prstGeom prst="rect">
            <a:avLst/>
          </a:prstGeom>
          <a:noFill/>
        </p:spPr>
        <p:txBody>
          <a:bodyPr wrap="square" lIns="0" tIns="0" rIns="0" bIns="0" rtlCol="0">
            <a:spAutoFit/>
          </a:bodyPr>
          <a:lstStyle/>
          <a:p>
            <a:r>
              <a:rPr lang="en-GB" sz="1600" b="1" dirty="0" smtClean="0">
                <a:solidFill>
                  <a:schemeClr val="accent2"/>
                </a:solidFill>
              </a:rPr>
              <a:t>Colleen Campbell</a:t>
            </a:r>
          </a:p>
          <a:p>
            <a:r>
              <a:rPr lang="en-GB" sz="1600" dirty="0" smtClean="0">
                <a:solidFill>
                  <a:schemeClr val="accent2"/>
                </a:solidFill>
              </a:rPr>
              <a:t>Open Access 2020 Initiative</a:t>
            </a:r>
            <a:endParaRPr lang="de-DE" sz="1600" dirty="0">
              <a:solidFill>
                <a:schemeClr val="accent2"/>
              </a:solidFill>
            </a:endParaRPr>
          </a:p>
          <a:p>
            <a:r>
              <a:rPr lang="en-GB" sz="1600" dirty="0" smtClean="0">
                <a:solidFill>
                  <a:schemeClr val="accent2"/>
                </a:solidFill>
              </a:rPr>
              <a:t>Max </a:t>
            </a:r>
            <a:r>
              <a:rPr lang="en-GB" sz="1600" dirty="0">
                <a:solidFill>
                  <a:schemeClr val="accent2"/>
                </a:solidFill>
              </a:rPr>
              <a:t>Planck Digital </a:t>
            </a:r>
            <a:r>
              <a:rPr lang="en-GB" sz="1600" dirty="0" smtClean="0">
                <a:solidFill>
                  <a:schemeClr val="accent2"/>
                </a:solidFill>
              </a:rPr>
              <a:t>Library</a:t>
            </a:r>
          </a:p>
          <a:p>
            <a:endParaRPr lang="en-GB" sz="1400" dirty="0" smtClean="0">
              <a:solidFill>
                <a:schemeClr val="accent2"/>
              </a:solidFill>
            </a:endParaRPr>
          </a:p>
          <a:p>
            <a:r>
              <a:rPr lang="en-GB" sz="1400" u="sng" dirty="0" smtClean="0">
                <a:solidFill>
                  <a:schemeClr val="accent2"/>
                </a:solidFill>
                <a:hlinkClick r:id="rId2"/>
              </a:rPr>
              <a:t>campbell@mpdl.mpg.de</a:t>
            </a:r>
            <a:r>
              <a:rPr lang="en-GB" sz="1400" u="sng" dirty="0">
                <a:solidFill>
                  <a:schemeClr val="accent2"/>
                </a:solidFill>
              </a:rPr>
              <a:t/>
            </a:r>
            <a:br>
              <a:rPr lang="en-GB" sz="1400" u="sng" dirty="0">
                <a:solidFill>
                  <a:schemeClr val="accent2"/>
                </a:solidFill>
              </a:rPr>
            </a:br>
            <a:r>
              <a:rPr lang="en-GB" sz="1400" u="sng" dirty="0">
                <a:solidFill>
                  <a:schemeClr val="accent2"/>
                </a:solidFill>
              </a:rPr>
              <a:t>@</a:t>
            </a:r>
            <a:r>
              <a:rPr lang="en-GB" sz="1400" u="sng" dirty="0" smtClean="0">
                <a:solidFill>
                  <a:schemeClr val="accent2"/>
                </a:solidFill>
              </a:rPr>
              <a:t>ColleenCampbe11</a:t>
            </a:r>
          </a:p>
          <a:p>
            <a:endParaRPr lang="de-DE" sz="1400" dirty="0">
              <a:solidFill>
                <a:schemeClr val="accent2"/>
              </a:solidFill>
            </a:endParaRPr>
          </a:p>
          <a:p>
            <a:r>
              <a:rPr lang="en-GB" sz="1400" u="sng" dirty="0">
                <a:solidFill>
                  <a:schemeClr val="accent2"/>
                </a:solidFill>
                <a:hlinkClick r:id="rId3"/>
              </a:rPr>
              <a:t>https://</a:t>
            </a:r>
            <a:r>
              <a:rPr lang="en-GB" sz="1400" u="sng" dirty="0" smtClean="0">
                <a:solidFill>
                  <a:schemeClr val="accent2"/>
                </a:solidFill>
                <a:hlinkClick r:id="rId3"/>
              </a:rPr>
              <a:t>oa2020.org</a:t>
            </a:r>
            <a:endParaRPr lang="de-DE" sz="1400" dirty="0">
              <a:solidFill>
                <a:schemeClr val="accent2"/>
              </a:solidFill>
            </a:endParaRPr>
          </a:p>
        </p:txBody>
      </p:sp>
      <p:pic>
        <p:nvPicPr>
          <p:cNvPr id="5" name="Grafik 3"/>
          <p:cNvPicPr>
            <a:picLocks noChangeAspect="1"/>
          </p:cNvPicPr>
          <p:nvPr/>
        </p:nvPicPr>
        <p:blipFill rotWithShape="1">
          <a:blip r:embed="rId4" cstate="print">
            <a:extLst>
              <a:ext uri="{28A0092B-C50C-407E-A947-70E740481C1C}">
                <a14:useLocalDpi xmlns:a14="http://schemas.microsoft.com/office/drawing/2010/main" val="0"/>
              </a:ext>
            </a:extLst>
          </a:blip>
          <a:srcRect b="37075"/>
          <a:stretch/>
        </p:blipFill>
        <p:spPr>
          <a:xfrm>
            <a:off x="3446103" y="2133533"/>
            <a:ext cx="1642601" cy="1807847"/>
          </a:xfrm>
          <a:prstGeom prst="rect">
            <a:avLst/>
          </a:prstGeom>
        </p:spPr>
      </p:pic>
      <p:sp>
        <p:nvSpPr>
          <p:cNvPr id="6" name="TextBox 3"/>
          <p:cNvSpPr txBox="1"/>
          <p:nvPr/>
        </p:nvSpPr>
        <p:spPr>
          <a:xfrm>
            <a:off x="3446103" y="4107357"/>
            <a:ext cx="1580230" cy="615553"/>
          </a:xfrm>
          <a:prstGeom prst="rect">
            <a:avLst/>
          </a:prstGeom>
          <a:noFill/>
        </p:spPr>
        <p:txBody>
          <a:bodyPr wrap="square" lIns="0" tIns="0" rIns="0" bIns="0" rtlCol="0">
            <a:spAutoFit/>
          </a:bodyPr>
          <a:lstStyle/>
          <a:p>
            <a:pPr algn="ctr"/>
            <a:r>
              <a:rPr lang="en-GB" sz="2000" spc="100" dirty="0" smtClean="0">
                <a:solidFill>
                  <a:schemeClr val="accent2"/>
                </a:solidFill>
              </a:rPr>
              <a:t>Participate in </a:t>
            </a:r>
            <a:r>
              <a:rPr lang="en-GB" sz="2000" b="1" spc="100" dirty="0" smtClean="0">
                <a:solidFill>
                  <a:schemeClr val="accent2"/>
                </a:solidFill>
              </a:rPr>
              <a:t>OA2020</a:t>
            </a:r>
            <a:endParaRPr lang="en-GB" sz="2000" b="1" spc="100" dirty="0">
              <a:solidFill>
                <a:schemeClr val="accent2"/>
              </a:solidFill>
            </a:endParaRPr>
          </a:p>
        </p:txBody>
      </p:sp>
      <p:sp>
        <p:nvSpPr>
          <p:cNvPr id="7" name="TextBox 14"/>
          <p:cNvSpPr txBox="1"/>
          <p:nvPr/>
        </p:nvSpPr>
        <p:spPr>
          <a:xfrm>
            <a:off x="5099570" y="4107356"/>
            <a:ext cx="1715480" cy="615553"/>
          </a:xfrm>
          <a:prstGeom prst="rect">
            <a:avLst/>
          </a:prstGeom>
          <a:noFill/>
        </p:spPr>
        <p:txBody>
          <a:bodyPr wrap="square" lIns="0" tIns="0" rIns="0" bIns="0" rtlCol="0">
            <a:spAutoFit/>
          </a:bodyPr>
          <a:lstStyle/>
          <a:p>
            <a:pPr algn="ctr"/>
            <a:r>
              <a:rPr lang="en-GB" sz="2000" b="1" spc="100" dirty="0" smtClean="0">
                <a:solidFill>
                  <a:schemeClr val="accent2"/>
                </a:solidFill>
              </a:rPr>
              <a:t>Accelerate</a:t>
            </a:r>
            <a:r>
              <a:rPr lang="en-GB" sz="2000" spc="100" dirty="0" smtClean="0">
                <a:solidFill>
                  <a:schemeClr val="accent2"/>
                </a:solidFill>
              </a:rPr>
              <a:t> the transition</a:t>
            </a:r>
            <a:endParaRPr lang="en-GB" sz="2000" spc="100" dirty="0">
              <a:solidFill>
                <a:schemeClr val="accent2"/>
              </a:solidFill>
            </a:endParaRPr>
          </a:p>
        </p:txBody>
      </p:sp>
      <p:pic>
        <p:nvPicPr>
          <p:cNvPr id="9" name="Grafik 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122824" y="2133533"/>
            <a:ext cx="1668972" cy="1668972"/>
          </a:xfrm>
          <a:prstGeom prst="rect">
            <a:avLst/>
          </a:prstGeom>
        </p:spPr>
      </p:pic>
    </p:spTree>
    <p:extLst>
      <p:ext uri="{BB962C8B-B14F-4D97-AF65-F5344CB8AC3E}">
        <p14:creationId xmlns:p14="http://schemas.microsoft.com/office/powerpoint/2010/main" val="393717863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4AD1E780-DE1C-4ECA-B5E5-863D0BC53287}" type="slidenum">
              <a:rPr lang="de-DE" smtClean="0"/>
              <a:pPr/>
              <a:t>3</a:t>
            </a:fld>
            <a:endParaRPr lang="de-DE" dirty="0"/>
          </a:p>
        </p:txBody>
      </p:sp>
      <p:sp>
        <p:nvSpPr>
          <p:cNvPr id="5" name="Foliennummernplatzhalter 4"/>
          <p:cNvSpPr txBox="1">
            <a:spLocks/>
          </p:cNvSpPr>
          <p:nvPr/>
        </p:nvSpPr>
        <p:spPr>
          <a:xfrm>
            <a:off x="8931442" y="6659477"/>
            <a:ext cx="773912" cy="167164"/>
          </a:xfrm>
          <a:prstGeom prst="rect">
            <a:avLst/>
          </a:prstGeom>
        </p:spPr>
        <p:txBody>
          <a:bodyPr vert="horz" wrap="none" lIns="0" tIns="0" rIns="0" bIns="0" rtlCol="0" anchor="b"/>
          <a:lstStyle>
            <a:defPPr>
              <a:defRPr lang="de-DE"/>
            </a:defPPr>
            <a:lvl1pPr marL="0" algn="r" defTabSz="914400" rtl="0" eaLnBrk="1" latinLnBrk="0" hangingPunct="1">
              <a:defRPr sz="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AD1E780-DE1C-4ECA-B5E5-863D0BC53287}" type="slidenum">
              <a:rPr lang="de-DE" smtClean="0">
                <a:solidFill>
                  <a:prstClr val="black">
                    <a:tint val="75000"/>
                  </a:prstClr>
                </a:solidFill>
              </a:rPr>
              <a:pPr/>
              <a:t>6</a:t>
            </a:fld>
            <a:endParaRPr lang="de-DE" dirty="0">
              <a:solidFill>
                <a:prstClr val="black">
                  <a:tint val="75000"/>
                </a:prstClr>
              </a:solidFill>
            </a:endParaRPr>
          </a:p>
        </p:txBody>
      </p:sp>
      <p:sp>
        <p:nvSpPr>
          <p:cNvPr id="6" name="Rechteck 4"/>
          <p:cNvSpPr/>
          <p:nvPr/>
        </p:nvSpPr>
        <p:spPr>
          <a:xfrm>
            <a:off x="3962943" y="5439823"/>
            <a:ext cx="353970" cy="563090"/>
          </a:xfrm>
          <a:prstGeom prst="rect">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7" name="Rechteck 5"/>
          <p:cNvSpPr/>
          <p:nvPr/>
        </p:nvSpPr>
        <p:spPr>
          <a:xfrm rot="20809950">
            <a:off x="4683750" y="1861504"/>
            <a:ext cx="353970" cy="563090"/>
          </a:xfrm>
          <a:prstGeom prst="rect">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8" name="Rechteck 6"/>
          <p:cNvSpPr/>
          <p:nvPr/>
        </p:nvSpPr>
        <p:spPr>
          <a:xfrm rot="426239">
            <a:off x="4256801" y="3407489"/>
            <a:ext cx="353970" cy="563090"/>
          </a:xfrm>
          <a:prstGeom prst="rect">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9" name="Rechteck 8"/>
          <p:cNvSpPr/>
          <p:nvPr/>
        </p:nvSpPr>
        <p:spPr>
          <a:xfrm rot="5861221">
            <a:off x="4441165" y="5528633"/>
            <a:ext cx="353970" cy="563090"/>
          </a:xfrm>
          <a:prstGeom prst="rect">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10" name="Rechteck 9"/>
          <p:cNvSpPr/>
          <p:nvPr/>
        </p:nvSpPr>
        <p:spPr>
          <a:xfrm rot="20945834">
            <a:off x="3896115" y="2592024"/>
            <a:ext cx="530492" cy="795738"/>
          </a:xfrm>
          <a:prstGeom prst="rect">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11" name="Rechteck 10"/>
          <p:cNvSpPr/>
          <p:nvPr/>
        </p:nvSpPr>
        <p:spPr>
          <a:xfrm>
            <a:off x="4470615" y="2489352"/>
            <a:ext cx="533168" cy="675953"/>
          </a:xfrm>
          <a:prstGeom prst="rect">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12" name="Rechteck 11"/>
          <p:cNvSpPr/>
          <p:nvPr/>
        </p:nvSpPr>
        <p:spPr>
          <a:xfrm rot="21172736">
            <a:off x="4686905" y="3160311"/>
            <a:ext cx="753858" cy="1057446"/>
          </a:xfrm>
          <a:prstGeom prst="rect">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13" name="Rechteck 12"/>
          <p:cNvSpPr/>
          <p:nvPr/>
        </p:nvSpPr>
        <p:spPr>
          <a:xfrm rot="601968">
            <a:off x="5079912" y="2322992"/>
            <a:ext cx="485508" cy="758176"/>
          </a:xfrm>
          <a:prstGeom prst="rect">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14" name="Rechteck 15"/>
          <p:cNvSpPr/>
          <p:nvPr/>
        </p:nvSpPr>
        <p:spPr>
          <a:xfrm rot="20760419">
            <a:off x="4166701" y="4842292"/>
            <a:ext cx="353970" cy="563090"/>
          </a:xfrm>
          <a:prstGeom prst="rect">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15" name="Rechteck 18"/>
          <p:cNvSpPr/>
          <p:nvPr/>
        </p:nvSpPr>
        <p:spPr>
          <a:xfrm>
            <a:off x="4177565" y="4012113"/>
            <a:ext cx="530492" cy="795738"/>
          </a:xfrm>
          <a:prstGeom prst="rect">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16" name="Rechteck 21"/>
          <p:cNvSpPr/>
          <p:nvPr/>
        </p:nvSpPr>
        <p:spPr>
          <a:xfrm>
            <a:off x="5205418" y="4226444"/>
            <a:ext cx="353970" cy="563090"/>
          </a:xfrm>
          <a:prstGeom prst="rect">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17" name="Rechteck 24"/>
          <p:cNvSpPr/>
          <p:nvPr/>
        </p:nvSpPr>
        <p:spPr>
          <a:xfrm rot="223473">
            <a:off x="4768025" y="4807851"/>
            <a:ext cx="591619" cy="851835"/>
          </a:xfrm>
          <a:prstGeom prst="rect">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18" name="Rechteck 25"/>
          <p:cNvSpPr/>
          <p:nvPr/>
        </p:nvSpPr>
        <p:spPr>
          <a:xfrm rot="619010">
            <a:off x="4166701" y="1958801"/>
            <a:ext cx="353970" cy="563090"/>
          </a:xfrm>
          <a:prstGeom prst="rect">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19" name="Rechteck 26"/>
          <p:cNvSpPr/>
          <p:nvPr/>
        </p:nvSpPr>
        <p:spPr>
          <a:xfrm>
            <a:off x="5249837" y="1723408"/>
            <a:ext cx="353970" cy="563090"/>
          </a:xfrm>
          <a:prstGeom prst="rect">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grpSp>
        <p:nvGrpSpPr>
          <p:cNvPr id="20" name="Gruppieren 63"/>
          <p:cNvGrpSpPr/>
          <p:nvPr/>
        </p:nvGrpSpPr>
        <p:grpSpPr>
          <a:xfrm>
            <a:off x="-4703466" y="4498726"/>
            <a:ext cx="4033902" cy="1784982"/>
            <a:chOff x="-121968" y="2379570"/>
            <a:chExt cx="4033902" cy="1784982"/>
          </a:xfrm>
        </p:grpSpPr>
        <p:grpSp>
          <p:nvGrpSpPr>
            <p:cNvPr id="21" name="Gruppieren 58"/>
            <p:cNvGrpSpPr/>
            <p:nvPr/>
          </p:nvGrpSpPr>
          <p:grpSpPr>
            <a:xfrm>
              <a:off x="-121968" y="2379570"/>
              <a:ext cx="4033902" cy="1784982"/>
              <a:chOff x="-121968" y="2379570"/>
              <a:chExt cx="4033902" cy="1784982"/>
            </a:xfrm>
          </p:grpSpPr>
          <p:sp>
            <p:nvSpPr>
              <p:cNvPr id="23" name="Rechteck 60"/>
              <p:cNvSpPr/>
              <p:nvPr/>
            </p:nvSpPr>
            <p:spPr>
              <a:xfrm rot="4444200" flipH="1">
                <a:off x="1599349" y="1928755"/>
                <a:ext cx="336499" cy="3779133"/>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24" name="Rechteck 59"/>
              <p:cNvSpPr/>
              <p:nvPr/>
            </p:nvSpPr>
            <p:spPr>
              <a:xfrm rot="20600177" flipH="1">
                <a:off x="3575435" y="2379570"/>
                <a:ext cx="336499" cy="1784982"/>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grpSp>
        <p:sp>
          <p:nvSpPr>
            <p:cNvPr id="22" name="Rechteck 43"/>
            <p:cNvSpPr/>
            <p:nvPr/>
          </p:nvSpPr>
          <p:spPr>
            <a:xfrm rot="20681970">
              <a:off x="1818185" y="3295609"/>
              <a:ext cx="1843687" cy="461665"/>
            </a:xfrm>
            <a:prstGeom prst="rect">
              <a:avLst/>
            </a:prstGeom>
            <a:ln>
              <a:noFill/>
            </a:ln>
          </p:spPr>
          <p:txBody>
            <a:bodyPr wrap="square">
              <a:spAutoFit/>
            </a:bodyPr>
            <a:lstStyle/>
            <a:p>
              <a:r>
                <a:rPr lang="de-DE" sz="2400" b="1" dirty="0" smtClean="0">
                  <a:solidFill>
                    <a:schemeClr val="bg1"/>
                  </a:solidFill>
                  <a:latin typeface="+mj-lt"/>
                </a:rPr>
                <a:t>LIBRARIES</a:t>
              </a:r>
              <a:endParaRPr lang="en-US" sz="2400" b="1" dirty="0" smtClean="0">
                <a:solidFill>
                  <a:schemeClr val="bg1"/>
                </a:solidFill>
                <a:latin typeface="+mj-lt"/>
              </a:endParaRPr>
            </a:p>
          </p:txBody>
        </p:sp>
      </p:grpSp>
      <p:grpSp>
        <p:nvGrpSpPr>
          <p:cNvPr id="25" name="Gruppieren 64"/>
          <p:cNvGrpSpPr/>
          <p:nvPr/>
        </p:nvGrpSpPr>
        <p:grpSpPr>
          <a:xfrm>
            <a:off x="10550115" y="6214683"/>
            <a:ext cx="4622014" cy="1784982"/>
            <a:chOff x="5459500" y="4415959"/>
            <a:chExt cx="4622014" cy="1784982"/>
          </a:xfrm>
        </p:grpSpPr>
        <p:grpSp>
          <p:nvGrpSpPr>
            <p:cNvPr id="26" name="Gruppieren 62"/>
            <p:cNvGrpSpPr/>
            <p:nvPr/>
          </p:nvGrpSpPr>
          <p:grpSpPr>
            <a:xfrm>
              <a:off x="5459500" y="4415959"/>
              <a:ext cx="4622014" cy="1784982"/>
              <a:chOff x="5459500" y="4415959"/>
              <a:chExt cx="4622014" cy="1784982"/>
            </a:xfrm>
          </p:grpSpPr>
          <p:sp>
            <p:nvSpPr>
              <p:cNvPr id="28" name="Rechteck 61"/>
              <p:cNvSpPr/>
              <p:nvPr/>
            </p:nvSpPr>
            <p:spPr>
              <a:xfrm rot="17041846" flipH="1">
                <a:off x="7661212" y="3630684"/>
                <a:ext cx="336499" cy="4504104"/>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29" name="Rechteck 57"/>
              <p:cNvSpPr/>
              <p:nvPr/>
            </p:nvSpPr>
            <p:spPr>
              <a:xfrm rot="867535" flipH="1">
                <a:off x="5459500" y="4415959"/>
                <a:ext cx="336499" cy="1784982"/>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grpSp>
        <p:sp>
          <p:nvSpPr>
            <p:cNvPr id="27" name="Rechteck 44"/>
            <p:cNvSpPr/>
            <p:nvPr/>
          </p:nvSpPr>
          <p:spPr>
            <a:xfrm rot="878850">
              <a:off x="5864745" y="5488437"/>
              <a:ext cx="2601698" cy="461665"/>
            </a:xfrm>
            <a:prstGeom prst="rect">
              <a:avLst/>
            </a:prstGeom>
            <a:ln>
              <a:noFill/>
            </a:ln>
          </p:spPr>
          <p:txBody>
            <a:bodyPr wrap="square">
              <a:spAutoFit/>
            </a:bodyPr>
            <a:lstStyle/>
            <a:p>
              <a:r>
                <a:rPr lang="de-DE" sz="2400" b="1" dirty="0" smtClean="0">
                  <a:solidFill>
                    <a:schemeClr val="bg1"/>
                  </a:solidFill>
                  <a:latin typeface="+mj-lt"/>
                </a:rPr>
                <a:t>PUBLISHERS</a:t>
              </a:r>
              <a:endParaRPr lang="en-US" sz="2400" b="1" dirty="0" smtClean="0">
                <a:solidFill>
                  <a:schemeClr val="bg1"/>
                </a:solidFill>
                <a:latin typeface="+mj-lt"/>
              </a:endParaRPr>
            </a:p>
          </p:txBody>
        </p:sp>
      </p:grpSp>
      <p:sp>
        <p:nvSpPr>
          <p:cNvPr id="30" name="Rechteck 49"/>
          <p:cNvSpPr/>
          <p:nvPr/>
        </p:nvSpPr>
        <p:spPr>
          <a:xfrm>
            <a:off x="4643811" y="6043874"/>
            <a:ext cx="530492" cy="795738"/>
          </a:xfrm>
          <a:prstGeom prst="rect">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31" name="Rechteck 50"/>
          <p:cNvSpPr/>
          <p:nvPr/>
        </p:nvSpPr>
        <p:spPr>
          <a:xfrm rot="601968">
            <a:off x="4076431" y="6062655"/>
            <a:ext cx="485508" cy="758176"/>
          </a:xfrm>
          <a:prstGeom prst="rect">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38" name="Textplatzhalter 2"/>
          <p:cNvSpPr>
            <a:spLocks noGrp="1"/>
          </p:cNvSpPr>
          <p:nvPr>
            <p:ph type="body" sz="quarter" idx="13"/>
          </p:nvPr>
        </p:nvSpPr>
        <p:spPr>
          <a:xfrm>
            <a:off x="337854" y="284232"/>
            <a:ext cx="9403012" cy="697671"/>
          </a:xfrm>
        </p:spPr>
        <p:txBody>
          <a:bodyPr/>
          <a:lstStyle/>
          <a:p>
            <a:r>
              <a:rPr lang="de-DE" sz="3600" b="1" dirty="0" err="1" smtClean="0">
                <a:solidFill>
                  <a:schemeClr val="accent6"/>
                </a:solidFill>
              </a:rPr>
              <a:t>Scholarly</a:t>
            </a:r>
            <a:r>
              <a:rPr lang="de-DE" sz="3600" b="1" dirty="0" smtClean="0">
                <a:solidFill>
                  <a:schemeClr val="accent6"/>
                </a:solidFill>
              </a:rPr>
              <a:t> </a:t>
            </a:r>
            <a:r>
              <a:rPr lang="de-DE" sz="3600" b="1" dirty="0" err="1" smtClean="0">
                <a:solidFill>
                  <a:schemeClr val="accent6"/>
                </a:solidFill>
              </a:rPr>
              <a:t>publishing</a:t>
            </a:r>
            <a:r>
              <a:rPr lang="de-DE" sz="3600" b="1" dirty="0" smtClean="0">
                <a:solidFill>
                  <a:schemeClr val="accent6"/>
                </a:solidFill>
              </a:rPr>
              <a:t> </a:t>
            </a:r>
            <a:r>
              <a:rPr lang="de-DE" sz="3600" b="1" dirty="0" err="1" smtClean="0">
                <a:solidFill>
                  <a:schemeClr val="accent6"/>
                </a:solidFill>
              </a:rPr>
              <a:t>today</a:t>
            </a:r>
            <a:endParaRPr lang="de-DE" sz="3600" b="1" dirty="0">
              <a:solidFill>
                <a:schemeClr val="accent6"/>
              </a:solidFill>
            </a:endParaRPr>
          </a:p>
        </p:txBody>
      </p:sp>
      <p:sp>
        <p:nvSpPr>
          <p:cNvPr id="39" name="Titel 1"/>
          <p:cNvSpPr txBox="1">
            <a:spLocks/>
          </p:cNvSpPr>
          <p:nvPr/>
        </p:nvSpPr>
        <p:spPr>
          <a:xfrm>
            <a:off x="531779" y="1919051"/>
            <a:ext cx="9173575" cy="369332"/>
          </a:xfrm>
          <a:prstGeom prst="rect">
            <a:avLst/>
          </a:prstGeom>
        </p:spPr>
        <p:txBody>
          <a:bodyPr vert="horz" wrap="square" lIns="0" tIns="0" rIns="0" bIns="0" rtlCol="0" anchor="t">
            <a:spAutoFit/>
          </a:bodyPr>
          <a:lstStyle>
            <a:lvl1pPr algn="ctr" defTabSz="914400" rtl="0" eaLnBrk="1" latinLnBrk="0" hangingPunct="1">
              <a:spcBef>
                <a:spcPct val="0"/>
              </a:spcBef>
              <a:buNone/>
              <a:defRPr sz="2400" b="1" kern="1200" baseline="0">
                <a:solidFill>
                  <a:schemeClr val="tx2"/>
                </a:solidFill>
                <a:latin typeface="+mj-lt"/>
                <a:ea typeface="+mj-ea"/>
                <a:cs typeface="+mj-cs"/>
              </a:defRPr>
            </a:lvl1pPr>
          </a:lstStyle>
          <a:p>
            <a:pPr algn="l"/>
            <a:r>
              <a:rPr lang="en-US" dirty="0" smtClean="0">
                <a:solidFill>
                  <a:schemeClr val="accent4"/>
                </a:solidFill>
              </a:rPr>
              <a:t>Propping up an outdated                   and dysfunctional system</a:t>
            </a:r>
            <a:endParaRPr lang="en-US" dirty="0">
              <a:solidFill>
                <a:schemeClr val="accent4"/>
              </a:solidFill>
            </a:endParaRPr>
          </a:p>
        </p:txBody>
      </p:sp>
    </p:spTree>
    <p:extLst>
      <p:ext uri="{BB962C8B-B14F-4D97-AF65-F5344CB8AC3E}">
        <p14:creationId xmlns:p14="http://schemas.microsoft.com/office/powerpoint/2010/main" val="40933477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2" presetClass="emph" presetSubtype="0" repeatCount="indefinite" fill="hold" grpId="0" nodeType="withEffect">
                                  <p:stCondLst>
                                    <p:cond delay="0"/>
                                  </p:stCondLst>
                                  <p:endCondLst>
                                    <p:cond evt="onNext" delay="0">
                                      <p:tgtEl>
                                        <p:sldTgt/>
                                      </p:tgtEl>
                                    </p:cond>
                                  </p:endCondLst>
                                  <p:childTnLst>
                                    <p:animRot by="120000">
                                      <p:cBhvr>
                                        <p:cTn id="6" dur="100" fill="hold">
                                          <p:stCondLst>
                                            <p:cond delay="0"/>
                                          </p:stCondLst>
                                        </p:cTn>
                                        <p:tgtEl>
                                          <p:spTgt spid="6"/>
                                        </p:tgtEl>
                                        <p:attrNameLst>
                                          <p:attrName>r</p:attrName>
                                        </p:attrNameLst>
                                      </p:cBhvr>
                                    </p:animRot>
                                    <p:animRot by="-240000">
                                      <p:cBhvr>
                                        <p:cTn id="7" dur="200" fill="hold">
                                          <p:stCondLst>
                                            <p:cond delay="200"/>
                                          </p:stCondLst>
                                        </p:cTn>
                                        <p:tgtEl>
                                          <p:spTgt spid="6"/>
                                        </p:tgtEl>
                                        <p:attrNameLst>
                                          <p:attrName>r</p:attrName>
                                        </p:attrNameLst>
                                      </p:cBhvr>
                                    </p:animRot>
                                    <p:animRot by="240000">
                                      <p:cBhvr>
                                        <p:cTn id="8" dur="200" fill="hold">
                                          <p:stCondLst>
                                            <p:cond delay="400"/>
                                          </p:stCondLst>
                                        </p:cTn>
                                        <p:tgtEl>
                                          <p:spTgt spid="6"/>
                                        </p:tgtEl>
                                        <p:attrNameLst>
                                          <p:attrName>r</p:attrName>
                                        </p:attrNameLst>
                                      </p:cBhvr>
                                    </p:animRot>
                                    <p:animRot by="-240000">
                                      <p:cBhvr>
                                        <p:cTn id="9" dur="200" fill="hold">
                                          <p:stCondLst>
                                            <p:cond delay="600"/>
                                          </p:stCondLst>
                                        </p:cTn>
                                        <p:tgtEl>
                                          <p:spTgt spid="6"/>
                                        </p:tgtEl>
                                        <p:attrNameLst>
                                          <p:attrName>r</p:attrName>
                                        </p:attrNameLst>
                                      </p:cBhvr>
                                    </p:animRot>
                                    <p:animRot by="120000">
                                      <p:cBhvr>
                                        <p:cTn id="10" dur="200" fill="hold">
                                          <p:stCondLst>
                                            <p:cond delay="800"/>
                                          </p:stCondLst>
                                        </p:cTn>
                                        <p:tgtEl>
                                          <p:spTgt spid="6"/>
                                        </p:tgtEl>
                                        <p:attrNameLst>
                                          <p:attrName>r</p:attrName>
                                        </p:attrNameLst>
                                      </p:cBhvr>
                                    </p:animRot>
                                  </p:childTnLst>
                                </p:cTn>
                              </p:par>
                              <p:par>
                                <p:cTn id="11" presetID="32" presetClass="emph" presetSubtype="0" repeatCount="indefinite" fill="hold" grpId="0" nodeType="withEffect">
                                  <p:stCondLst>
                                    <p:cond delay="0"/>
                                  </p:stCondLst>
                                  <p:endCondLst>
                                    <p:cond evt="onNext" delay="0">
                                      <p:tgtEl>
                                        <p:sldTgt/>
                                      </p:tgtEl>
                                    </p:cond>
                                  </p:endCondLst>
                                  <p:childTnLst>
                                    <p:animRot by="120000">
                                      <p:cBhvr>
                                        <p:cTn id="12" dur="100" fill="hold">
                                          <p:stCondLst>
                                            <p:cond delay="0"/>
                                          </p:stCondLst>
                                        </p:cTn>
                                        <p:tgtEl>
                                          <p:spTgt spid="7"/>
                                        </p:tgtEl>
                                        <p:attrNameLst>
                                          <p:attrName>r</p:attrName>
                                        </p:attrNameLst>
                                      </p:cBhvr>
                                    </p:animRot>
                                    <p:animRot by="-240000">
                                      <p:cBhvr>
                                        <p:cTn id="13" dur="200" fill="hold">
                                          <p:stCondLst>
                                            <p:cond delay="200"/>
                                          </p:stCondLst>
                                        </p:cTn>
                                        <p:tgtEl>
                                          <p:spTgt spid="7"/>
                                        </p:tgtEl>
                                        <p:attrNameLst>
                                          <p:attrName>r</p:attrName>
                                        </p:attrNameLst>
                                      </p:cBhvr>
                                    </p:animRot>
                                    <p:animRot by="240000">
                                      <p:cBhvr>
                                        <p:cTn id="14" dur="200" fill="hold">
                                          <p:stCondLst>
                                            <p:cond delay="400"/>
                                          </p:stCondLst>
                                        </p:cTn>
                                        <p:tgtEl>
                                          <p:spTgt spid="7"/>
                                        </p:tgtEl>
                                        <p:attrNameLst>
                                          <p:attrName>r</p:attrName>
                                        </p:attrNameLst>
                                      </p:cBhvr>
                                    </p:animRot>
                                    <p:animRot by="-240000">
                                      <p:cBhvr>
                                        <p:cTn id="15" dur="200" fill="hold">
                                          <p:stCondLst>
                                            <p:cond delay="600"/>
                                          </p:stCondLst>
                                        </p:cTn>
                                        <p:tgtEl>
                                          <p:spTgt spid="7"/>
                                        </p:tgtEl>
                                        <p:attrNameLst>
                                          <p:attrName>r</p:attrName>
                                        </p:attrNameLst>
                                      </p:cBhvr>
                                    </p:animRot>
                                    <p:animRot by="120000">
                                      <p:cBhvr>
                                        <p:cTn id="16" dur="200" fill="hold">
                                          <p:stCondLst>
                                            <p:cond delay="800"/>
                                          </p:stCondLst>
                                        </p:cTn>
                                        <p:tgtEl>
                                          <p:spTgt spid="7"/>
                                        </p:tgtEl>
                                        <p:attrNameLst>
                                          <p:attrName>r</p:attrName>
                                        </p:attrNameLst>
                                      </p:cBhvr>
                                    </p:animRot>
                                  </p:childTnLst>
                                </p:cTn>
                              </p:par>
                              <p:par>
                                <p:cTn id="17" presetID="32" presetClass="emph" presetSubtype="0" repeatCount="indefinite" fill="hold" grpId="0" nodeType="withEffect">
                                  <p:stCondLst>
                                    <p:cond delay="0"/>
                                  </p:stCondLst>
                                  <p:endCondLst>
                                    <p:cond evt="onNext" delay="0">
                                      <p:tgtEl>
                                        <p:sldTgt/>
                                      </p:tgtEl>
                                    </p:cond>
                                  </p:endCondLst>
                                  <p:childTnLst>
                                    <p:animRot by="120000">
                                      <p:cBhvr>
                                        <p:cTn id="18" dur="100" fill="hold">
                                          <p:stCondLst>
                                            <p:cond delay="0"/>
                                          </p:stCondLst>
                                        </p:cTn>
                                        <p:tgtEl>
                                          <p:spTgt spid="8"/>
                                        </p:tgtEl>
                                        <p:attrNameLst>
                                          <p:attrName>r</p:attrName>
                                        </p:attrNameLst>
                                      </p:cBhvr>
                                    </p:animRot>
                                    <p:animRot by="-240000">
                                      <p:cBhvr>
                                        <p:cTn id="19" dur="200" fill="hold">
                                          <p:stCondLst>
                                            <p:cond delay="200"/>
                                          </p:stCondLst>
                                        </p:cTn>
                                        <p:tgtEl>
                                          <p:spTgt spid="8"/>
                                        </p:tgtEl>
                                        <p:attrNameLst>
                                          <p:attrName>r</p:attrName>
                                        </p:attrNameLst>
                                      </p:cBhvr>
                                    </p:animRot>
                                    <p:animRot by="240000">
                                      <p:cBhvr>
                                        <p:cTn id="20" dur="200" fill="hold">
                                          <p:stCondLst>
                                            <p:cond delay="400"/>
                                          </p:stCondLst>
                                        </p:cTn>
                                        <p:tgtEl>
                                          <p:spTgt spid="8"/>
                                        </p:tgtEl>
                                        <p:attrNameLst>
                                          <p:attrName>r</p:attrName>
                                        </p:attrNameLst>
                                      </p:cBhvr>
                                    </p:animRot>
                                    <p:animRot by="-240000">
                                      <p:cBhvr>
                                        <p:cTn id="21" dur="200" fill="hold">
                                          <p:stCondLst>
                                            <p:cond delay="600"/>
                                          </p:stCondLst>
                                        </p:cTn>
                                        <p:tgtEl>
                                          <p:spTgt spid="8"/>
                                        </p:tgtEl>
                                        <p:attrNameLst>
                                          <p:attrName>r</p:attrName>
                                        </p:attrNameLst>
                                      </p:cBhvr>
                                    </p:animRot>
                                    <p:animRot by="120000">
                                      <p:cBhvr>
                                        <p:cTn id="22" dur="200" fill="hold">
                                          <p:stCondLst>
                                            <p:cond delay="800"/>
                                          </p:stCondLst>
                                        </p:cTn>
                                        <p:tgtEl>
                                          <p:spTgt spid="8"/>
                                        </p:tgtEl>
                                        <p:attrNameLst>
                                          <p:attrName>r</p:attrName>
                                        </p:attrNameLst>
                                      </p:cBhvr>
                                    </p:animRot>
                                  </p:childTnLst>
                                </p:cTn>
                              </p:par>
                              <p:par>
                                <p:cTn id="23" presetID="32" presetClass="emph" presetSubtype="0" repeatCount="indefinite" fill="hold" grpId="0" nodeType="withEffect">
                                  <p:stCondLst>
                                    <p:cond delay="0"/>
                                  </p:stCondLst>
                                  <p:endCondLst>
                                    <p:cond evt="onNext" delay="0">
                                      <p:tgtEl>
                                        <p:sldTgt/>
                                      </p:tgtEl>
                                    </p:cond>
                                  </p:endCondLst>
                                  <p:childTnLst>
                                    <p:animRot by="120000">
                                      <p:cBhvr>
                                        <p:cTn id="24" dur="100" fill="hold">
                                          <p:stCondLst>
                                            <p:cond delay="0"/>
                                          </p:stCondLst>
                                        </p:cTn>
                                        <p:tgtEl>
                                          <p:spTgt spid="9"/>
                                        </p:tgtEl>
                                        <p:attrNameLst>
                                          <p:attrName>r</p:attrName>
                                        </p:attrNameLst>
                                      </p:cBhvr>
                                    </p:animRot>
                                    <p:animRot by="-240000">
                                      <p:cBhvr>
                                        <p:cTn id="25" dur="200" fill="hold">
                                          <p:stCondLst>
                                            <p:cond delay="200"/>
                                          </p:stCondLst>
                                        </p:cTn>
                                        <p:tgtEl>
                                          <p:spTgt spid="9"/>
                                        </p:tgtEl>
                                        <p:attrNameLst>
                                          <p:attrName>r</p:attrName>
                                        </p:attrNameLst>
                                      </p:cBhvr>
                                    </p:animRot>
                                    <p:animRot by="240000">
                                      <p:cBhvr>
                                        <p:cTn id="26" dur="200" fill="hold">
                                          <p:stCondLst>
                                            <p:cond delay="400"/>
                                          </p:stCondLst>
                                        </p:cTn>
                                        <p:tgtEl>
                                          <p:spTgt spid="9"/>
                                        </p:tgtEl>
                                        <p:attrNameLst>
                                          <p:attrName>r</p:attrName>
                                        </p:attrNameLst>
                                      </p:cBhvr>
                                    </p:animRot>
                                    <p:animRot by="-240000">
                                      <p:cBhvr>
                                        <p:cTn id="27" dur="200" fill="hold">
                                          <p:stCondLst>
                                            <p:cond delay="600"/>
                                          </p:stCondLst>
                                        </p:cTn>
                                        <p:tgtEl>
                                          <p:spTgt spid="9"/>
                                        </p:tgtEl>
                                        <p:attrNameLst>
                                          <p:attrName>r</p:attrName>
                                        </p:attrNameLst>
                                      </p:cBhvr>
                                    </p:animRot>
                                    <p:animRot by="120000">
                                      <p:cBhvr>
                                        <p:cTn id="28" dur="200" fill="hold">
                                          <p:stCondLst>
                                            <p:cond delay="800"/>
                                          </p:stCondLst>
                                        </p:cTn>
                                        <p:tgtEl>
                                          <p:spTgt spid="9"/>
                                        </p:tgtEl>
                                        <p:attrNameLst>
                                          <p:attrName>r</p:attrName>
                                        </p:attrNameLst>
                                      </p:cBhvr>
                                    </p:animRot>
                                  </p:childTnLst>
                                </p:cTn>
                              </p:par>
                              <p:par>
                                <p:cTn id="29" presetID="32" presetClass="emph" presetSubtype="0" repeatCount="indefinite" fill="hold" grpId="0" nodeType="withEffect">
                                  <p:stCondLst>
                                    <p:cond delay="0"/>
                                  </p:stCondLst>
                                  <p:endCondLst>
                                    <p:cond evt="onNext" delay="0">
                                      <p:tgtEl>
                                        <p:sldTgt/>
                                      </p:tgtEl>
                                    </p:cond>
                                  </p:endCondLst>
                                  <p:childTnLst>
                                    <p:animRot by="120000">
                                      <p:cBhvr>
                                        <p:cTn id="30" dur="300" fill="hold">
                                          <p:stCondLst>
                                            <p:cond delay="0"/>
                                          </p:stCondLst>
                                        </p:cTn>
                                        <p:tgtEl>
                                          <p:spTgt spid="10"/>
                                        </p:tgtEl>
                                        <p:attrNameLst>
                                          <p:attrName>r</p:attrName>
                                        </p:attrNameLst>
                                      </p:cBhvr>
                                    </p:animRot>
                                    <p:animRot by="-240000">
                                      <p:cBhvr>
                                        <p:cTn id="31" dur="600" fill="hold">
                                          <p:stCondLst>
                                            <p:cond delay="600"/>
                                          </p:stCondLst>
                                        </p:cTn>
                                        <p:tgtEl>
                                          <p:spTgt spid="10"/>
                                        </p:tgtEl>
                                        <p:attrNameLst>
                                          <p:attrName>r</p:attrName>
                                        </p:attrNameLst>
                                      </p:cBhvr>
                                    </p:animRot>
                                    <p:animRot by="240000">
                                      <p:cBhvr>
                                        <p:cTn id="32" dur="600" fill="hold">
                                          <p:stCondLst>
                                            <p:cond delay="1200"/>
                                          </p:stCondLst>
                                        </p:cTn>
                                        <p:tgtEl>
                                          <p:spTgt spid="10"/>
                                        </p:tgtEl>
                                        <p:attrNameLst>
                                          <p:attrName>r</p:attrName>
                                        </p:attrNameLst>
                                      </p:cBhvr>
                                    </p:animRot>
                                    <p:animRot by="-240000">
                                      <p:cBhvr>
                                        <p:cTn id="33" dur="600" fill="hold">
                                          <p:stCondLst>
                                            <p:cond delay="1800"/>
                                          </p:stCondLst>
                                        </p:cTn>
                                        <p:tgtEl>
                                          <p:spTgt spid="10"/>
                                        </p:tgtEl>
                                        <p:attrNameLst>
                                          <p:attrName>r</p:attrName>
                                        </p:attrNameLst>
                                      </p:cBhvr>
                                    </p:animRot>
                                    <p:animRot by="120000">
                                      <p:cBhvr>
                                        <p:cTn id="34" dur="600" fill="hold">
                                          <p:stCondLst>
                                            <p:cond delay="2400"/>
                                          </p:stCondLst>
                                        </p:cTn>
                                        <p:tgtEl>
                                          <p:spTgt spid="10"/>
                                        </p:tgtEl>
                                        <p:attrNameLst>
                                          <p:attrName>r</p:attrName>
                                        </p:attrNameLst>
                                      </p:cBhvr>
                                    </p:animRot>
                                  </p:childTnLst>
                                </p:cTn>
                              </p:par>
                              <p:par>
                                <p:cTn id="35" presetID="32" presetClass="emph" presetSubtype="0" repeatCount="indefinite" fill="hold" grpId="0" nodeType="withEffect">
                                  <p:stCondLst>
                                    <p:cond delay="0"/>
                                  </p:stCondLst>
                                  <p:endCondLst>
                                    <p:cond evt="onNext" delay="0">
                                      <p:tgtEl>
                                        <p:sldTgt/>
                                      </p:tgtEl>
                                    </p:cond>
                                  </p:endCondLst>
                                  <p:childTnLst>
                                    <p:animRot by="120000">
                                      <p:cBhvr>
                                        <p:cTn id="36" dur="100" fill="hold">
                                          <p:stCondLst>
                                            <p:cond delay="0"/>
                                          </p:stCondLst>
                                        </p:cTn>
                                        <p:tgtEl>
                                          <p:spTgt spid="11"/>
                                        </p:tgtEl>
                                        <p:attrNameLst>
                                          <p:attrName>r</p:attrName>
                                        </p:attrNameLst>
                                      </p:cBhvr>
                                    </p:animRot>
                                    <p:animRot by="-240000">
                                      <p:cBhvr>
                                        <p:cTn id="37" dur="200" fill="hold">
                                          <p:stCondLst>
                                            <p:cond delay="200"/>
                                          </p:stCondLst>
                                        </p:cTn>
                                        <p:tgtEl>
                                          <p:spTgt spid="11"/>
                                        </p:tgtEl>
                                        <p:attrNameLst>
                                          <p:attrName>r</p:attrName>
                                        </p:attrNameLst>
                                      </p:cBhvr>
                                    </p:animRot>
                                    <p:animRot by="240000">
                                      <p:cBhvr>
                                        <p:cTn id="38" dur="200" fill="hold">
                                          <p:stCondLst>
                                            <p:cond delay="400"/>
                                          </p:stCondLst>
                                        </p:cTn>
                                        <p:tgtEl>
                                          <p:spTgt spid="11"/>
                                        </p:tgtEl>
                                        <p:attrNameLst>
                                          <p:attrName>r</p:attrName>
                                        </p:attrNameLst>
                                      </p:cBhvr>
                                    </p:animRot>
                                    <p:animRot by="-240000">
                                      <p:cBhvr>
                                        <p:cTn id="39" dur="200" fill="hold">
                                          <p:stCondLst>
                                            <p:cond delay="600"/>
                                          </p:stCondLst>
                                        </p:cTn>
                                        <p:tgtEl>
                                          <p:spTgt spid="11"/>
                                        </p:tgtEl>
                                        <p:attrNameLst>
                                          <p:attrName>r</p:attrName>
                                        </p:attrNameLst>
                                      </p:cBhvr>
                                    </p:animRot>
                                    <p:animRot by="120000">
                                      <p:cBhvr>
                                        <p:cTn id="40" dur="200" fill="hold">
                                          <p:stCondLst>
                                            <p:cond delay="800"/>
                                          </p:stCondLst>
                                        </p:cTn>
                                        <p:tgtEl>
                                          <p:spTgt spid="11"/>
                                        </p:tgtEl>
                                        <p:attrNameLst>
                                          <p:attrName>r</p:attrName>
                                        </p:attrNameLst>
                                      </p:cBhvr>
                                    </p:animRot>
                                  </p:childTnLst>
                                </p:cTn>
                              </p:par>
                              <p:par>
                                <p:cTn id="41" presetID="32" presetClass="emph" presetSubtype="0" repeatCount="indefinite" fill="hold" grpId="0" nodeType="withEffect">
                                  <p:stCondLst>
                                    <p:cond delay="0"/>
                                  </p:stCondLst>
                                  <p:endCondLst>
                                    <p:cond evt="onNext" delay="0">
                                      <p:tgtEl>
                                        <p:sldTgt/>
                                      </p:tgtEl>
                                    </p:cond>
                                  </p:endCondLst>
                                  <p:childTnLst>
                                    <p:animRot by="120000">
                                      <p:cBhvr>
                                        <p:cTn id="42" dur="300" fill="hold">
                                          <p:stCondLst>
                                            <p:cond delay="0"/>
                                          </p:stCondLst>
                                        </p:cTn>
                                        <p:tgtEl>
                                          <p:spTgt spid="12"/>
                                        </p:tgtEl>
                                        <p:attrNameLst>
                                          <p:attrName>r</p:attrName>
                                        </p:attrNameLst>
                                      </p:cBhvr>
                                    </p:animRot>
                                    <p:animRot by="-240000">
                                      <p:cBhvr>
                                        <p:cTn id="43" dur="600" fill="hold">
                                          <p:stCondLst>
                                            <p:cond delay="600"/>
                                          </p:stCondLst>
                                        </p:cTn>
                                        <p:tgtEl>
                                          <p:spTgt spid="12"/>
                                        </p:tgtEl>
                                        <p:attrNameLst>
                                          <p:attrName>r</p:attrName>
                                        </p:attrNameLst>
                                      </p:cBhvr>
                                    </p:animRot>
                                    <p:animRot by="240000">
                                      <p:cBhvr>
                                        <p:cTn id="44" dur="600" fill="hold">
                                          <p:stCondLst>
                                            <p:cond delay="1200"/>
                                          </p:stCondLst>
                                        </p:cTn>
                                        <p:tgtEl>
                                          <p:spTgt spid="12"/>
                                        </p:tgtEl>
                                        <p:attrNameLst>
                                          <p:attrName>r</p:attrName>
                                        </p:attrNameLst>
                                      </p:cBhvr>
                                    </p:animRot>
                                    <p:animRot by="-240000">
                                      <p:cBhvr>
                                        <p:cTn id="45" dur="600" fill="hold">
                                          <p:stCondLst>
                                            <p:cond delay="1800"/>
                                          </p:stCondLst>
                                        </p:cTn>
                                        <p:tgtEl>
                                          <p:spTgt spid="12"/>
                                        </p:tgtEl>
                                        <p:attrNameLst>
                                          <p:attrName>r</p:attrName>
                                        </p:attrNameLst>
                                      </p:cBhvr>
                                    </p:animRot>
                                    <p:animRot by="120000">
                                      <p:cBhvr>
                                        <p:cTn id="46" dur="600" fill="hold">
                                          <p:stCondLst>
                                            <p:cond delay="2400"/>
                                          </p:stCondLst>
                                        </p:cTn>
                                        <p:tgtEl>
                                          <p:spTgt spid="12"/>
                                        </p:tgtEl>
                                        <p:attrNameLst>
                                          <p:attrName>r</p:attrName>
                                        </p:attrNameLst>
                                      </p:cBhvr>
                                    </p:animRot>
                                  </p:childTnLst>
                                </p:cTn>
                              </p:par>
                              <p:par>
                                <p:cTn id="47" presetID="32" presetClass="emph" presetSubtype="0" repeatCount="indefinite" fill="hold" grpId="0" nodeType="withEffect">
                                  <p:stCondLst>
                                    <p:cond delay="0"/>
                                  </p:stCondLst>
                                  <p:endCondLst>
                                    <p:cond evt="onNext" delay="0">
                                      <p:tgtEl>
                                        <p:sldTgt/>
                                      </p:tgtEl>
                                    </p:cond>
                                  </p:endCondLst>
                                  <p:childTnLst>
                                    <p:animRot by="120000">
                                      <p:cBhvr>
                                        <p:cTn id="48" dur="100" fill="hold">
                                          <p:stCondLst>
                                            <p:cond delay="0"/>
                                          </p:stCondLst>
                                        </p:cTn>
                                        <p:tgtEl>
                                          <p:spTgt spid="13"/>
                                        </p:tgtEl>
                                        <p:attrNameLst>
                                          <p:attrName>r</p:attrName>
                                        </p:attrNameLst>
                                      </p:cBhvr>
                                    </p:animRot>
                                    <p:animRot by="-240000">
                                      <p:cBhvr>
                                        <p:cTn id="49" dur="200" fill="hold">
                                          <p:stCondLst>
                                            <p:cond delay="200"/>
                                          </p:stCondLst>
                                        </p:cTn>
                                        <p:tgtEl>
                                          <p:spTgt spid="13"/>
                                        </p:tgtEl>
                                        <p:attrNameLst>
                                          <p:attrName>r</p:attrName>
                                        </p:attrNameLst>
                                      </p:cBhvr>
                                    </p:animRot>
                                    <p:animRot by="240000">
                                      <p:cBhvr>
                                        <p:cTn id="50" dur="200" fill="hold">
                                          <p:stCondLst>
                                            <p:cond delay="400"/>
                                          </p:stCondLst>
                                        </p:cTn>
                                        <p:tgtEl>
                                          <p:spTgt spid="13"/>
                                        </p:tgtEl>
                                        <p:attrNameLst>
                                          <p:attrName>r</p:attrName>
                                        </p:attrNameLst>
                                      </p:cBhvr>
                                    </p:animRot>
                                    <p:animRot by="-240000">
                                      <p:cBhvr>
                                        <p:cTn id="51" dur="200" fill="hold">
                                          <p:stCondLst>
                                            <p:cond delay="600"/>
                                          </p:stCondLst>
                                        </p:cTn>
                                        <p:tgtEl>
                                          <p:spTgt spid="13"/>
                                        </p:tgtEl>
                                        <p:attrNameLst>
                                          <p:attrName>r</p:attrName>
                                        </p:attrNameLst>
                                      </p:cBhvr>
                                    </p:animRot>
                                    <p:animRot by="120000">
                                      <p:cBhvr>
                                        <p:cTn id="52" dur="200" fill="hold">
                                          <p:stCondLst>
                                            <p:cond delay="800"/>
                                          </p:stCondLst>
                                        </p:cTn>
                                        <p:tgtEl>
                                          <p:spTgt spid="13"/>
                                        </p:tgtEl>
                                        <p:attrNameLst>
                                          <p:attrName>r</p:attrName>
                                        </p:attrNameLst>
                                      </p:cBhvr>
                                    </p:animRot>
                                  </p:childTnLst>
                                </p:cTn>
                              </p:par>
                              <p:par>
                                <p:cTn id="53" presetID="32" presetClass="emph" presetSubtype="0" repeatCount="indefinite" fill="hold" grpId="0" nodeType="withEffect">
                                  <p:stCondLst>
                                    <p:cond delay="0"/>
                                  </p:stCondLst>
                                  <p:endCondLst>
                                    <p:cond evt="onNext" delay="0">
                                      <p:tgtEl>
                                        <p:sldTgt/>
                                      </p:tgtEl>
                                    </p:cond>
                                  </p:endCondLst>
                                  <p:childTnLst>
                                    <p:animRot by="120000">
                                      <p:cBhvr>
                                        <p:cTn id="54" dur="100" fill="hold">
                                          <p:stCondLst>
                                            <p:cond delay="0"/>
                                          </p:stCondLst>
                                        </p:cTn>
                                        <p:tgtEl>
                                          <p:spTgt spid="14"/>
                                        </p:tgtEl>
                                        <p:attrNameLst>
                                          <p:attrName>r</p:attrName>
                                        </p:attrNameLst>
                                      </p:cBhvr>
                                    </p:animRot>
                                    <p:animRot by="-240000">
                                      <p:cBhvr>
                                        <p:cTn id="55" dur="200" fill="hold">
                                          <p:stCondLst>
                                            <p:cond delay="200"/>
                                          </p:stCondLst>
                                        </p:cTn>
                                        <p:tgtEl>
                                          <p:spTgt spid="14"/>
                                        </p:tgtEl>
                                        <p:attrNameLst>
                                          <p:attrName>r</p:attrName>
                                        </p:attrNameLst>
                                      </p:cBhvr>
                                    </p:animRot>
                                    <p:animRot by="240000">
                                      <p:cBhvr>
                                        <p:cTn id="56" dur="200" fill="hold">
                                          <p:stCondLst>
                                            <p:cond delay="400"/>
                                          </p:stCondLst>
                                        </p:cTn>
                                        <p:tgtEl>
                                          <p:spTgt spid="14"/>
                                        </p:tgtEl>
                                        <p:attrNameLst>
                                          <p:attrName>r</p:attrName>
                                        </p:attrNameLst>
                                      </p:cBhvr>
                                    </p:animRot>
                                    <p:animRot by="-240000">
                                      <p:cBhvr>
                                        <p:cTn id="57" dur="200" fill="hold">
                                          <p:stCondLst>
                                            <p:cond delay="600"/>
                                          </p:stCondLst>
                                        </p:cTn>
                                        <p:tgtEl>
                                          <p:spTgt spid="14"/>
                                        </p:tgtEl>
                                        <p:attrNameLst>
                                          <p:attrName>r</p:attrName>
                                        </p:attrNameLst>
                                      </p:cBhvr>
                                    </p:animRot>
                                    <p:animRot by="120000">
                                      <p:cBhvr>
                                        <p:cTn id="58" dur="200" fill="hold">
                                          <p:stCondLst>
                                            <p:cond delay="800"/>
                                          </p:stCondLst>
                                        </p:cTn>
                                        <p:tgtEl>
                                          <p:spTgt spid="14"/>
                                        </p:tgtEl>
                                        <p:attrNameLst>
                                          <p:attrName>r</p:attrName>
                                        </p:attrNameLst>
                                      </p:cBhvr>
                                    </p:animRot>
                                  </p:childTnLst>
                                </p:cTn>
                              </p:par>
                              <p:par>
                                <p:cTn id="59" presetID="32" presetClass="emph" presetSubtype="0" repeatCount="indefinite" fill="hold" grpId="0" nodeType="withEffect">
                                  <p:stCondLst>
                                    <p:cond delay="0"/>
                                  </p:stCondLst>
                                  <p:endCondLst>
                                    <p:cond evt="onNext" delay="0">
                                      <p:tgtEl>
                                        <p:sldTgt/>
                                      </p:tgtEl>
                                    </p:cond>
                                  </p:endCondLst>
                                  <p:childTnLst>
                                    <p:animRot by="120000">
                                      <p:cBhvr>
                                        <p:cTn id="60" dur="100" fill="hold">
                                          <p:stCondLst>
                                            <p:cond delay="0"/>
                                          </p:stCondLst>
                                        </p:cTn>
                                        <p:tgtEl>
                                          <p:spTgt spid="15"/>
                                        </p:tgtEl>
                                        <p:attrNameLst>
                                          <p:attrName>r</p:attrName>
                                        </p:attrNameLst>
                                      </p:cBhvr>
                                    </p:animRot>
                                    <p:animRot by="-240000">
                                      <p:cBhvr>
                                        <p:cTn id="61" dur="200" fill="hold">
                                          <p:stCondLst>
                                            <p:cond delay="200"/>
                                          </p:stCondLst>
                                        </p:cTn>
                                        <p:tgtEl>
                                          <p:spTgt spid="15"/>
                                        </p:tgtEl>
                                        <p:attrNameLst>
                                          <p:attrName>r</p:attrName>
                                        </p:attrNameLst>
                                      </p:cBhvr>
                                    </p:animRot>
                                    <p:animRot by="240000">
                                      <p:cBhvr>
                                        <p:cTn id="62" dur="200" fill="hold">
                                          <p:stCondLst>
                                            <p:cond delay="400"/>
                                          </p:stCondLst>
                                        </p:cTn>
                                        <p:tgtEl>
                                          <p:spTgt spid="15"/>
                                        </p:tgtEl>
                                        <p:attrNameLst>
                                          <p:attrName>r</p:attrName>
                                        </p:attrNameLst>
                                      </p:cBhvr>
                                    </p:animRot>
                                    <p:animRot by="-240000">
                                      <p:cBhvr>
                                        <p:cTn id="63" dur="200" fill="hold">
                                          <p:stCondLst>
                                            <p:cond delay="600"/>
                                          </p:stCondLst>
                                        </p:cTn>
                                        <p:tgtEl>
                                          <p:spTgt spid="15"/>
                                        </p:tgtEl>
                                        <p:attrNameLst>
                                          <p:attrName>r</p:attrName>
                                        </p:attrNameLst>
                                      </p:cBhvr>
                                    </p:animRot>
                                    <p:animRot by="120000">
                                      <p:cBhvr>
                                        <p:cTn id="64" dur="200" fill="hold">
                                          <p:stCondLst>
                                            <p:cond delay="800"/>
                                          </p:stCondLst>
                                        </p:cTn>
                                        <p:tgtEl>
                                          <p:spTgt spid="15"/>
                                        </p:tgtEl>
                                        <p:attrNameLst>
                                          <p:attrName>r</p:attrName>
                                        </p:attrNameLst>
                                      </p:cBhvr>
                                    </p:animRot>
                                  </p:childTnLst>
                                </p:cTn>
                              </p:par>
                              <p:par>
                                <p:cTn id="65" presetID="32" presetClass="emph" presetSubtype="0" repeatCount="indefinite" fill="hold" grpId="0" nodeType="withEffect">
                                  <p:stCondLst>
                                    <p:cond delay="0"/>
                                  </p:stCondLst>
                                  <p:endCondLst>
                                    <p:cond evt="onNext" delay="0">
                                      <p:tgtEl>
                                        <p:sldTgt/>
                                      </p:tgtEl>
                                    </p:cond>
                                  </p:endCondLst>
                                  <p:childTnLst>
                                    <p:animRot by="120000">
                                      <p:cBhvr>
                                        <p:cTn id="66" dur="100" fill="hold">
                                          <p:stCondLst>
                                            <p:cond delay="0"/>
                                          </p:stCondLst>
                                        </p:cTn>
                                        <p:tgtEl>
                                          <p:spTgt spid="16"/>
                                        </p:tgtEl>
                                        <p:attrNameLst>
                                          <p:attrName>r</p:attrName>
                                        </p:attrNameLst>
                                      </p:cBhvr>
                                    </p:animRot>
                                    <p:animRot by="-240000">
                                      <p:cBhvr>
                                        <p:cTn id="67" dur="200" fill="hold">
                                          <p:stCondLst>
                                            <p:cond delay="200"/>
                                          </p:stCondLst>
                                        </p:cTn>
                                        <p:tgtEl>
                                          <p:spTgt spid="16"/>
                                        </p:tgtEl>
                                        <p:attrNameLst>
                                          <p:attrName>r</p:attrName>
                                        </p:attrNameLst>
                                      </p:cBhvr>
                                    </p:animRot>
                                    <p:animRot by="240000">
                                      <p:cBhvr>
                                        <p:cTn id="68" dur="200" fill="hold">
                                          <p:stCondLst>
                                            <p:cond delay="400"/>
                                          </p:stCondLst>
                                        </p:cTn>
                                        <p:tgtEl>
                                          <p:spTgt spid="16"/>
                                        </p:tgtEl>
                                        <p:attrNameLst>
                                          <p:attrName>r</p:attrName>
                                        </p:attrNameLst>
                                      </p:cBhvr>
                                    </p:animRot>
                                    <p:animRot by="-240000">
                                      <p:cBhvr>
                                        <p:cTn id="69" dur="200" fill="hold">
                                          <p:stCondLst>
                                            <p:cond delay="600"/>
                                          </p:stCondLst>
                                        </p:cTn>
                                        <p:tgtEl>
                                          <p:spTgt spid="16"/>
                                        </p:tgtEl>
                                        <p:attrNameLst>
                                          <p:attrName>r</p:attrName>
                                        </p:attrNameLst>
                                      </p:cBhvr>
                                    </p:animRot>
                                    <p:animRot by="120000">
                                      <p:cBhvr>
                                        <p:cTn id="70" dur="200" fill="hold">
                                          <p:stCondLst>
                                            <p:cond delay="800"/>
                                          </p:stCondLst>
                                        </p:cTn>
                                        <p:tgtEl>
                                          <p:spTgt spid="16"/>
                                        </p:tgtEl>
                                        <p:attrNameLst>
                                          <p:attrName>r</p:attrName>
                                        </p:attrNameLst>
                                      </p:cBhvr>
                                    </p:animRot>
                                  </p:childTnLst>
                                </p:cTn>
                              </p:par>
                              <p:par>
                                <p:cTn id="71" presetID="32" presetClass="emph" presetSubtype="0" repeatCount="indefinite" fill="hold" grpId="0" nodeType="withEffect">
                                  <p:stCondLst>
                                    <p:cond delay="0"/>
                                  </p:stCondLst>
                                  <p:endCondLst>
                                    <p:cond evt="onNext" delay="0">
                                      <p:tgtEl>
                                        <p:sldTgt/>
                                      </p:tgtEl>
                                    </p:cond>
                                  </p:endCondLst>
                                  <p:childTnLst>
                                    <p:animRot by="120000">
                                      <p:cBhvr>
                                        <p:cTn id="72" dur="300" fill="hold">
                                          <p:stCondLst>
                                            <p:cond delay="0"/>
                                          </p:stCondLst>
                                        </p:cTn>
                                        <p:tgtEl>
                                          <p:spTgt spid="17"/>
                                        </p:tgtEl>
                                        <p:attrNameLst>
                                          <p:attrName>r</p:attrName>
                                        </p:attrNameLst>
                                      </p:cBhvr>
                                    </p:animRot>
                                    <p:animRot by="-240000">
                                      <p:cBhvr>
                                        <p:cTn id="73" dur="600" fill="hold">
                                          <p:stCondLst>
                                            <p:cond delay="600"/>
                                          </p:stCondLst>
                                        </p:cTn>
                                        <p:tgtEl>
                                          <p:spTgt spid="17"/>
                                        </p:tgtEl>
                                        <p:attrNameLst>
                                          <p:attrName>r</p:attrName>
                                        </p:attrNameLst>
                                      </p:cBhvr>
                                    </p:animRot>
                                    <p:animRot by="240000">
                                      <p:cBhvr>
                                        <p:cTn id="74" dur="600" fill="hold">
                                          <p:stCondLst>
                                            <p:cond delay="1200"/>
                                          </p:stCondLst>
                                        </p:cTn>
                                        <p:tgtEl>
                                          <p:spTgt spid="17"/>
                                        </p:tgtEl>
                                        <p:attrNameLst>
                                          <p:attrName>r</p:attrName>
                                        </p:attrNameLst>
                                      </p:cBhvr>
                                    </p:animRot>
                                    <p:animRot by="-240000">
                                      <p:cBhvr>
                                        <p:cTn id="75" dur="600" fill="hold">
                                          <p:stCondLst>
                                            <p:cond delay="1800"/>
                                          </p:stCondLst>
                                        </p:cTn>
                                        <p:tgtEl>
                                          <p:spTgt spid="17"/>
                                        </p:tgtEl>
                                        <p:attrNameLst>
                                          <p:attrName>r</p:attrName>
                                        </p:attrNameLst>
                                      </p:cBhvr>
                                    </p:animRot>
                                    <p:animRot by="120000">
                                      <p:cBhvr>
                                        <p:cTn id="76" dur="600" fill="hold">
                                          <p:stCondLst>
                                            <p:cond delay="2400"/>
                                          </p:stCondLst>
                                        </p:cTn>
                                        <p:tgtEl>
                                          <p:spTgt spid="17"/>
                                        </p:tgtEl>
                                        <p:attrNameLst>
                                          <p:attrName>r</p:attrName>
                                        </p:attrNameLst>
                                      </p:cBhvr>
                                    </p:animRot>
                                  </p:childTnLst>
                                </p:cTn>
                              </p:par>
                              <p:par>
                                <p:cTn id="77" presetID="32" presetClass="emph" presetSubtype="0" repeatCount="indefinite" fill="hold" grpId="0" nodeType="withEffect">
                                  <p:stCondLst>
                                    <p:cond delay="0"/>
                                  </p:stCondLst>
                                  <p:endCondLst>
                                    <p:cond evt="onNext" delay="0">
                                      <p:tgtEl>
                                        <p:sldTgt/>
                                      </p:tgtEl>
                                    </p:cond>
                                  </p:endCondLst>
                                  <p:childTnLst>
                                    <p:animRot by="120000">
                                      <p:cBhvr>
                                        <p:cTn id="78" dur="100" fill="hold">
                                          <p:stCondLst>
                                            <p:cond delay="0"/>
                                          </p:stCondLst>
                                        </p:cTn>
                                        <p:tgtEl>
                                          <p:spTgt spid="18"/>
                                        </p:tgtEl>
                                        <p:attrNameLst>
                                          <p:attrName>r</p:attrName>
                                        </p:attrNameLst>
                                      </p:cBhvr>
                                    </p:animRot>
                                    <p:animRot by="-240000">
                                      <p:cBhvr>
                                        <p:cTn id="79" dur="200" fill="hold">
                                          <p:stCondLst>
                                            <p:cond delay="200"/>
                                          </p:stCondLst>
                                        </p:cTn>
                                        <p:tgtEl>
                                          <p:spTgt spid="18"/>
                                        </p:tgtEl>
                                        <p:attrNameLst>
                                          <p:attrName>r</p:attrName>
                                        </p:attrNameLst>
                                      </p:cBhvr>
                                    </p:animRot>
                                    <p:animRot by="240000">
                                      <p:cBhvr>
                                        <p:cTn id="80" dur="200" fill="hold">
                                          <p:stCondLst>
                                            <p:cond delay="400"/>
                                          </p:stCondLst>
                                        </p:cTn>
                                        <p:tgtEl>
                                          <p:spTgt spid="18"/>
                                        </p:tgtEl>
                                        <p:attrNameLst>
                                          <p:attrName>r</p:attrName>
                                        </p:attrNameLst>
                                      </p:cBhvr>
                                    </p:animRot>
                                    <p:animRot by="-240000">
                                      <p:cBhvr>
                                        <p:cTn id="81" dur="200" fill="hold">
                                          <p:stCondLst>
                                            <p:cond delay="600"/>
                                          </p:stCondLst>
                                        </p:cTn>
                                        <p:tgtEl>
                                          <p:spTgt spid="18"/>
                                        </p:tgtEl>
                                        <p:attrNameLst>
                                          <p:attrName>r</p:attrName>
                                        </p:attrNameLst>
                                      </p:cBhvr>
                                    </p:animRot>
                                    <p:animRot by="120000">
                                      <p:cBhvr>
                                        <p:cTn id="82" dur="200" fill="hold">
                                          <p:stCondLst>
                                            <p:cond delay="800"/>
                                          </p:stCondLst>
                                        </p:cTn>
                                        <p:tgtEl>
                                          <p:spTgt spid="18"/>
                                        </p:tgtEl>
                                        <p:attrNameLst>
                                          <p:attrName>r</p:attrName>
                                        </p:attrNameLst>
                                      </p:cBhvr>
                                    </p:animRot>
                                  </p:childTnLst>
                                </p:cTn>
                              </p:par>
                              <p:par>
                                <p:cTn id="83" presetID="32" presetClass="emph" presetSubtype="0" repeatCount="indefinite" fill="hold" grpId="0" nodeType="withEffect">
                                  <p:stCondLst>
                                    <p:cond delay="0"/>
                                  </p:stCondLst>
                                  <p:endCondLst>
                                    <p:cond evt="onNext" delay="0">
                                      <p:tgtEl>
                                        <p:sldTgt/>
                                      </p:tgtEl>
                                    </p:cond>
                                  </p:endCondLst>
                                  <p:childTnLst>
                                    <p:animRot by="120000">
                                      <p:cBhvr>
                                        <p:cTn id="84" dur="300" fill="hold">
                                          <p:stCondLst>
                                            <p:cond delay="0"/>
                                          </p:stCondLst>
                                        </p:cTn>
                                        <p:tgtEl>
                                          <p:spTgt spid="19"/>
                                        </p:tgtEl>
                                        <p:attrNameLst>
                                          <p:attrName>r</p:attrName>
                                        </p:attrNameLst>
                                      </p:cBhvr>
                                    </p:animRot>
                                    <p:animRot by="-240000">
                                      <p:cBhvr>
                                        <p:cTn id="85" dur="600" fill="hold">
                                          <p:stCondLst>
                                            <p:cond delay="600"/>
                                          </p:stCondLst>
                                        </p:cTn>
                                        <p:tgtEl>
                                          <p:spTgt spid="19"/>
                                        </p:tgtEl>
                                        <p:attrNameLst>
                                          <p:attrName>r</p:attrName>
                                        </p:attrNameLst>
                                      </p:cBhvr>
                                    </p:animRot>
                                    <p:animRot by="240000">
                                      <p:cBhvr>
                                        <p:cTn id="86" dur="600" fill="hold">
                                          <p:stCondLst>
                                            <p:cond delay="1200"/>
                                          </p:stCondLst>
                                        </p:cTn>
                                        <p:tgtEl>
                                          <p:spTgt spid="19"/>
                                        </p:tgtEl>
                                        <p:attrNameLst>
                                          <p:attrName>r</p:attrName>
                                        </p:attrNameLst>
                                      </p:cBhvr>
                                    </p:animRot>
                                    <p:animRot by="-240000">
                                      <p:cBhvr>
                                        <p:cTn id="87" dur="600" fill="hold">
                                          <p:stCondLst>
                                            <p:cond delay="1800"/>
                                          </p:stCondLst>
                                        </p:cTn>
                                        <p:tgtEl>
                                          <p:spTgt spid="19"/>
                                        </p:tgtEl>
                                        <p:attrNameLst>
                                          <p:attrName>r</p:attrName>
                                        </p:attrNameLst>
                                      </p:cBhvr>
                                    </p:animRot>
                                    <p:animRot by="120000">
                                      <p:cBhvr>
                                        <p:cTn id="88" dur="600" fill="hold">
                                          <p:stCondLst>
                                            <p:cond delay="2400"/>
                                          </p:stCondLst>
                                        </p:cTn>
                                        <p:tgtEl>
                                          <p:spTgt spid="19"/>
                                        </p:tgtEl>
                                        <p:attrNameLst>
                                          <p:attrName>r</p:attrName>
                                        </p:attrNameLst>
                                      </p:cBhvr>
                                    </p:animRot>
                                  </p:childTnLst>
                                </p:cTn>
                              </p:par>
                              <p:par>
                                <p:cTn id="89" presetID="32" presetClass="emph" presetSubtype="0" repeatCount="indefinite" fill="hold" grpId="0" nodeType="withEffect">
                                  <p:stCondLst>
                                    <p:cond delay="0"/>
                                  </p:stCondLst>
                                  <p:endCondLst>
                                    <p:cond evt="onNext" delay="0">
                                      <p:tgtEl>
                                        <p:sldTgt/>
                                      </p:tgtEl>
                                    </p:cond>
                                  </p:endCondLst>
                                  <p:childTnLst>
                                    <p:animRot by="120000">
                                      <p:cBhvr>
                                        <p:cTn id="90" dur="300" fill="hold">
                                          <p:stCondLst>
                                            <p:cond delay="0"/>
                                          </p:stCondLst>
                                        </p:cTn>
                                        <p:tgtEl>
                                          <p:spTgt spid="30"/>
                                        </p:tgtEl>
                                        <p:attrNameLst>
                                          <p:attrName>r</p:attrName>
                                        </p:attrNameLst>
                                      </p:cBhvr>
                                    </p:animRot>
                                    <p:animRot by="-240000">
                                      <p:cBhvr>
                                        <p:cTn id="91" dur="600" fill="hold">
                                          <p:stCondLst>
                                            <p:cond delay="600"/>
                                          </p:stCondLst>
                                        </p:cTn>
                                        <p:tgtEl>
                                          <p:spTgt spid="30"/>
                                        </p:tgtEl>
                                        <p:attrNameLst>
                                          <p:attrName>r</p:attrName>
                                        </p:attrNameLst>
                                      </p:cBhvr>
                                    </p:animRot>
                                    <p:animRot by="240000">
                                      <p:cBhvr>
                                        <p:cTn id="92" dur="600" fill="hold">
                                          <p:stCondLst>
                                            <p:cond delay="1200"/>
                                          </p:stCondLst>
                                        </p:cTn>
                                        <p:tgtEl>
                                          <p:spTgt spid="30"/>
                                        </p:tgtEl>
                                        <p:attrNameLst>
                                          <p:attrName>r</p:attrName>
                                        </p:attrNameLst>
                                      </p:cBhvr>
                                    </p:animRot>
                                    <p:animRot by="-240000">
                                      <p:cBhvr>
                                        <p:cTn id="93" dur="600" fill="hold">
                                          <p:stCondLst>
                                            <p:cond delay="1800"/>
                                          </p:stCondLst>
                                        </p:cTn>
                                        <p:tgtEl>
                                          <p:spTgt spid="30"/>
                                        </p:tgtEl>
                                        <p:attrNameLst>
                                          <p:attrName>r</p:attrName>
                                        </p:attrNameLst>
                                      </p:cBhvr>
                                    </p:animRot>
                                    <p:animRot by="120000">
                                      <p:cBhvr>
                                        <p:cTn id="94" dur="600" fill="hold">
                                          <p:stCondLst>
                                            <p:cond delay="2400"/>
                                          </p:stCondLst>
                                        </p:cTn>
                                        <p:tgtEl>
                                          <p:spTgt spid="30"/>
                                        </p:tgtEl>
                                        <p:attrNameLst>
                                          <p:attrName>r</p:attrName>
                                        </p:attrNameLst>
                                      </p:cBhvr>
                                    </p:animRot>
                                  </p:childTnLst>
                                </p:cTn>
                              </p:par>
                              <p:par>
                                <p:cTn id="95" presetID="32" presetClass="emph" presetSubtype="0" repeatCount="indefinite" fill="hold" grpId="0" nodeType="withEffect">
                                  <p:stCondLst>
                                    <p:cond delay="0"/>
                                  </p:stCondLst>
                                  <p:endCondLst>
                                    <p:cond evt="onNext" delay="0">
                                      <p:tgtEl>
                                        <p:sldTgt/>
                                      </p:tgtEl>
                                    </p:cond>
                                  </p:endCondLst>
                                  <p:childTnLst>
                                    <p:animRot by="120000">
                                      <p:cBhvr>
                                        <p:cTn id="96" dur="100" fill="hold">
                                          <p:stCondLst>
                                            <p:cond delay="0"/>
                                          </p:stCondLst>
                                        </p:cTn>
                                        <p:tgtEl>
                                          <p:spTgt spid="31"/>
                                        </p:tgtEl>
                                        <p:attrNameLst>
                                          <p:attrName>r</p:attrName>
                                        </p:attrNameLst>
                                      </p:cBhvr>
                                    </p:animRot>
                                    <p:animRot by="-240000">
                                      <p:cBhvr>
                                        <p:cTn id="97" dur="200" fill="hold">
                                          <p:stCondLst>
                                            <p:cond delay="200"/>
                                          </p:stCondLst>
                                        </p:cTn>
                                        <p:tgtEl>
                                          <p:spTgt spid="31"/>
                                        </p:tgtEl>
                                        <p:attrNameLst>
                                          <p:attrName>r</p:attrName>
                                        </p:attrNameLst>
                                      </p:cBhvr>
                                    </p:animRot>
                                    <p:animRot by="240000">
                                      <p:cBhvr>
                                        <p:cTn id="98" dur="200" fill="hold">
                                          <p:stCondLst>
                                            <p:cond delay="400"/>
                                          </p:stCondLst>
                                        </p:cTn>
                                        <p:tgtEl>
                                          <p:spTgt spid="31"/>
                                        </p:tgtEl>
                                        <p:attrNameLst>
                                          <p:attrName>r</p:attrName>
                                        </p:attrNameLst>
                                      </p:cBhvr>
                                    </p:animRot>
                                    <p:animRot by="-240000">
                                      <p:cBhvr>
                                        <p:cTn id="99" dur="200" fill="hold">
                                          <p:stCondLst>
                                            <p:cond delay="600"/>
                                          </p:stCondLst>
                                        </p:cTn>
                                        <p:tgtEl>
                                          <p:spTgt spid="31"/>
                                        </p:tgtEl>
                                        <p:attrNameLst>
                                          <p:attrName>r</p:attrName>
                                        </p:attrNameLst>
                                      </p:cBhvr>
                                    </p:animRot>
                                    <p:animRot by="120000">
                                      <p:cBhvr>
                                        <p:cTn id="100" dur="200" fill="hold">
                                          <p:stCondLst>
                                            <p:cond delay="800"/>
                                          </p:stCondLst>
                                        </p:cTn>
                                        <p:tgtEl>
                                          <p:spTgt spid="31"/>
                                        </p:tgtEl>
                                        <p:attrNameLst>
                                          <p:attrName>r</p:attrName>
                                        </p:attrNameLst>
                                      </p:cBhvr>
                                    </p:animRot>
                                  </p:childTnLst>
                                </p:cTn>
                              </p:par>
                              <p:par>
                                <p:cTn id="101" presetID="32" presetClass="emph" presetSubtype="0" repeatCount="indefinite" fill="hold" nodeType="withEffect">
                                  <p:stCondLst>
                                    <p:cond delay="0"/>
                                  </p:stCondLst>
                                  <p:endCondLst>
                                    <p:cond evt="onNext" delay="0">
                                      <p:tgtEl>
                                        <p:sldTgt/>
                                      </p:tgtEl>
                                    </p:cond>
                                  </p:endCondLst>
                                  <p:childTnLst>
                                    <p:animRot by="120000">
                                      <p:cBhvr>
                                        <p:cTn id="102" dur="50" fill="hold">
                                          <p:stCondLst>
                                            <p:cond delay="0"/>
                                          </p:stCondLst>
                                        </p:cTn>
                                        <p:tgtEl>
                                          <p:spTgt spid="20"/>
                                        </p:tgtEl>
                                        <p:attrNameLst>
                                          <p:attrName>r</p:attrName>
                                        </p:attrNameLst>
                                      </p:cBhvr>
                                    </p:animRot>
                                    <p:animRot by="-240000">
                                      <p:cBhvr>
                                        <p:cTn id="103" dur="100" fill="hold">
                                          <p:stCondLst>
                                            <p:cond delay="100"/>
                                          </p:stCondLst>
                                        </p:cTn>
                                        <p:tgtEl>
                                          <p:spTgt spid="20"/>
                                        </p:tgtEl>
                                        <p:attrNameLst>
                                          <p:attrName>r</p:attrName>
                                        </p:attrNameLst>
                                      </p:cBhvr>
                                    </p:animRot>
                                    <p:animRot by="240000">
                                      <p:cBhvr>
                                        <p:cTn id="104" dur="100" fill="hold">
                                          <p:stCondLst>
                                            <p:cond delay="200"/>
                                          </p:stCondLst>
                                        </p:cTn>
                                        <p:tgtEl>
                                          <p:spTgt spid="20"/>
                                        </p:tgtEl>
                                        <p:attrNameLst>
                                          <p:attrName>r</p:attrName>
                                        </p:attrNameLst>
                                      </p:cBhvr>
                                    </p:animRot>
                                    <p:animRot by="-240000">
                                      <p:cBhvr>
                                        <p:cTn id="105" dur="100" fill="hold">
                                          <p:stCondLst>
                                            <p:cond delay="300"/>
                                          </p:stCondLst>
                                        </p:cTn>
                                        <p:tgtEl>
                                          <p:spTgt spid="20"/>
                                        </p:tgtEl>
                                        <p:attrNameLst>
                                          <p:attrName>r</p:attrName>
                                        </p:attrNameLst>
                                      </p:cBhvr>
                                    </p:animRot>
                                    <p:animRot by="120000">
                                      <p:cBhvr>
                                        <p:cTn id="106" dur="100" fill="hold">
                                          <p:stCondLst>
                                            <p:cond delay="400"/>
                                          </p:stCondLst>
                                        </p:cTn>
                                        <p:tgtEl>
                                          <p:spTgt spid="20"/>
                                        </p:tgtEl>
                                        <p:attrNameLst>
                                          <p:attrName>r</p:attrName>
                                        </p:attrNameLst>
                                      </p:cBhvr>
                                    </p:animRot>
                                  </p:childTnLst>
                                </p:cTn>
                              </p:par>
                              <p:par>
                                <p:cTn id="107" presetID="32" presetClass="emph" presetSubtype="0" repeatCount="indefinite" fill="hold" nodeType="withEffect">
                                  <p:stCondLst>
                                    <p:cond delay="0"/>
                                  </p:stCondLst>
                                  <p:endCondLst>
                                    <p:cond evt="onNext" delay="0">
                                      <p:tgtEl>
                                        <p:sldTgt/>
                                      </p:tgtEl>
                                    </p:cond>
                                  </p:endCondLst>
                                  <p:childTnLst>
                                    <p:animRot by="120000">
                                      <p:cBhvr>
                                        <p:cTn id="108" dur="100" fill="hold">
                                          <p:stCondLst>
                                            <p:cond delay="0"/>
                                          </p:stCondLst>
                                        </p:cTn>
                                        <p:tgtEl>
                                          <p:spTgt spid="25"/>
                                        </p:tgtEl>
                                        <p:attrNameLst>
                                          <p:attrName>r</p:attrName>
                                        </p:attrNameLst>
                                      </p:cBhvr>
                                    </p:animRot>
                                    <p:animRot by="-240000">
                                      <p:cBhvr>
                                        <p:cTn id="109" dur="200" fill="hold">
                                          <p:stCondLst>
                                            <p:cond delay="200"/>
                                          </p:stCondLst>
                                        </p:cTn>
                                        <p:tgtEl>
                                          <p:spTgt spid="25"/>
                                        </p:tgtEl>
                                        <p:attrNameLst>
                                          <p:attrName>r</p:attrName>
                                        </p:attrNameLst>
                                      </p:cBhvr>
                                    </p:animRot>
                                    <p:animRot by="240000">
                                      <p:cBhvr>
                                        <p:cTn id="110" dur="200" fill="hold">
                                          <p:stCondLst>
                                            <p:cond delay="400"/>
                                          </p:stCondLst>
                                        </p:cTn>
                                        <p:tgtEl>
                                          <p:spTgt spid="25"/>
                                        </p:tgtEl>
                                        <p:attrNameLst>
                                          <p:attrName>r</p:attrName>
                                        </p:attrNameLst>
                                      </p:cBhvr>
                                    </p:animRot>
                                    <p:animRot by="-240000">
                                      <p:cBhvr>
                                        <p:cTn id="111" dur="200" fill="hold">
                                          <p:stCondLst>
                                            <p:cond delay="600"/>
                                          </p:stCondLst>
                                        </p:cTn>
                                        <p:tgtEl>
                                          <p:spTgt spid="25"/>
                                        </p:tgtEl>
                                        <p:attrNameLst>
                                          <p:attrName>r</p:attrName>
                                        </p:attrNameLst>
                                      </p:cBhvr>
                                    </p:animRot>
                                    <p:animRot by="120000">
                                      <p:cBhvr>
                                        <p:cTn id="112" dur="200" fill="hold">
                                          <p:stCondLst>
                                            <p:cond delay="800"/>
                                          </p:stCondLst>
                                        </p:cTn>
                                        <p:tgtEl>
                                          <p:spTgt spid="25"/>
                                        </p:tgtEl>
                                        <p:attrNameLst>
                                          <p:attrName>r</p:attrName>
                                        </p:attrNameLst>
                                      </p:cBhvr>
                                    </p:animRot>
                                  </p:childTnLst>
                                </p:cTn>
                              </p:par>
                              <p:par>
                                <p:cTn id="113" presetID="0" presetClass="path" presetSubtype="0" accel="50000" decel="50000" fill="hold" nodeType="withEffect">
                                  <p:stCondLst>
                                    <p:cond delay="2500"/>
                                  </p:stCondLst>
                                  <p:childTnLst>
                                    <p:animMotion origin="layout" path="M 0.00144 -3.90379E-6 C 0.02339 -0.02752 0.09886 -0.14315 0.1692 -0.2049 C 0.30796 -0.32007 0.40618 -0.31429 0.45874 -0.32192 " pathEditMode="relative" rAng="0" ptsTypes="fff">
                                      <p:cBhvr>
                                        <p:cTn id="114" dur="2000" fill="hold"/>
                                        <p:tgtEl>
                                          <p:spTgt spid="20"/>
                                        </p:tgtEl>
                                        <p:attrNameLst>
                                          <p:attrName>ppt_x</p:attrName>
                                          <p:attrName>ppt_y</p:attrName>
                                        </p:attrNameLst>
                                      </p:cBhvr>
                                      <p:rCtr x="22865" y="-16096"/>
                                    </p:animMotion>
                                  </p:childTnLst>
                                </p:cTn>
                              </p:par>
                              <p:par>
                                <p:cTn id="115" presetID="0" presetClass="path" presetSubtype="0" accel="50000" decel="50000" fill="hold" nodeType="withEffect">
                                  <p:stCondLst>
                                    <p:cond delay="2500"/>
                                  </p:stCondLst>
                                  <p:childTnLst>
                                    <p:animMotion origin="layout" path="M 8.38007E-7 -3.90379E-6 C -0.03301 -0.02243 -0.09133 -0.08302 -0.19837 -0.13529 C -0.36405 -0.21623 -0.46227 -0.23959 -0.51514 -0.2604 " pathEditMode="relative" rAng="0" ptsTypes="fff">
                                      <p:cBhvr>
                                        <p:cTn id="116" dur="2000" fill="hold"/>
                                        <p:tgtEl>
                                          <p:spTgt spid="25"/>
                                        </p:tgtEl>
                                        <p:attrNameLst>
                                          <p:attrName>ppt_x</p:attrName>
                                          <p:attrName>ppt_y</p:attrName>
                                        </p:attrNameLst>
                                      </p:cBhvr>
                                      <p:rCtr x="-25765" y="-13020"/>
                                    </p:animMotion>
                                  </p:childTnLst>
                                </p:cTn>
                              </p:par>
                              <p:par>
                                <p:cTn id="117" presetID="32" presetClass="emph" presetSubtype="0" repeatCount="indefinite" fill="hold" grpId="0" nodeType="withEffect">
                                  <p:stCondLst>
                                    <p:cond delay="0"/>
                                  </p:stCondLst>
                                  <p:endCondLst>
                                    <p:cond evt="onNext" delay="0">
                                      <p:tgtEl>
                                        <p:sldTgt/>
                                      </p:tgtEl>
                                    </p:cond>
                                  </p:endCondLst>
                                  <p:childTnLst>
                                    <p:animRot by="120000">
                                      <p:cBhvr>
                                        <p:cTn id="118" dur="300" fill="hold">
                                          <p:stCondLst>
                                            <p:cond delay="0"/>
                                          </p:stCondLst>
                                        </p:cTn>
                                        <p:tgtEl>
                                          <p:spTgt spid="39"/>
                                        </p:tgtEl>
                                        <p:attrNameLst>
                                          <p:attrName>r</p:attrName>
                                        </p:attrNameLst>
                                      </p:cBhvr>
                                    </p:animRot>
                                    <p:animRot by="-240000">
                                      <p:cBhvr>
                                        <p:cTn id="119" dur="600" fill="hold">
                                          <p:stCondLst>
                                            <p:cond delay="600"/>
                                          </p:stCondLst>
                                        </p:cTn>
                                        <p:tgtEl>
                                          <p:spTgt spid="39"/>
                                        </p:tgtEl>
                                        <p:attrNameLst>
                                          <p:attrName>r</p:attrName>
                                        </p:attrNameLst>
                                      </p:cBhvr>
                                    </p:animRot>
                                    <p:animRot by="240000">
                                      <p:cBhvr>
                                        <p:cTn id="120" dur="600" fill="hold">
                                          <p:stCondLst>
                                            <p:cond delay="1200"/>
                                          </p:stCondLst>
                                        </p:cTn>
                                        <p:tgtEl>
                                          <p:spTgt spid="39"/>
                                        </p:tgtEl>
                                        <p:attrNameLst>
                                          <p:attrName>r</p:attrName>
                                        </p:attrNameLst>
                                      </p:cBhvr>
                                    </p:animRot>
                                    <p:animRot by="-240000">
                                      <p:cBhvr>
                                        <p:cTn id="121" dur="600" fill="hold">
                                          <p:stCondLst>
                                            <p:cond delay="1800"/>
                                          </p:stCondLst>
                                        </p:cTn>
                                        <p:tgtEl>
                                          <p:spTgt spid="39"/>
                                        </p:tgtEl>
                                        <p:attrNameLst>
                                          <p:attrName>r</p:attrName>
                                        </p:attrNameLst>
                                      </p:cBhvr>
                                    </p:animRot>
                                    <p:animRot by="120000">
                                      <p:cBhvr>
                                        <p:cTn id="122" dur="600" fill="hold">
                                          <p:stCondLst>
                                            <p:cond delay="2400"/>
                                          </p:stCondLst>
                                        </p:cTn>
                                        <p:tgtEl>
                                          <p:spTgt spid="39"/>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P spid="9"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30" grpId="0" animBg="1"/>
      <p:bldP spid="31" grpId="0" animBg="1"/>
      <p:bldP spid="39"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p:cNvSpPr>
            <a:spLocks noGrp="1"/>
          </p:cNvSpPr>
          <p:nvPr>
            <p:ph type="sldNum" sz="quarter" idx="12"/>
          </p:nvPr>
        </p:nvSpPr>
        <p:spPr/>
        <p:txBody>
          <a:bodyPr/>
          <a:lstStyle/>
          <a:p>
            <a:fld id="{4AD1E780-DE1C-4ECA-B5E5-863D0BC53287}" type="slidenum">
              <a:rPr lang="de-DE" smtClean="0"/>
              <a:pPr/>
              <a:t>4</a:t>
            </a:fld>
            <a:endParaRPr lang="de-DE" dirty="0"/>
          </a:p>
        </p:txBody>
      </p:sp>
      <p:sp>
        <p:nvSpPr>
          <p:cNvPr id="3" name="Textplatzhalter 2"/>
          <p:cNvSpPr>
            <a:spLocks noGrp="1"/>
          </p:cNvSpPr>
          <p:nvPr>
            <p:ph type="body" sz="quarter" idx="13"/>
          </p:nvPr>
        </p:nvSpPr>
        <p:spPr>
          <a:xfrm>
            <a:off x="356256" y="358547"/>
            <a:ext cx="8885499" cy="697671"/>
          </a:xfrm>
        </p:spPr>
        <p:txBody>
          <a:bodyPr anchor="t" anchorCtr="0"/>
          <a:lstStyle/>
          <a:p>
            <a:r>
              <a:rPr lang="de-DE" sz="3600" b="1" dirty="0" smtClean="0">
                <a:solidFill>
                  <a:schemeClr val="accent6"/>
                </a:solidFill>
              </a:rPr>
              <a:t>For </a:t>
            </a:r>
            <a:r>
              <a:rPr lang="de-DE" sz="3600" b="1" dirty="0" err="1" smtClean="0">
                <a:solidFill>
                  <a:schemeClr val="accent6"/>
                </a:solidFill>
              </a:rPr>
              <a:t>the</a:t>
            </a:r>
            <a:r>
              <a:rPr lang="de-DE" sz="3600" b="1" dirty="0" smtClean="0">
                <a:solidFill>
                  <a:schemeClr val="accent6"/>
                </a:solidFill>
              </a:rPr>
              <a:t> </a:t>
            </a:r>
            <a:r>
              <a:rPr lang="de-DE" sz="3600" b="1" dirty="0" err="1" smtClean="0">
                <a:solidFill>
                  <a:schemeClr val="accent6"/>
                </a:solidFill>
              </a:rPr>
              <a:t>past</a:t>
            </a:r>
            <a:r>
              <a:rPr lang="de-DE" sz="3600" b="1" dirty="0" smtClean="0">
                <a:solidFill>
                  <a:schemeClr val="accent6"/>
                </a:solidFill>
              </a:rPr>
              <a:t> 15 </a:t>
            </a:r>
            <a:r>
              <a:rPr lang="de-DE" sz="3600" b="1" dirty="0" err="1" smtClean="0">
                <a:solidFill>
                  <a:schemeClr val="accent6"/>
                </a:solidFill>
              </a:rPr>
              <a:t>years</a:t>
            </a:r>
            <a:r>
              <a:rPr lang="de-DE" sz="3600" b="1" dirty="0" smtClean="0">
                <a:solidFill>
                  <a:schemeClr val="accent6"/>
                </a:solidFill>
              </a:rPr>
              <a:t>, OA </a:t>
            </a:r>
            <a:r>
              <a:rPr lang="de-DE" sz="3600" b="1" dirty="0" err="1" smtClean="0">
                <a:solidFill>
                  <a:schemeClr val="accent6"/>
                </a:solidFill>
              </a:rPr>
              <a:t>strategies</a:t>
            </a:r>
            <a:r>
              <a:rPr lang="de-DE" sz="3600" b="1" dirty="0" smtClean="0">
                <a:solidFill>
                  <a:schemeClr val="accent6"/>
                </a:solidFill>
              </a:rPr>
              <a:t> </a:t>
            </a:r>
            <a:r>
              <a:rPr lang="de-DE" sz="3600" b="1" dirty="0" err="1" smtClean="0">
                <a:solidFill>
                  <a:schemeClr val="accent6"/>
                </a:solidFill>
              </a:rPr>
              <a:t>were</a:t>
            </a:r>
            <a:r>
              <a:rPr lang="de-DE" sz="3600" b="1" dirty="0" smtClean="0">
                <a:solidFill>
                  <a:schemeClr val="accent6"/>
                </a:solidFill>
              </a:rPr>
              <a:t> </a:t>
            </a:r>
            <a:r>
              <a:rPr lang="de-DE" sz="3600" b="1" dirty="0" err="1" smtClean="0">
                <a:solidFill>
                  <a:schemeClr val="accent6"/>
                </a:solidFill>
              </a:rPr>
              <a:t>based</a:t>
            </a:r>
            <a:r>
              <a:rPr lang="de-DE" sz="3600" b="1" dirty="0" smtClean="0">
                <a:solidFill>
                  <a:schemeClr val="accent6"/>
                </a:solidFill>
              </a:rPr>
              <a:t> on </a:t>
            </a:r>
            <a:r>
              <a:rPr lang="de-DE" sz="3600" b="1" dirty="0" err="1" smtClean="0">
                <a:solidFill>
                  <a:schemeClr val="accent6"/>
                </a:solidFill>
              </a:rPr>
              <a:t>forcing</a:t>
            </a:r>
            <a:r>
              <a:rPr lang="de-DE" sz="3600" b="1" dirty="0" smtClean="0">
                <a:solidFill>
                  <a:schemeClr val="accent6"/>
                </a:solidFill>
              </a:rPr>
              <a:t> </a:t>
            </a:r>
            <a:r>
              <a:rPr lang="de-DE" sz="3600" b="1" dirty="0" err="1" smtClean="0">
                <a:solidFill>
                  <a:schemeClr val="accent6"/>
                </a:solidFill>
              </a:rPr>
              <a:t>researchers</a:t>
            </a:r>
            <a:r>
              <a:rPr lang="de-DE" sz="3600" b="1" dirty="0" smtClean="0">
                <a:solidFill>
                  <a:schemeClr val="accent6"/>
                </a:solidFill>
              </a:rPr>
              <a:t> </a:t>
            </a:r>
            <a:r>
              <a:rPr lang="de-DE" sz="3600" b="1" dirty="0" err="1" smtClean="0">
                <a:solidFill>
                  <a:schemeClr val="accent6"/>
                </a:solidFill>
              </a:rPr>
              <a:t>to</a:t>
            </a:r>
            <a:r>
              <a:rPr lang="de-DE" sz="3600" b="1" dirty="0" smtClean="0">
                <a:solidFill>
                  <a:schemeClr val="accent6"/>
                </a:solidFill>
              </a:rPr>
              <a:t> </a:t>
            </a:r>
            <a:r>
              <a:rPr lang="de-DE" sz="3600" b="1" dirty="0" err="1" smtClean="0">
                <a:solidFill>
                  <a:schemeClr val="accent6"/>
                </a:solidFill>
              </a:rPr>
              <a:t>change</a:t>
            </a:r>
            <a:r>
              <a:rPr lang="de-DE" sz="3600" b="1" dirty="0" smtClean="0">
                <a:solidFill>
                  <a:schemeClr val="accent6"/>
                </a:solidFill>
              </a:rPr>
              <a:t> </a:t>
            </a:r>
            <a:r>
              <a:rPr lang="de-DE" sz="3600" b="1" dirty="0" err="1" smtClean="0">
                <a:solidFill>
                  <a:schemeClr val="accent6"/>
                </a:solidFill>
              </a:rPr>
              <a:t>practice</a:t>
            </a:r>
            <a:endParaRPr lang="de-DE" sz="3600" b="1" dirty="0" smtClean="0">
              <a:solidFill>
                <a:schemeClr val="accent6"/>
              </a:solidFill>
            </a:endParaRPr>
          </a:p>
          <a:p>
            <a:endParaRPr lang="de-DE" sz="3600" dirty="0" smtClean="0"/>
          </a:p>
        </p:txBody>
      </p:sp>
      <p:sp>
        <p:nvSpPr>
          <p:cNvPr id="7" name="Ellipse 3"/>
          <p:cNvSpPr/>
          <p:nvPr/>
        </p:nvSpPr>
        <p:spPr>
          <a:xfrm>
            <a:off x="3276600" y="3778874"/>
            <a:ext cx="3295650" cy="1676400"/>
          </a:xfrm>
          <a:custGeom>
            <a:avLst/>
            <a:gdLst>
              <a:gd name="connsiteX0" fmla="*/ 0 w 3295650"/>
              <a:gd name="connsiteY0" fmla="*/ 1676400 h 3352800"/>
              <a:gd name="connsiteX1" fmla="*/ 1647825 w 3295650"/>
              <a:gd name="connsiteY1" fmla="*/ 0 h 3352800"/>
              <a:gd name="connsiteX2" fmla="*/ 3295650 w 3295650"/>
              <a:gd name="connsiteY2" fmla="*/ 1676400 h 3352800"/>
              <a:gd name="connsiteX3" fmla="*/ 1647825 w 3295650"/>
              <a:gd name="connsiteY3" fmla="*/ 3352800 h 3352800"/>
              <a:gd name="connsiteX4" fmla="*/ 0 w 3295650"/>
              <a:gd name="connsiteY4" fmla="*/ 1676400 h 3352800"/>
              <a:gd name="connsiteX0" fmla="*/ 0 w 3295650"/>
              <a:gd name="connsiteY0" fmla="*/ 1676400 h 1676400"/>
              <a:gd name="connsiteX1" fmla="*/ 1647825 w 3295650"/>
              <a:gd name="connsiteY1" fmla="*/ 0 h 1676400"/>
              <a:gd name="connsiteX2" fmla="*/ 3295650 w 3295650"/>
              <a:gd name="connsiteY2" fmla="*/ 1676400 h 1676400"/>
              <a:gd name="connsiteX3" fmla="*/ 0 w 3295650"/>
              <a:gd name="connsiteY3" fmla="*/ 1676400 h 1676400"/>
              <a:gd name="connsiteX0" fmla="*/ 0 w 3295650"/>
              <a:gd name="connsiteY0" fmla="*/ 1676400 h 1799178"/>
              <a:gd name="connsiteX1" fmla="*/ 1647825 w 3295650"/>
              <a:gd name="connsiteY1" fmla="*/ 0 h 1799178"/>
              <a:gd name="connsiteX2" fmla="*/ 3295650 w 3295650"/>
              <a:gd name="connsiteY2" fmla="*/ 1676400 h 1799178"/>
              <a:gd name="connsiteX3" fmla="*/ 0 w 3295650"/>
              <a:gd name="connsiteY3" fmla="*/ 1676400 h 1799178"/>
              <a:gd name="connsiteX0" fmla="*/ 0 w 3295650"/>
              <a:gd name="connsiteY0" fmla="*/ 1676400 h 1799178"/>
              <a:gd name="connsiteX1" fmla="*/ 1647825 w 3295650"/>
              <a:gd name="connsiteY1" fmla="*/ 0 h 1799178"/>
              <a:gd name="connsiteX2" fmla="*/ 3295650 w 3295650"/>
              <a:gd name="connsiteY2" fmla="*/ 1676400 h 1799178"/>
              <a:gd name="connsiteX3" fmla="*/ 0 w 3295650"/>
              <a:gd name="connsiteY3" fmla="*/ 1676400 h 1799178"/>
              <a:gd name="connsiteX0" fmla="*/ 0 w 3295650"/>
              <a:gd name="connsiteY0" fmla="*/ 1676400 h 1677067"/>
              <a:gd name="connsiteX1" fmla="*/ 1647825 w 3295650"/>
              <a:gd name="connsiteY1" fmla="*/ 0 h 1677067"/>
              <a:gd name="connsiteX2" fmla="*/ 3295650 w 3295650"/>
              <a:gd name="connsiteY2" fmla="*/ 1676400 h 1677067"/>
              <a:gd name="connsiteX3" fmla="*/ 0 w 3295650"/>
              <a:gd name="connsiteY3" fmla="*/ 1676400 h 1677067"/>
              <a:gd name="connsiteX0" fmla="*/ 0 w 3295650"/>
              <a:gd name="connsiteY0" fmla="*/ 1676400 h 1677067"/>
              <a:gd name="connsiteX1" fmla="*/ 1647825 w 3295650"/>
              <a:gd name="connsiteY1" fmla="*/ 0 h 1677067"/>
              <a:gd name="connsiteX2" fmla="*/ 3295650 w 3295650"/>
              <a:gd name="connsiteY2" fmla="*/ 1676400 h 1677067"/>
              <a:gd name="connsiteX3" fmla="*/ 0 w 3295650"/>
              <a:gd name="connsiteY3" fmla="*/ 1676400 h 1677067"/>
              <a:gd name="connsiteX0" fmla="*/ 0 w 3295650"/>
              <a:gd name="connsiteY0" fmla="*/ 1676400 h 1677067"/>
              <a:gd name="connsiteX1" fmla="*/ 1647825 w 3295650"/>
              <a:gd name="connsiteY1" fmla="*/ 0 h 1677067"/>
              <a:gd name="connsiteX2" fmla="*/ 3295650 w 3295650"/>
              <a:gd name="connsiteY2" fmla="*/ 1676400 h 1677067"/>
              <a:gd name="connsiteX3" fmla="*/ 0 w 3295650"/>
              <a:gd name="connsiteY3" fmla="*/ 1676400 h 1677067"/>
              <a:gd name="connsiteX0" fmla="*/ 0 w 3295650"/>
              <a:gd name="connsiteY0" fmla="*/ 1676400 h 1676400"/>
              <a:gd name="connsiteX1" fmla="*/ 1647825 w 3295650"/>
              <a:gd name="connsiteY1" fmla="*/ 0 h 1676400"/>
              <a:gd name="connsiteX2" fmla="*/ 3295650 w 3295650"/>
              <a:gd name="connsiteY2" fmla="*/ 1676400 h 1676400"/>
              <a:gd name="connsiteX3" fmla="*/ 0 w 3295650"/>
              <a:gd name="connsiteY3" fmla="*/ 1676400 h 1676400"/>
            </a:gdLst>
            <a:ahLst/>
            <a:cxnLst>
              <a:cxn ang="0">
                <a:pos x="connsiteX0" y="connsiteY0"/>
              </a:cxn>
              <a:cxn ang="0">
                <a:pos x="connsiteX1" y="connsiteY1"/>
              </a:cxn>
              <a:cxn ang="0">
                <a:pos x="connsiteX2" y="connsiteY2"/>
              </a:cxn>
              <a:cxn ang="0">
                <a:pos x="connsiteX3" y="connsiteY3"/>
              </a:cxn>
            </a:cxnLst>
            <a:rect l="l" t="t" r="r" b="b"/>
            <a:pathLst>
              <a:path w="3295650" h="1676400">
                <a:moveTo>
                  <a:pt x="0" y="1676400"/>
                </a:moveTo>
                <a:cubicBezTo>
                  <a:pt x="0" y="750550"/>
                  <a:pt x="737756" y="0"/>
                  <a:pt x="1647825" y="0"/>
                </a:cubicBezTo>
                <a:cubicBezTo>
                  <a:pt x="2557894" y="0"/>
                  <a:pt x="3295650" y="750550"/>
                  <a:pt x="3295650" y="1676400"/>
                </a:cubicBezTo>
                <a:lnTo>
                  <a:pt x="0" y="1676400"/>
                </a:lnTo>
                <a:close/>
              </a:path>
            </a:pathLst>
          </a:cu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pic>
        <p:nvPicPr>
          <p:cNvPr id="8" name="Grafik 53"/>
          <p:cNvPicPr>
            <a:picLocks noChangeAspect="1"/>
          </p:cNvPicPr>
          <p:nvPr/>
        </p:nvPicPr>
        <p:blipFill>
          <a:blip r:embed="rId13">
            <a:grayscl/>
            <a:extLst>
              <a:ext uri="{28A0092B-C50C-407E-A947-70E740481C1C}">
                <a14:useLocalDpi xmlns:a14="http://schemas.microsoft.com/office/drawing/2010/main" val="0"/>
              </a:ext>
            </a:extLst>
          </a:blip>
          <a:stretch>
            <a:fillRect/>
          </a:stretch>
        </p:blipFill>
        <p:spPr>
          <a:xfrm>
            <a:off x="7900258" y="4177096"/>
            <a:ext cx="556741" cy="865555"/>
          </a:xfrm>
          <a:prstGeom prst="rect">
            <a:avLst/>
          </a:prstGeom>
        </p:spPr>
      </p:pic>
      <p:cxnSp>
        <p:nvCxnSpPr>
          <p:cNvPr id="9" name="Gerade Verbindung 55"/>
          <p:cNvCxnSpPr/>
          <p:nvPr/>
        </p:nvCxnSpPr>
        <p:spPr>
          <a:xfrm flipV="1">
            <a:off x="4023015" y="3059928"/>
            <a:ext cx="0" cy="1497672"/>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10" name="Rechteck 62"/>
          <p:cNvSpPr/>
          <p:nvPr/>
        </p:nvSpPr>
        <p:spPr>
          <a:xfrm>
            <a:off x="3745955" y="2250962"/>
            <a:ext cx="530492" cy="795738"/>
          </a:xfrm>
          <a:prstGeom prst="rect">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11" name="Inhaltsplatzhalter 12"/>
          <p:cNvSpPr txBox="1">
            <a:spLocks/>
          </p:cNvSpPr>
          <p:nvPr/>
        </p:nvSpPr>
        <p:spPr>
          <a:xfrm>
            <a:off x="3835826" y="2368656"/>
            <a:ext cx="478649" cy="553998"/>
          </a:xfrm>
          <a:prstGeom prst="rect">
            <a:avLst/>
          </a:prstGeom>
        </p:spPr>
        <p:txBody>
          <a:bodyPr vert="horz" lIns="0" tIns="0" rIns="0" bIns="0" rtlCol="0">
            <a:spAutoFit/>
          </a:bodyPr>
          <a:lstStyle>
            <a:lvl1pPr marL="0" marR="0" indent="0" algn="l" defTabSz="914400" rtl="0" eaLnBrk="1" fontAlgn="auto" latinLnBrk="0" hangingPunct="1">
              <a:lnSpc>
                <a:spcPct val="100000"/>
              </a:lnSpc>
              <a:spcBef>
                <a:spcPts val="200"/>
              </a:spcBef>
              <a:spcAft>
                <a:spcPts val="0"/>
              </a:spcAft>
              <a:buClr>
                <a:srgbClr val="606060"/>
              </a:buClr>
              <a:buSzTx/>
              <a:buFont typeface="Wingdings" pitchFamily="2" charset="2"/>
              <a:buNone/>
              <a:tabLst/>
              <a:defRPr sz="1600" kern="1200">
                <a:solidFill>
                  <a:schemeClr val="tx2"/>
                </a:solidFill>
                <a:latin typeface="+mn-lt"/>
                <a:ea typeface="+mn-ea"/>
                <a:cs typeface="+mn-cs"/>
              </a:defRPr>
            </a:lvl1pPr>
            <a:lvl2pPr marL="266700" marR="0" indent="-266700" algn="l" defTabSz="914400" rtl="0" eaLnBrk="1" fontAlgn="auto" latinLnBrk="0" hangingPunct="1">
              <a:lnSpc>
                <a:spcPct val="100000"/>
              </a:lnSpc>
              <a:spcBef>
                <a:spcPts val="200"/>
              </a:spcBef>
              <a:spcAft>
                <a:spcPts val="0"/>
              </a:spcAft>
              <a:buClr>
                <a:schemeClr val="accent6"/>
              </a:buClr>
              <a:buSzTx/>
              <a:buFont typeface="Times New Roman" panose="02020603050405020304" pitchFamily="18" charset="0"/>
              <a:buChar char="─"/>
              <a:tabLst/>
              <a:defRPr sz="1600" kern="1200">
                <a:solidFill>
                  <a:schemeClr val="tx2"/>
                </a:solidFill>
                <a:latin typeface="+mn-lt"/>
                <a:ea typeface="+mn-ea"/>
                <a:cs typeface="+mn-cs"/>
              </a:defRPr>
            </a:lvl2pPr>
            <a:lvl3pPr marL="466725" marR="0" indent="-200025" algn="l" defTabSz="914400" rtl="0" eaLnBrk="1" fontAlgn="auto" latinLnBrk="0" hangingPunct="1">
              <a:lnSpc>
                <a:spcPct val="100000"/>
              </a:lnSpc>
              <a:spcBef>
                <a:spcPts val="200"/>
              </a:spcBef>
              <a:spcAft>
                <a:spcPts val="0"/>
              </a:spcAft>
              <a:buClr>
                <a:schemeClr val="accent4"/>
              </a:buClr>
              <a:buSzTx/>
              <a:buFont typeface="Symbol" panose="05050102010706020507" pitchFamily="18" charset="2"/>
              <a:buChar char="-"/>
              <a:tabLst/>
              <a:defRPr sz="1600" kern="1200">
                <a:solidFill>
                  <a:schemeClr val="tx2"/>
                </a:solidFill>
                <a:latin typeface="+mn-lt"/>
                <a:ea typeface="+mn-ea"/>
                <a:cs typeface="+mn-cs"/>
              </a:defRPr>
            </a:lvl3pPr>
            <a:lvl4pPr marL="641350" marR="0" indent="-161925" algn="l" defTabSz="914400" rtl="0" eaLnBrk="1" fontAlgn="auto" latinLnBrk="0" hangingPunct="1">
              <a:lnSpc>
                <a:spcPct val="100000"/>
              </a:lnSpc>
              <a:spcBef>
                <a:spcPts val="200"/>
              </a:spcBef>
              <a:spcAft>
                <a:spcPts val="0"/>
              </a:spcAft>
              <a:buClr>
                <a:srgbClr val="606060"/>
              </a:buClr>
              <a:buSzTx/>
              <a:buFont typeface="Symbol" panose="05050102010706020507" pitchFamily="18" charset="2"/>
              <a:buChar char="-"/>
              <a:tabLst/>
              <a:defRPr sz="1600" kern="1200">
                <a:solidFill>
                  <a:schemeClr val="tx2"/>
                </a:solidFill>
                <a:latin typeface="+mn-lt"/>
                <a:ea typeface="+mn-ea"/>
                <a:cs typeface="+mn-cs"/>
              </a:defRPr>
            </a:lvl4pPr>
            <a:lvl5pPr marL="808038" marR="0" indent="-179388" algn="l" defTabSz="914400" rtl="0" eaLnBrk="1" fontAlgn="auto" latinLnBrk="0" hangingPunct="1">
              <a:lnSpc>
                <a:spcPct val="100000"/>
              </a:lnSpc>
              <a:spcBef>
                <a:spcPts val="200"/>
              </a:spcBef>
              <a:spcAft>
                <a:spcPts val="0"/>
              </a:spcAft>
              <a:buClr>
                <a:schemeClr val="accent1"/>
              </a:buClr>
              <a:buSzTx/>
              <a:buFont typeface="Symbol" pitchFamily="18" charset="2"/>
              <a:buChar char="-"/>
              <a:tabLst/>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1200" dirty="0" smtClean="0"/>
              <a:t>OA Jour-</a:t>
            </a:r>
            <a:r>
              <a:rPr lang="de-DE" sz="1200" dirty="0" err="1" smtClean="0"/>
              <a:t>nals</a:t>
            </a:r>
            <a:endParaRPr lang="de-DE" sz="1200" dirty="0"/>
          </a:p>
        </p:txBody>
      </p:sp>
      <p:cxnSp>
        <p:nvCxnSpPr>
          <p:cNvPr id="12" name="Gerade Verbindung 16"/>
          <p:cNvCxnSpPr/>
          <p:nvPr/>
        </p:nvCxnSpPr>
        <p:spPr>
          <a:xfrm flipV="1">
            <a:off x="4595516" y="2592001"/>
            <a:ext cx="7991" cy="1540799"/>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3" name="Rechteck 65"/>
          <p:cNvSpPr/>
          <p:nvPr/>
        </p:nvSpPr>
        <p:spPr>
          <a:xfrm>
            <a:off x="4316856" y="1912985"/>
            <a:ext cx="533225" cy="675953"/>
          </a:xfrm>
          <a:prstGeom prst="rect">
            <a:avLst/>
          </a:prstGeom>
          <a:solidFill>
            <a:schemeClr val="bg1"/>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14" name="Inhaltsplatzhalter 12"/>
          <p:cNvSpPr txBox="1">
            <a:spLocks/>
          </p:cNvSpPr>
          <p:nvPr/>
        </p:nvSpPr>
        <p:spPr>
          <a:xfrm>
            <a:off x="4442393" y="2067212"/>
            <a:ext cx="478649" cy="369332"/>
          </a:xfrm>
          <a:prstGeom prst="rect">
            <a:avLst/>
          </a:prstGeom>
        </p:spPr>
        <p:txBody>
          <a:bodyPr vert="horz" lIns="0" tIns="0" rIns="0" bIns="0" rtlCol="0">
            <a:spAutoFit/>
          </a:bodyPr>
          <a:lstStyle>
            <a:lvl1pPr marL="0" marR="0" indent="0" algn="l" defTabSz="914400" rtl="0" eaLnBrk="1" fontAlgn="auto" latinLnBrk="0" hangingPunct="1">
              <a:lnSpc>
                <a:spcPct val="100000"/>
              </a:lnSpc>
              <a:spcBef>
                <a:spcPts val="200"/>
              </a:spcBef>
              <a:spcAft>
                <a:spcPts val="0"/>
              </a:spcAft>
              <a:buClr>
                <a:srgbClr val="606060"/>
              </a:buClr>
              <a:buSzTx/>
              <a:buFont typeface="Wingdings" pitchFamily="2" charset="2"/>
              <a:buNone/>
              <a:tabLst/>
              <a:defRPr sz="1600" kern="1200">
                <a:solidFill>
                  <a:schemeClr val="tx2"/>
                </a:solidFill>
                <a:latin typeface="+mn-lt"/>
                <a:ea typeface="+mn-ea"/>
                <a:cs typeface="+mn-cs"/>
              </a:defRPr>
            </a:lvl1pPr>
            <a:lvl2pPr marL="266700" marR="0" indent="-266700" algn="l" defTabSz="914400" rtl="0" eaLnBrk="1" fontAlgn="auto" latinLnBrk="0" hangingPunct="1">
              <a:lnSpc>
                <a:spcPct val="100000"/>
              </a:lnSpc>
              <a:spcBef>
                <a:spcPts val="200"/>
              </a:spcBef>
              <a:spcAft>
                <a:spcPts val="0"/>
              </a:spcAft>
              <a:buClr>
                <a:schemeClr val="accent6"/>
              </a:buClr>
              <a:buSzTx/>
              <a:buFont typeface="Times New Roman" panose="02020603050405020304" pitchFamily="18" charset="0"/>
              <a:buChar char="─"/>
              <a:tabLst/>
              <a:defRPr sz="1600" kern="1200">
                <a:solidFill>
                  <a:schemeClr val="tx2"/>
                </a:solidFill>
                <a:latin typeface="+mn-lt"/>
                <a:ea typeface="+mn-ea"/>
                <a:cs typeface="+mn-cs"/>
              </a:defRPr>
            </a:lvl2pPr>
            <a:lvl3pPr marL="466725" marR="0" indent="-200025" algn="l" defTabSz="914400" rtl="0" eaLnBrk="1" fontAlgn="auto" latinLnBrk="0" hangingPunct="1">
              <a:lnSpc>
                <a:spcPct val="100000"/>
              </a:lnSpc>
              <a:spcBef>
                <a:spcPts val="200"/>
              </a:spcBef>
              <a:spcAft>
                <a:spcPts val="0"/>
              </a:spcAft>
              <a:buClr>
                <a:schemeClr val="accent4"/>
              </a:buClr>
              <a:buSzTx/>
              <a:buFont typeface="Symbol" panose="05050102010706020507" pitchFamily="18" charset="2"/>
              <a:buChar char="-"/>
              <a:tabLst/>
              <a:defRPr sz="1600" kern="1200">
                <a:solidFill>
                  <a:schemeClr val="tx2"/>
                </a:solidFill>
                <a:latin typeface="+mn-lt"/>
                <a:ea typeface="+mn-ea"/>
                <a:cs typeface="+mn-cs"/>
              </a:defRPr>
            </a:lvl3pPr>
            <a:lvl4pPr marL="641350" marR="0" indent="-161925" algn="l" defTabSz="914400" rtl="0" eaLnBrk="1" fontAlgn="auto" latinLnBrk="0" hangingPunct="1">
              <a:lnSpc>
                <a:spcPct val="100000"/>
              </a:lnSpc>
              <a:spcBef>
                <a:spcPts val="200"/>
              </a:spcBef>
              <a:spcAft>
                <a:spcPts val="0"/>
              </a:spcAft>
              <a:buClr>
                <a:srgbClr val="606060"/>
              </a:buClr>
              <a:buSzTx/>
              <a:buFont typeface="Symbol" panose="05050102010706020507" pitchFamily="18" charset="2"/>
              <a:buChar char="-"/>
              <a:tabLst/>
              <a:defRPr sz="1600" kern="1200">
                <a:solidFill>
                  <a:schemeClr val="tx2"/>
                </a:solidFill>
                <a:latin typeface="+mn-lt"/>
                <a:ea typeface="+mn-ea"/>
                <a:cs typeface="+mn-cs"/>
              </a:defRPr>
            </a:lvl4pPr>
            <a:lvl5pPr marL="808038" marR="0" indent="-179388" algn="l" defTabSz="914400" rtl="0" eaLnBrk="1" fontAlgn="auto" latinLnBrk="0" hangingPunct="1">
              <a:lnSpc>
                <a:spcPct val="100000"/>
              </a:lnSpc>
              <a:spcBef>
                <a:spcPts val="200"/>
              </a:spcBef>
              <a:spcAft>
                <a:spcPts val="0"/>
              </a:spcAft>
              <a:buClr>
                <a:schemeClr val="accent1"/>
              </a:buClr>
              <a:buSzTx/>
              <a:buFont typeface="Symbol" pitchFamily="18" charset="2"/>
              <a:buChar char="-"/>
              <a:tabLst/>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1200" dirty="0" err="1" smtClean="0"/>
              <a:t>Poli-cies</a:t>
            </a:r>
            <a:endParaRPr lang="de-DE" sz="1200" dirty="0"/>
          </a:p>
        </p:txBody>
      </p:sp>
      <p:cxnSp>
        <p:nvCxnSpPr>
          <p:cNvPr id="15" name="Gerade Verbindung 54"/>
          <p:cNvCxnSpPr/>
          <p:nvPr/>
        </p:nvCxnSpPr>
        <p:spPr>
          <a:xfrm flipV="1">
            <a:off x="5298215" y="2923591"/>
            <a:ext cx="0" cy="1125597"/>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16" name="Rechteck 71"/>
          <p:cNvSpPr/>
          <p:nvPr/>
        </p:nvSpPr>
        <p:spPr>
          <a:xfrm>
            <a:off x="4977907" y="2070415"/>
            <a:ext cx="606402" cy="853176"/>
          </a:xfrm>
          <a:prstGeom prst="rect">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17" name="Inhaltsplatzhalter 12"/>
          <p:cNvSpPr txBox="1">
            <a:spLocks/>
          </p:cNvSpPr>
          <p:nvPr/>
        </p:nvSpPr>
        <p:spPr>
          <a:xfrm>
            <a:off x="5021375" y="2229064"/>
            <a:ext cx="579580" cy="369332"/>
          </a:xfrm>
          <a:prstGeom prst="rect">
            <a:avLst/>
          </a:prstGeom>
        </p:spPr>
        <p:txBody>
          <a:bodyPr vert="horz" wrap="square" lIns="0" tIns="0" rIns="0" bIns="0" rtlCol="0">
            <a:spAutoFit/>
          </a:bodyPr>
          <a:lstStyle>
            <a:lvl1pPr marL="0" marR="0" indent="0" algn="l" defTabSz="914400" rtl="0" eaLnBrk="1" fontAlgn="auto" latinLnBrk="0" hangingPunct="1">
              <a:lnSpc>
                <a:spcPct val="100000"/>
              </a:lnSpc>
              <a:spcBef>
                <a:spcPts val="200"/>
              </a:spcBef>
              <a:spcAft>
                <a:spcPts val="0"/>
              </a:spcAft>
              <a:buClr>
                <a:srgbClr val="606060"/>
              </a:buClr>
              <a:buSzTx/>
              <a:buFont typeface="Wingdings" pitchFamily="2" charset="2"/>
              <a:buNone/>
              <a:tabLst/>
              <a:defRPr sz="1600" kern="1200">
                <a:solidFill>
                  <a:schemeClr val="tx2"/>
                </a:solidFill>
                <a:latin typeface="+mn-lt"/>
                <a:ea typeface="+mn-ea"/>
                <a:cs typeface="+mn-cs"/>
              </a:defRPr>
            </a:lvl1pPr>
            <a:lvl2pPr marL="266700" marR="0" indent="-266700" algn="l" defTabSz="914400" rtl="0" eaLnBrk="1" fontAlgn="auto" latinLnBrk="0" hangingPunct="1">
              <a:lnSpc>
                <a:spcPct val="100000"/>
              </a:lnSpc>
              <a:spcBef>
                <a:spcPts val="200"/>
              </a:spcBef>
              <a:spcAft>
                <a:spcPts val="0"/>
              </a:spcAft>
              <a:buClr>
                <a:schemeClr val="accent6"/>
              </a:buClr>
              <a:buSzTx/>
              <a:buFont typeface="Times New Roman" panose="02020603050405020304" pitchFamily="18" charset="0"/>
              <a:buChar char="─"/>
              <a:tabLst/>
              <a:defRPr sz="1600" kern="1200">
                <a:solidFill>
                  <a:schemeClr val="tx2"/>
                </a:solidFill>
                <a:latin typeface="+mn-lt"/>
                <a:ea typeface="+mn-ea"/>
                <a:cs typeface="+mn-cs"/>
              </a:defRPr>
            </a:lvl2pPr>
            <a:lvl3pPr marL="466725" marR="0" indent="-200025" algn="l" defTabSz="914400" rtl="0" eaLnBrk="1" fontAlgn="auto" latinLnBrk="0" hangingPunct="1">
              <a:lnSpc>
                <a:spcPct val="100000"/>
              </a:lnSpc>
              <a:spcBef>
                <a:spcPts val="200"/>
              </a:spcBef>
              <a:spcAft>
                <a:spcPts val="0"/>
              </a:spcAft>
              <a:buClr>
                <a:schemeClr val="accent4"/>
              </a:buClr>
              <a:buSzTx/>
              <a:buFont typeface="Symbol" panose="05050102010706020507" pitchFamily="18" charset="2"/>
              <a:buChar char="-"/>
              <a:tabLst/>
              <a:defRPr sz="1600" kern="1200">
                <a:solidFill>
                  <a:schemeClr val="tx2"/>
                </a:solidFill>
                <a:latin typeface="+mn-lt"/>
                <a:ea typeface="+mn-ea"/>
                <a:cs typeface="+mn-cs"/>
              </a:defRPr>
            </a:lvl3pPr>
            <a:lvl4pPr marL="641350" marR="0" indent="-161925" algn="l" defTabSz="914400" rtl="0" eaLnBrk="1" fontAlgn="auto" latinLnBrk="0" hangingPunct="1">
              <a:lnSpc>
                <a:spcPct val="100000"/>
              </a:lnSpc>
              <a:spcBef>
                <a:spcPts val="200"/>
              </a:spcBef>
              <a:spcAft>
                <a:spcPts val="0"/>
              </a:spcAft>
              <a:buClr>
                <a:srgbClr val="606060"/>
              </a:buClr>
              <a:buSzTx/>
              <a:buFont typeface="Symbol" panose="05050102010706020507" pitchFamily="18" charset="2"/>
              <a:buChar char="-"/>
              <a:tabLst/>
              <a:defRPr sz="1600" kern="1200">
                <a:solidFill>
                  <a:schemeClr val="tx2"/>
                </a:solidFill>
                <a:latin typeface="+mn-lt"/>
                <a:ea typeface="+mn-ea"/>
                <a:cs typeface="+mn-cs"/>
              </a:defRPr>
            </a:lvl4pPr>
            <a:lvl5pPr marL="808038" marR="0" indent="-179388" algn="l" defTabSz="914400" rtl="0" eaLnBrk="1" fontAlgn="auto" latinLnBrk="0" hangingPunct="1">
              <a:lnSpc>
                <a:spcPct val="100000"/>
              </a:lnSpc>
              <a:spcBef>
                <a:spcPts val="200"/>
              </a:spcBef>
              <a:spcAft>
                <a:spcPts val="0"/>
              </a:spcAft>
              <a:buClr>
                <a:schemeClr val="accent1"/>
              </a:buClr>
              <a:buSzTx/>
              <a:buFont typeface="Symbol" pitchFamily="18" charset="2"/>
              <a:buChar char="-"/>
              <a:tabLst/>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1200" dirty="0" err="1" smtClean="0"/>
              <a:t>Reposi</a:t>
            </a:r>
            <a:r>
              <a:rPr lang="de-DE" sz="1200" dirty="0" smtClean="0"/>
              <a:t>-tories</a:t>
            </a:r>
            <a:endParaRPr lang="de-DE" sz="1200" dirty="0"/>
          </a:p>
        </p:txBody>
      </p:sp>
      <p:cxnSp>
        <p:nvCxnSpPr>
          <p:cNvPr id="18" name="Gerade Verbindung 57"/>
          <p:cNvCxnSpPr>
            <a:endCxn id="19" idx="2"/>
          </p:cNvCxnSpPr>
          <p:nvPr/>
        </p:nvCxnSpPr>
        <p:spPr>
          <a:xfrm flipH="1" flipV="1">
            <a:off x="5941009" y="3256578"/>
            <a:ext cx="1698" cy="1517022"/>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9" name="Rechteck 68"/>
          <p:cNvSpPr/>
          <p:nvPr/>
        </p:nvSpPr>
        <p:spPr>
          <a:xfrm>
            <a:off x="5564080" y="2199132"/>
            <a:ext cx="753858" cy="1057446"/>
          </a:xfrm>
          <a:prstGeom prst="rect">
            <a:avLst/>
          </a:prstGeom>
          <a:solidFill>
            <a:schemeClr val="bg1"/>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20" name="Inhaltsplatzhalter 12"/>
          <p:cNvSpPr txBox="1">
            <a:spLocks/>
          </p:cNvSpPr>
          <p:nvPr/>
        </p:nvSpPr>
        <p:spPr>
          <a:xfrm>
            <a:off x="5735459" y="2450856"/>
            <a:ext cx="778796" cy="553998"/>
          </a:xfrm>
          <a:prstGeom prst="rect">
            <a:avLst/>
          </a:prstGeom>
        </p:spPr>
        <p:txBody>
          <a:bodyPr vert="horz" wrap="square" lIns="0" tIns="0" rIns="0" bIns="0" rtlCol="0">
            <a:spAutoFit/>
          </a:bodyPr>
          <a:lstStyle>
            <a:lvl1pPr marL="0" marR="0" indent="0" algn="l" defTabSz="914400" rtl="0" eaLnBrk="1" fontAlgn="auto" latinLnBrk="0" hangingPunct="1">
              <a:lnSpc>
                <a:spcPct val="100000"/>
              </a:lnSpc>
              <a:spcBef>
                <a:spcPts val="200"/>
              </a:spcBef>
              <a:spcAft>
                <a:spcPts val="0"/>
              </a:spcAft>
              <a:buClr>
                <a:srgbClr val="606060"/>
              </a:buClr>
              <a:buSzTx/>
              <a:buFont typeface="Wingdings" pitchFamily="2" charset="2"/>
              <a:buNone/>
              <a:tabLst/>
              <a:defRPr sz="1600" kern="1200">
                <a:solidFill>
                  <a:schemeClr val="tx2"/>
                </a:solidFill>
                <a:latin typeface="+mn-lt"/>
                <a:ea typeface="+mn-ea"/>
                <a:cs typeface="+mn-cs"/>
              </a:defRPr>
            </a:lvl1pPr>
            <a:lvl2pPr marL="266700" marR="0" indent="-266700" algn="l" defTabSz="914400" rtl="0" eaLnBrk="1" fontAlgn="auto" latinLnBrk="0" hangingPunct="1">
              <a:lnSpc>
                <a:spcPct val="100000"/>
              </a:lnSpc>
              <a:spcBef>
                <a:spcPts val="200"/>
              </a:spcBef>
              <a:spcAft>
                <a:spcPts val="0"/>
              </a:spcAft>
              <a:buClr>
                <a:schemeClr val="accent6"/>
              </a:buClr>
              <a:buSzTx/>
              <a:buFont typeface="Times New Roman" panose="02020603050405020304" pitchFamily="18" charset="0"/>
              <a:buChar char="─"/>
              <a:tabLst/>
              <a:defRPr sz="1600" kern="1200">
                <a:solidFill>
                  <a:schemeClr val="tx2"/>
                </a:solidFill>
                <a:latin typeface="+mn-lt"/>
                <a:ea typeface="+mn-ea"/>
                <a:cs typeface="+mn-cs"/>
              </a:defRPr>
            </a:lvl2pPr>
            <a:lvl3pPr marL="466725" marR="0" indent="-200025" algn="l" defTabSz="914400" rtl="0" eaLnBrk="1" fontAlgn="auto" latinLnBrk="0" hangingPunct="1">
              <a:lnSpc>
                <a:spcPct val="100000"/>
              </a:lnSpc>
              <a:spcBef>
                <a:spcPts val="200"/>
              </a:spcBef>
              <a:spcAft>
                <a:spcPts val="0"/>
              </a:spcAft>
              <a:buClr>
                <a:schemeClr val="accent4"/>
              </a:buClr>
              <a:buSzTx/>
              <a:buFont typeface="Symbol" panose="05050102010706020507" pitchFamily="18" charset="2"/>
              <a:buChar char="-"/>
              <a:tabLst/>
              <a:defRPr sz="1600" kern="1200">
                <a:solidFill>
                  <a:schemeClr val="tx2"/>
                </a:solidFill>
                <a:latin typeface="+mn-lt"/>
                <a:ea typeface="+mn-ea"/>
                <a:cs typeface="+mn-cs"/>
              </a:defRPr>
            </a:lvl3pPr>
            <a:lvl4pPr marL="641350" marR="0" indent="-161925" algn="l" defTabSz="914400" rtl="0" eaLnBrk="1" fontAlgn="auto" latinLnBrk="0" hangingPunct="1">
              <a:lnSpc>
                <a:spcPct val="100000"/>
              </a:lnSpc>
              <a:spcBef>
                <a:spcPts val="200"/>
              </a:spcBef>
              <a:spcAft>
                <a:spcPts val="0"/>
              </a:spcAft>
              <a:buClr>
                <a:srgbClr val="606060"/>
              </a:buClr>
              <a:buSzTx/>
              <a:buFont typeface="Symbol" panose="05050102010706020507" pitchFamily="18" charset="2"/>
              <a:buChar char="-"/>
              <a:tabLst/>
              <a:defRPr sz="1600" kern="1200">
                <a:solidFill>
                  <a:schemeClr val="tx2"/>
                </a:solidFill>
                <a:latin typeface="+mn-lt"/>
                <a:ea typeface="+mn-ea"/>
                <a:cs typeface="+mn-cs"/>
              </a:defRPr>
            </a:lvl4pPr>
            <a:lvl5pPr marL="808038" marR="0" indent="-179388" algn="l" defTabSz="914400" rtl="0" eaLnBrk="1" fontAlgn="auto" latinLnBrk="0" hangingPunct="1">
              <a:lnSpc>
                <a:spcPct val="100000"/>
              </a:lnSpc>
              <a:spcBef>
                <a:spcPts val="200"/>
              </a:spcBef>
              <a:spcAft>
                <a:spcPts val="0"/>
              </a:spcAft>
              <a:buClr>
                <a:schemeClr val="accent1"/>
              </a:buClr>
              <a:buSzTx/>
              <a:buFont typeface="Symbol" pitchFamily="18" charset="2"/>
              <a:buChar char="-"/>
              <a:tabLst/>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1200" dirty="0" err="1" smtClean="0"/>
              <a:t>Publi</a:t>
            </a:r>
            <a:r>
              <a:rPr lang="de-DE" sz="1200" dirty="0" smtClean="0"/>
              <a:t>-</a:t>
            </a:r>
            <a:br>
              <a:rPr lang="de-DE" sz="1200" dirty="0" smtClean="0"/>
            </a:br>
            <a:r>
              <a:rPr lang="de-DE" sz="1200" dirty="0" err="1" smtClean="0"/>
              <a:t>cation</a:t>
            </a:r>
            <a:r>
              <a:rPr lang="de-DE" sz="1200" dirty="0" smtClean="0"/>
              <a:t> </a:t>
            </a:r>
            <a:r>
              <a:rPr lang="de-DE" sz="1200" dirty="0" err="1" smtClean="0"/>
              <a:t>funds</a:t>
            </a:r>
            <a:endParaRPr lang="de-DE" sz="1200" dirty="0"/>
          </a:p>
        </p:txBody>
      </p:sp>
      <p:cxnSp>
        <p:nvCxnSpPr>
          <p:cNvPr id="21" name="Gerade Verbindung 56"/>
          <p:cNvCxnSpPr/>
          <p:nvPr/>
        </p:nvCxnSpPr>
        <p:spPr>
          <a:xfrm flipV="1">
            <a:off x="4985107" y="3457796"/>
            <a:ext cx="0" cy="81866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22" name="Rechteck 59"/>
          <p:cNvSpPr/>
          <p:nvPr/>
        </p:nvSpPr>
        <p:spPr>
          <a:xfrm>
            <a:off x="4737199" y="2700000"/>
            <a:ext cx="485508" cy="758176"/>
          </a:xfrm>
          <a:prstGeom prst="rect">
            <a:avLst/>
          </a:prstGeom>
          <a:solidFill>
            <a:schemeClr val="bg1"/>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23" name="Inhaltsplatzhalter 12"/>
          <p:cNvSpPr txBox="1">
            <a:spLocks/>
          </p:cNvSpPr>
          <p:nvPr/>
        </p:nvSpPr>
        <p:spPr>
          <a:xfrm>
            <a:off x="4784646" y="2906693"/>
            <a:ext cx="438061" cy="369332"/>
          </a:xfrm>
          <a:prstGeom prst="rect">
            <a:avLst/>
          </a:prstGeom>
        </p:spPr>
        <p:txBody>
          <a:bodyPr vert="horz" lIns="0" tIns="0" rIns="0" bIns="0" rtlCol="0">
            <a:spAutoFit/>
          </a:bodyPr>
          <a:lstStyle>
            <a:lvl1pPr marL="0" marR="0" indent="0" algn="l" defTabSz="914400" rtl="0" eaLnBrk="1" fontAlgn="auto" latinLnBrk="0" hangingPunct="1">
              <a:lnSpc>
                <a:spcPct val="100000"/>
              </a:lnSpc>
              <a:spcBef>
                <a:spcPts val="200"/>
              </a:spcBef>
              <a:spcAft>
                <a:spcPts val="0"/>
              </a:spcAft>
              <a:buClr>
                <a:srgbClr val="606060"/>
              </a:buClr>
              <a:buSzTx/>
              <a:buFont typeface="Wingdings" pitchFamily="2" charset="2"/>
              <a:buNone/>
              <a:tabLst/>
              <a:defRPr sz="1600" kern="1200">
                <a:solidFill>
                  <a:schemeClr val="tx2"/>
                </a:solidFill>
                <a:latin typeface="+mn-lt"/>
                <a:ea typeface="+mn-ea"/>
                <a:cs typeface="+mn-cs"/>
              </a:defRPr>
            </a:lvl1pPr>
            <a:lvl2pPr marL="266700" marR="0" indent="-266700" algn="l" defTabSz="914400" rtl="0" eaLnBrk="1" fontAlgn="auto" latinLnBrk="0" hangingPunct="1">
              <a:lnSpc>
                <a:spcPct val="100000"/>
              </a:lnSpc>
              <a:spcBef>
                <a:spcPts val="200"/>
              </a:spcBef>
              <a:spcAft>
                <a:spcPts val="0"/>
              </a:spcAft>
              <a:buClr>
                <a:schemeClr val="accent6"/>
              </a:buClr>
              <a:buSzTx/>
              <a:buFont typeface="Times New Roman" panose="02020603050405020304" pitchFamily="18" charset="0"/>
              <a:buChar char="─"/>
              <a:tabLst/>
              <a:defRPr sz="1600" kern="1200">
                <a:solidFill>
                  <a:schemeClr val="tx2"/>
                </a:solidFill>
                <a:latin typeface="+mn-lt"/>
                <a:ea typeface="+mn-ea"/>
                <a:cs typeface="+mn-cs"/>
              </a:defRPr>
            </a:lvl2pPr>
            <a:lvl3pPr marL="466725" marR="0" indent="-200025" algn="l" defTabSz="914400" rtl="0" eaLnBrk="1" fontAlgn="auto" latinLnBrk="0" hangingPunct="1">
              <a:lnSpc>
                <a:spcPct val="100000"/>
              </a:lnSpc>
              <a:spcBef>
                <a:spcPts val="200"/>
              </a:spcBef>
              <a:spcAft>
                <a:spcPts val="0"/>
              </a:spcAft>
              <a:buClr>
                <a:schemeClr val="accent4"/>
              </a:buClr>
              <a:buSzTx/>
              <a:buFont typeface="Symbol" panose="05050102010706020507" pitchFamily="18" charset="2"/>
              <a:buChar char="-"/>
              <a:tabLst/>
              <a:defRPr sz="1600" kern="1200">
                <a:solidFill>
                  <a:schemeClr val="tx2"/>
                </a:solidFill>
                <a:latin typeface="+mn-lt"/>
                <a:ea typeface="+mn-ea"/>
                <a:cs typeface="+mn-cs"/>
              </a:defRPr>
            </a:lvl3pPr>
            <a:lvl4pPr marL="641350" marR="0" indent="-161925" algn="l" defTabSz="914400" rtl="0" eaLnBrk="1" fontAlgn="auto" latinLnBrk="0" hangingPunct="1">
              <a:lnSpc>
                <a:spcPct val="100000"/>
              </a:lnSpc>
              <a:spcBef>
                <a:spcPts val="200"/>
              </a:spcBef>
              <a:spcAft>
                <a:spcPts val="0"/>
              </a:spcAft>
              <a:buClr>
                <a:srgbClr val="606060"/>
              </a:buClr>
              <a:buSzTx/>
              <a:buFont typeface="Symbol" panose="05050102010706020507" pitchFamily="18" charset="2"/>
              <a:buChar char="-"/>
              <a:tabLst/>
              <a:defRPr sz="1600" kern="1200">
                <a:solidFill>
                  <a:schemeClr val="tx2"/>
                </a:solidFill>
                <a:latin typeface="+mn-lt"/>
                <a:ea typeface="+mn-ea"/>
                <a:cs typeface="+mn-cs"/>
              </a:defRPr>
            </a:lvl4pPr>
            <a:lvl5pPr marL="808038" marR="0" indent="-179388" algn="l" defTabSz="914400" rtl="0" eaLnBrk="1" fontAlgn="auto" latinLnBrk="0" hangingPunct="1">
              <a:lnSpc>
                <a:spcPct val="100000"/>
              </a:lnSpc>
              <a:spcBef>
                <a:spcPts val="200"/>
              </a:spcBef>
              <a:spcAft>
                <a:spcPts val="0"/>
              </a:spcAft>
              <a:buClr>
                <a:schemeClr val="accent1"/>
              </a:buClr>
              <a:buSzTx/>
              <a:buFont typeface="Symbol" pitchFamily="18" charset="2"/>
              <a:buChar char="-"/>
              <a:tabLst/>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1200" dirty="0"/>
              <a:t>M</a:t>
            </a:r>
            <a:r>
              <a:rPr lang="de-DE" sz="1200" dirty="0" smtClean="0"/>
              <a:t>an-dates</a:t>
            </a:r>
            <a:endParaRPr lang="de-DE" sz="1200" dirty="0"/>
          </a:p>
        </p:txBody>
      </p:sp>
      <p:sp>
        <p:nvSpPr>
          <p:cNvPr id="24" name="Inhaltsplatzhalter 2"/>
          <p:cNvSpPr txBox="1">
            <a:spLocks/>
          </p:cNvSpPr>
          <p:nvPr>
            <p:custDataLst>
              <p:tags r:id="rId1"/>
            </p:custDataLst>
          </p:nvPr>
        </p:nvSpPr>
        <p:spPr>
          <a:xfrm>
            <a:off x="7639421" y="5215002"/>
            <a:ext cx="319897" cy="353943"/>
          </a:xfrm>
          <a:prstGeom prst="rect">
            <a:avLst/>
          </a:prstGeom>
        </p:spPr>
        <p:txBody>
          <a:bodyPr vert="horz" wrap="square" lIns="0" tIns="0" rIns="91440" bIns="45720" rtlCol="0">
            <a:spAutoFit/>
          </a:bodyPr>
          <a:lstStyle>
            <a:lvl1pPr marL="0" marR="0" indent="0" algn="l" defTabSz="914400" rtl="0" eaLnBrk="1" fontAlgn="auto" latinLnBrk="0" hangingPunct="1">
              <a:lnSpc>
                <a:spcPct val="100000"/>
              </a:lnSpc>
              <a:spcBef>
                <a:spcPts val="200"/>
              </a:spcBef>
              <a:spcAft>
                <a:spcPts val="0"/>
              </a:spcAft>
              <a:buClr>
                <a:srgbClr val="606060"/>
              </a:buClr>
              <a:buSzTx/>
              <a:buFont typeface="Wingdings" pitchFamily="2" charset="2"/>
              <a:buNone/>
              <a:tabLst/>
              <a:defRPr sz="1600" kern="1200">
                <a:solidFill>
                  <a:schemeClr val="tx2"/>
                </a:solidFill>
                <a:latin typeface="+mn-lt"/>
                <a:ea typeface="+mn-ea"/>
                <a:cs typeface="+mn-cs"/>
              </a:defRPr>
            </a:lvl1pPr>
            <a:lvl2pPr marL="266700" marR="0" indent="-266700" algn="l" defTabSz="914400" rtl="0" eaLnBrk="1" fontAlgn="auto" latinLnBrk="0" hangingPunct="1">
              <a:lnSpc>
                <a:spcPct val="100000"/>
              </a:lnSpc>
              <a:spcBef>
                <a:spcPts val="200"/>
              </a:spcBef>
              <a:spcAft>
                <a:spcPts val="0"/>
              </a:spcAft>
              <a:buClr>
                <a:schemeClr val="accent6"/>
              </a:buClr>
              <a:buSzTx/>
              <a:buFont typeface="Times New Roman" panose="02020603050405020304" pitchFamily="18" charset="0"/>
              <a:buChar char="─"/>
              <a:tabLst/>
              <a:defRPr sz="1600" kern="1200">
                <a:solidFill>
                  <a:schemeClr val="tx2"/>
                </a:solidFill>
                <a:latin typeface="+mn-lt"/>
                <a:ea typeface="+mn-ea"/>
                <a:cs typeface="+mn-cs"/>
              </a:defRPr>
            </a:lvl2pPr>
            <a:lvl3pPr marL="466725" marR="0" indent="-200025" algn="l" defTabSz="914400" rtl="0" eaLnBrk="1" fontAlgn="auto" latinLnBrk="0" hangingPunct="1">
              <a:lnSpc>
                <a:spcPct val="100000"/>
              </a:lnSpc>
              <a:spcBef>
                <a:spcPts val="200"/>
              </a:spcBef>
              <a:spcAft>
                <a:spcPts val="0"/>
              </a:spcAft>
              <a:buClr>
                <a:schemeClr val="accent4"/>
              </a:buClr>
              <a:buSzTx/>
              <a:buFont typeface="Symbol" panose="05050102010706020507" pitchFamily="18" charset="2"/>
              <a:buChar char="-"/>
              <a:tabLst/>
              <a:defRPr sz="1600" kern="1200">
                <a:solidFill>
                  <a:schemeClr val="tx2"/>
                </a:solidFill>
                <a:latin typeface="+mn-lt"/>
                <a:ea typeface="+mn-ea"/>
                <a:cs typeface="+mn-cs"/>
              </a:defRPr>
            </a:lvl3pPr>
            <a:lvl4pPr marL="641350" marR="0" indent="-161925" algn="l" defTabSz="914400" rtl="0" eaLnBrk="1" fontAlgn="auto" latinLnBrk="0" hangingPunct="1">
              <a:lnSpc>
                <a:spcPct val="100000"/>
              </a:lnSpc>
              <a:spcBef>
                <a:spcPts val="200"/>
              </a:spcBef>
              <a:spcAft>
                <a:spcPts val="0"/>
              </a:spcAft>
              <a:buClr>
                <a:srgbClr val="606060"/>
              </a:buClr>
              <a:buSzTx/>
              <a:buFont typeface="Symbol" panose="05050102010706020507" pitchFamily="18" charset="2"/>
              <a:buChar char="-"/>
              <a:tabLst/>
              <a:defRPr sz="1600" kern="1200">
                <a:solidFill>
                  <a:schemeClr val="tx2"/>
                </a:solidFill>
                <a:latin typeface="+mn-lt"/>
                <a:ea typeface="+mn-ea"/>
                <a:cs typeface="+mn-cs"/>
              </a:defRPr>
            </a:lvl4pPr>
            <a:lvl5pPr marL="808038" marR="0" indent="-179388" algn="l" defTabSz="914400" rtl="0" eaLnBrk="1" fontAlgn="auto" latinLnBrk="0" hangingPunct="1">
              <a:lnSpc>
                <a:spcPct val="100000"/>
              </a:lnSpc>
              <a:spcBef>
                <a:spcPts val="200"/>
              </a:spcBef>
              <a:spcAft>
                <a:spcPts val="0"/>
              </a:spcAft>
              <a:buClr>
                <a:schemeClr val="accent1"/>
              </a:buClr>
              <a:buSzTx/>
              <a:buFont typeface="Symbol" pitchFamily="18" charset="2"/>
              <a:buChar char="-"/>
              <a:tabLst/>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2000" b="1" dirty="0" smtClean="0">
                <a:solidFill>
                  <a:schemeClr val="accent1"/>
                </a:solidFill>
              </a:rPr>
              <a:t>e</a:t>
            </a:r>
            <a:endParaRPr lang="de-DE" sz="900" b="1" dirty="0">
              <a:solidFill>
                <a:schemeClr val="accent1"/>
              </a:solidFill>
            </a:endParaRPr>
          </a:p>
        </p:txBody>
      </p:sp>
      <p:sp>
        <p:nvSpPr>
          <p:cNvPr id="25" name="Inhaltsplatzhalter 2"/>
          <p:cNvSpPr txBox="1">
            <a:spLocks/>
          </p:cNvSpPr>
          <p:nvPr>
            <p:custDataLst>
              <p:tags r:id="rId2"/>
            </p:custDataLst>
          </p:nvPr>
        </p:nvSpPr>
        <p:spPr>
          <a:xfrm>
            <a:off x="7796134" y="5215002"/>
            <a:ext cx="319897" cy="353943"/>
          </a:xfrm>
          <a:prstGeom prst="rect">
            <a:avLst/>
          </a:prstGeom>
        </p:spPr>
        <p:txBody>
          <a:bodyPr vert="horz" wrap="square" lIns="0" tIns="0" rIns="91440" bIns="45720" rtlCol="0">
            <a:spAutoFit/>
          </a:bodyPr>
          <a:lstStyle>
            <a:lvl1pPr marL="0" marR="0" indent="0" algn="l" defTabSz="914400" rtl="0" eaLnBrk="1" fontAlgn="auto" latinLnBrk="0" hangingPunct="1">
              <a:lnSpc>
                <a:spcPct val="100000"/>
              </a:lnSpc>
              <a:spcBef>
                <a:spcPts val="200"/>
              </a:spcBef>
              <a:spcAft>
                <a:spcPts val="0"/>
              </a:spcAft>
              <a:buClr>
                <a:srgbClr val="606060"/>
              </a:buClr>
              <a:buSzTx/>
              <a:buFont typeface="Wingdings" pitchFamily="2" charset="2"/>
              <a:buNone/>
              <a:tabLst/>
              <a:defRPr sz="1600" kern="1200">
                <a:solidFill>
                  <a:schemeClr val="tx2"/>
                </a:solidFill>
                <a:latin typeface="+mn-lt"/>
                <a:ea typeface="+mn-ea"/>
                <a:cs typeface="+mn-cs"/>
              </a:defRPr>
            </a:lvl1pPr>
            <a:lvl2pPr marL="266700" marR="0" indent="-266700" algn="l" defTabSz="914400" rtl="0" eaLnBrk="1" fontAlgn="auto" latinLnBrk="0" hangingPunct="1">
              <a:lnSpc>
                <a:spcPct val="100000"/>
              </a:lnSpc>
              <a:spcBef>
                <a:spcPts val="200"/>
              </a:spcBef>
              <a:spcAft>
                <a:spcPts val="0"/>
              </a:spcAft>
              <a:buClr>
                <a:schemeClr val="accent6"/>
              </a:buClr>
              <a:buSzTx/>
              <a:buFont typeface="Times New Roman" panose="02020603050405020304" pitchFamily="18" charset="0"/>
              <a:buChar char="─"/>
              <a:tabLst/>
              <a:defRPr sz="1600" kern="1200">
                <a:solidFill>
                  <a:schemeClr val="tx2"/>
                </a:solidFill>
                <a:latin typeface="+mn-lt"/>
                <a:ea typeface="+mn-ea"/>
                <a:cs typeface="+mn-cs"/>
              </a:defRPr>
            </a:lvl2pPr>
            <a:lvl3pPr marL="466725" marR="0" indent="-200025" algn="l" defTabSz="914400" rtl="0" eaLnBrk="1" fontAlgn="auto" latinLnBrk="0" hangingPunct="1">
              <a:lnSpc>
                <a:spcPct val="100000"/>
              </a:lnSpc>
              <a:spcBef>
                <a:spcPts val="200"/>
              </a:spcBef>
              <a:spcAft>
                <a:spcPts val="0"/>
              </a:spcAft>
              <a:buClr>
                <a:schemeClr val="accent4"/>
              </a:buClr>
              <a:buSzTx/>
              <a:buFont typeface="Symbol" panose="05050102010706020507" pitchFamily="18" charset="2"/>
              <a:buChar char="-"/>
              <a:tabLst/>
              <a:defRPr sz="1600" kern="1200">
                <a:solidFill>
                  <a:schemeClr val="tx2"/>
                </a:solidFill>
                <a:latin typeface="+mn-lt"/>
                <a:ea typeface="+mn-ea"/>
                <a:cs typeface="+mn-cs"/>
              </a:defRPr>
            </a:lvl3pPr>
            <a:lvl4pPr marL="641350" marR="0" indent="-161925" algn="l" defTabSz="914400" rtl="0" eaLnBrk="1" fontAlgn="auto" latinLnBrk="0" hangingPunct="1">
              <a:lnSpc>
                <a:spcPct val="100000"/>
              </a:lnSpc>
              <a:spcBef>
                <a:spcPts val="200"/>
              </a:spcBef>
              <a:spcAft>
                <a:spcPts val="0"/>
              </a:spcAft>
              <a:buClr>
                <a:srgbClr val="606060"/>
              </a:buClr>
              <a:buSzTx/>
              <a:buFont typeface="Symbol" panose="05050102010706020507" pitchFamily="18" charset="2"/>
              <a:buChar char="-"/>
              <a:tabLst/>
              <a:defRPr sz="1600" kern="1200">
                <a:solidFill>
                  <a:schemeClr val="tx2"/>
                </a:solidFill>
                <a:latin typeface="+mn-lt"/>
                <a:ea typeface="+mn-ea"/>
                <a:cs typeface="+mn-cs"/>
              </a:defRPr>
            </a:lvl4pPr>
            <a:lvl5pPr marL="808038" marR="0" indent="-179388" algn="l" defTabSz="914400" rtl="0" eaLnBrk="1" fontAlgn="auto" latinLnBrk="0" hangingPunct="1">
              <a:lnSpc>
                <a:spcPct val="100000"/>
              </a:lnSpc>
              <a:spcBef>
                <a:spcPts val="200"/>
              </a:spcBef>
              <a:spcAft>
                <a:spcPts val="0"/>
              </a:spcAft>
              <a:buClr>
                <a:schemeClr val="accent1"/>
              </a:buClr>
              <a:buSzTx/>
              <a:buFont typeface="Symbol" pitchFamily="18" charset="2"/>
              <a:buChar char="-"/>
              <a:tabLst/>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2000" b="1" dirty="0" smtClean="0">
                <a:solidFill>
                  <a:schemeClr val="accent1"/>
                </a:solidFill>
              </a:rPr>
              <a:t>s</a:t>
            </a:r>
            <a:endParaRPr lang="de-DE" sz="900" b="1" dirty="0">
              <a:solidFill>
                <a:schemeClr val="accent1"/>
              </a:solidFill>
            </a:endParaRPr>
          </a:p>
        </p:txBody>
      </p:sp>
      <p:sp>
        <p:nvSpPr>
          <p:cNvPr id="26" name="Inhaltsplatzhalter 2"/>
          <p:cNvSpPr txBox="1">
            <a:spLocks/>
          </p:cNvSpPr>
          <p:nvPr>
            <p:custDataLst>
              <p:tags r:id="rId3"/>
            </p:custDataLst>
          </p:nvPr>
        </p:nvSpPr>
        <p:spPr>
          <a:xfrm>
            <a:off x="7952847" y="5215002"/>
            <a:ext cx="319897" cy="353943"/>
          </a:xfrm>
          <a:prstGeom prst="rect">
            <a:avLst/>
          </a:prstGeom>
        </p:spPr>
        <p:txBody>
          <a:bodyPr vert="horz" wrap="square" lIns="0" tIns="0" rIns="91440" bIns="45720" rtlCol="0">
            <a:spAutoFit/>
          </a:bodyPr>
          <a:lstStyle>
            <a:lvl1pPr marL="0" marR="0" indent="0" algn="l" defTabSz="914400" rtl="0" eaLnBrk="1" fontAlgn="auto" latinLnBrk="0" hangingPunct="1">
              <a:lnSpc>
                <a:spcPct val="100000"/>
              </a:lnSpc>
              <a:spcBef>
                <a:spcPts val="200"/>
              </a:spcBef>
              <a:spcAft>
                <a:spcPts val="0"/>
              </a:spcAft>
              <a:buClr>
                <a:srgbClr val="606060"/>
              </a:buClr>
              <a:buSzTx/>
              <a:buFont typeface="Wingdings" pitchFamily="2" charset="2"/>
              <a:buNone/>
              <a:tabLst/>
              <a:defRPr sz="1600" kern="1200">
                <a:solidFill>
                  <a:schemeClr val="tx2"/>
                </a:solidFill>
                <a:latin typeface="+mn-lt"/>
                <a:ea typeface="+mn-ea"/>
                <a:cs typeface="+mn-cs"/>
              </a:defRPr>
            </a:lvl1pPr>
            <a:lvl2pPr marL="266700" marR="0" indent="-266700" algn="l" defTabSz="914400" rtl="0" eaLnBrk="1" fontAlgn="auto" latinLnBrk="0" hangingPunct="1">
              <a:lnSpc>
                <a:spcPct val="100000"/>
              </a:lnSpc>
              <a:spcBef>
                <a:spcPts val="200"/>
              </a:spcBef>
              <a:spcAft>
                <a:spcPts val="0"/>
              </a:spcAft>
              <a:buClr>
                <a:schemeClr val="accent6"/>
              </a:buClr>
              <a:buSzTx/>
              <a:buFont typeface="Times New Roman" panose="02020603050405020304" pitchFamily="18" charset="0"/>
              <a:buChar char="─"/>
              <a:tabLst/>
              <a:defRPr sz="1600" kern="1200">
                <a:solidFill>
                  <a:schemeClr val="tx2"/>
                </a:solidFill>
                <a:latin typeface="+mn-lt"/>
                <a:ea typeface="+mn-ea"/>
                <a:cs typeface="+mn-cs"/>
              </a:defRPr>
            </a:lvl2pPr>
            <a:lvl3pPr marL="466725" marR="0" indent="-200025" algn="l" defTabSz="914400" rtl="0" eaLnBrk="1" fontAlgn="auto" latinLnBrk="0" hangingPunct="1">
              <a:lnSpc>
                <a:spcPct val="100000"/>
              </a:lnSpc>
              <a:spcBef>
                <a:spcPts val="200"/>
              </a:spcBef>
              <a:spcAft>
                <a:spcPts val="0"/>
              </a:spcAft>
              <a:buClr>
                <a:schemeClr val="accent4"/>
              </a:buClr>
              <a:buSzTx/>
              <a:buFont typeface="Symbol" panose="05050102010706020507" pitchFamily="18" charset="2"/>
              <a:buChar char="-"/>
              <a:tabLst/>
              <a:defRPr sz="1600" kern="1200">
                <a:solidFill>
                  <a:schemeClr val="tx2"/>
                </a:solidFill>
                <a:latin typeface="+mn-lt"/>
                <a:ea typeface="+mn-ea"/>
                <a:cs typeface="+mn-cs"/>
              </a:defRPr>
            </a:lvl3pPr>
            <a:lvl4pPr marL="641350" marR="0" indent="-161925" algn="l" defTabSz="914400" rtl="0" eaLnBrk="1" fontAlgn="auto" latinLnBrk="0" hangingPunct="1">
              <a:lnSpc>
                <a:spcPct val="100000"/>
              </a:lnSpc>
              <a:spcBef>
                <a:spcPts val="200"/>
              </a:spcBef>
              <a:spcAft>
                <a:spcPts val="0"/>
              </a:spcAft>
              <a:buClr>
                <a:srgbClr val="606060"/>
              </a:buClr>
              <a:buSzTx/>
              <a:buFont typeface="Symbol" panose="05050102010706020507" pitchFamily="18" charset="2"/>
              <a:buChar char="-"/>
              <a:tabLst/>
              <a:defRPr sz="1600" kern="1200">
                <a:solidFill>
                  <a:schemeClr val="tx2"/>
                </a:solidFill>
                <a:latin typeface="+mn-lt"/>
                <a:ea typeface="+mn-ea"/>
                <a:cs typeface="+mn-cs"/>
              </a:defRPr>
            </a:lvl4pPr>
            <a:lvl5pPr marL="808038" marR="0" indent="-179388" algn="l" defTabSz="914400" rtl="0" eaLnBrk="1" fontAlgn="auto" latinLnBrk="0" hangingPunct="1">
              <a:lnSpc>
                <a:spcPct val="100000"/>
              </a:lnSpc>
              <a:spcBef>
                <a:spcPts val="200"/>
              </a:spcBef>
              <a:spcAft>
                <a:spcPts val="0"/>
              </a:spcAft>
              <a:buClr>
                <a:schemeClr val="accent1"/>
              </a:buClr>
              <a:buSzTx/>
              <a:buFont typeface="Symbol" pitchFamily="18" charset="2"/>
              <a:buChar char="-"/>
              <a:tabLst/>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2000" b="1" dirty="0" smtClean="0">
                <a:solidFill>
                  <a:schemeClr val="accent1"/>
                </a:solidFill>
              </a:rPr>
              <a:t>e</a:t>
            </a:r>
            <a:endParaRPr lang="de-DE" sz="900" b="1" dirty="0">
              <a:solidFill>
                <a:schemeClr val="accent1"/>
              </a:solidFill>
            </a:endParaRPr>
          </a:p>
        </p:txBody>
      </p:sp>
      <p:sp>
        <p:nvSpPr>
          <p:cNvPr id="27" name="Inhaltsplatzhalter 2"/>
          <p:cNvSpPr txBox="1">
            <a:spLocks/>
          </p:cNvSpPr>
          <p:nvPr>
            <p:custDataLst>
              <p:tags r:id="rId4"/>
            </p:custDataLst>
          </p:nvPr>
        </p:nvSpPr>
        <p:spPr>
          <a:xfrm>
            <a:off x="8109560" y="5215002"/>
            <a:ext cx="319897" cy="353943"/>
          </a:xfrm>
          <a:prstGeom prst="rect">
            <a:avLst/>
          </a:prstGeom>
        </p:spPr>
        <p:txBody>
          <a:bodyPr vert="horz" wrap="square" lIns="0" tIns="0" rIns="91440" bIns="45720" rtlCol="0">
            <a:spAutoFit/>
          </a:bodyPr>
          <a:lstStyle>
            <a:lvl1pPr marL="0" marR="0" indent="0" algn="l" defTabSz="914400" rtl="0" eaLnBrk="1" fontAlgn="auto" latinLnBrk="0" hangingPunct="1">
              <a:lnSpc>
                <a:spcPct val="100000"/>
              </a:lnSpc>
              <a:spcBef>
                <a:spcPts val="200"/>
              </a:spcBef>
              <a:spcAft>
                <a:spcPts val="0"/>
              </a:spcAft>
              <a:buClr>
                <a:srgbClr val="606060"/>
              </a:buClr>
              <a:buSzTx/>
              <a:buFont typeface="Wingdings" pitchFamily="2" charset="2"/>
              <a:buNone/>
              <a:tabLst/>
              <a:defRPr sz="1600" kern="1200">
                <a:solidFill>
                  <a:schemeClr val="tx2"/>
                </a:solidFill>
                <a:latin typeface="+mn-lt"/>
                <a:ea typeface="+mn-ea"/>
                <a:cs typeface="+mn-cs"/>
              </a:defRPr>
            </a:lvl1pPr>
            <a:lvl2pPr marL="266700" marR="0" indent="-266700" algn="l" defTabSz="914400" rtl="0" eaLnBrk="1" fontAlgn="auto" latinLnBrk="0" hangingPunct="1">
              <a:lnSpc>
                <a:spcPct val="100000"/>
              </a:lnSpc>
              <a:spcBef>
                <a:spcPts val="200"/>
              </a:spcBef>
              <a:spcAft>
                <a:spcPts val="0"/>
              </a:spcAft>
              <a:buClr>
                <a:schemeClr val="accent6"/>
              </a:buClr>
              <a:buSzTx/>
              <a:buFont typeface="Times New Roman" panose="02020603050405020304" pitchFamily="18" charset="0"/>
              <a:buChar char="─"/>
              <a:tabLst/>
              <a:defRPr sz="1600" kern="1200">
                <a:solidFill>
                  <a:schemeClr val="tx2"/>
                </a:solidFill>
                <a:latin typeface="+mn-lt"/>
                <a:ea typeface="+mn-ea"/>
                <a:cs typeface="+mn-cs"/>
              </a:defRPr>
            </a:lvl2pPr>
            <a:lvl3pPr marL="466725" marR="0" indent="-200025" algn="l" defTabSz="914400" rtl="0" eaLnBrk="1" fontAlgn="auto" latinLnBrk="0" hangingPunct="1">
              <a:lnSpc>
                <a:spcPct val="100000"/>
              </a:lnSpc>
              <a:spcBef>
                <a:spcPts val="200"/>
              </a:spcBef>
              <a:spcAft>
                <a:spcPts val="0"/>
              </a:spcAft>
              <a:buClr>
                <a:schemeClr val="accent4"/>
              </a:buClr>
              <a:buSzTx/>
              <a:buFont typeface="Symbol" panose="05050102010706020507" pitchFamily="18" charset="2"/>
              <a:buChar char="-"/>
              <a:tabLst/>
              <a:defRPr sz="1600" kern="1200">
                <a:solidFill>
                  <a:schemeClr val="tx2"/>
                </a:solidFill>
                <a:latin typeface="+mn-lt"/>
                <a:ea typeface="+mn-ea"/>
                <a:cs typeface="+mn-cs"/>
              </a:defRPr>
            </a:lvl3pPr>
            <a:lvl4pPr marL="641350" marR="0" indent="-161925" algn="l" defTabSz="914400" rtl="0" eaLnBrk="1" fontAlgn="auto" latinLnBrk="0" hangingPunct="1">
              <a:lnSpc>
                <a:spcPct val="100000"/>
              </a:lnSpc>
              <a:spcBef>
                <a:spcPts val="200"/>
              </a:spcBef>
              <a:spcAft>
                <a:spcPts val="0"/>
              </a:spcAft>
              <a:buClr>
                <a:srgbClr val="606060"/>
              </a:buClr>
              <a:buSzTx/>
              <a:buFont typeface="Symbol" panose="05050102010706020507" pitchFamily="18" charset="2"/>
              <a:buChar char="-"/>
              <a:tabLst/>
              <a:defRPr sz="1600" kern="1200">
                <a:solidFill>
                  <a:schemeClr val="tx2"/>
                </a:solidFill>
                <a:latin typeface="+mn-lt"/>
                <a:ea typeface="+mn-ea"/>
                <a:cs typeface="+mn-cs"/>
              </a:defRPr>
            </a:lvl4pPr>
            <a:lvl5pPr marL="808038" marR="0" indent="-179388" algn="l" defTabSz="914400" rtl="0" eaLnBrk="1" fontAlgn="auto" latinLnBrk="0" hangingPunct="1">
              <a:lnSpc>
                <a:spcPct val="100000"/>
              </a:lnSpc>
              <a:spcBef>
                <a:spcPts val="200"/>
              </a:spcBef>
              <a:spcAft>
                <a:spcPts val="0"/>
              </a:spcAft>
              <a:buClr>
                <a:schemeClr val="accent1"/>
              </a:buClr>
              <a:buSzTx/>
              <a:buFont typeface="Symbol" pitchFamily="18" charset="2"/>
              <a:buChar char="-"/>
              <a:tabLst/>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2000" b="1" dirty="0" smtClean="0">
                <a:solidFill>
                  <a:schemeClr val="accent1"/>
                </a:solidFill>
              </a:rPr>
              <a:t>a</a:t>
            </a:r>
            <a:endParaRPr lang="de-DE" sz="900" b="1" dirty="0">
              <a:solidFill>
                <a:schemeClr val="accent1"/>
              </a:solidFill>
            </a:endParaRPr>
          </a:p>
        </p:txBody>
      </p:sp>
      <p:sp>
        <p:nvSpPr>
          <p:cNvPr id="28" name="Inhaltsplatzhalter 2"/>
          <p:cNvSpPr txBox="1">
            <a:spLocks/>
          </p:cNvSpPr>
          <p:nvPr>
            <p:custDataLst>
              <p:tags r:id="rId5"/>
            </p:custDataLst>
          </p:nvPr>
        </p:nvSpPr>
        <p:spPr>
          <a:xfrm>
            <a:off x="8266273" y="5215002"/>
            <a:ext cx="319897" cy="353943"/>
          </a:xfrm>
          <a:prstGeom prst="rect">
            <a:avLst/>
          </a:prstGeom>
        </p:spPr>
        <p:txBody>
          <a:bodyPr vert="horz" wrap="square" lIns="0" tIns="0" rIns="91440" bIns="45720" rtlCol="0">
            <a:spAutoFit/>
          </a:bodyPr>
          <a:lstStyle>
            <a:lvl1pPr marL="0" marR="0" indent="0" algn="l" defTabSz="914400" rtl="0" eaLnBrk="1" fontAlgn="auto" latinLnBrk="0" hangingPunct="1">
              <a:lnSpc>
                <a:spcPct val="100000"/>
              </a:lnSpc>
              <a:spcBef>
                <a:spcPts val="200"/>
              </a:spcBef>
              <a:spcAft>
                <a:spcPts val="0"/>
              </a:spcAft>
              <a:buClr>
                <a:srgbClr val="606060"/>
              </a:buClr>
              <a:buSzTx/>
              <a:buFont typeface="Wingdings" pitchFamily="2" charset="2"/>
              <a:buNone/>
              <a:tabLst/>
              <a:defRPr sz="1600" kern="1200">
                <a:solidFill>
                  <a:schemeClr val="tx2"/>
                </a:solidFill>
                <a:latin typeface="+mn-lt"/>
                <a:ea typeface="+mn-ea"/>
                <a:cs typeface="+mn-cs"/>
              </a:defRPr>
            </a:lvl1pPr>
            <a:lvl2pPr marL="266700" marR="0" indent="-266700" algn="l" defTabSz="914400" rtl="0" eaLnBrk="1" fontAlgn="auto" latinLnBrk="0" hangingPunct="1">
              <a:lnSpc>
                <a:spcPct val="100000"/>
              </a:lnSpc>
              <a:spcBef>
                <a:spcPts val="200"/>
              </a:spcBef>
              <a:spcAft>
                <a:spcPts val="0"/>
              </a:spcAft>
              <a:buClr>
                <a:schemeClr val="accent6"/>
              </a:buClr>
              <a:buSzTx/>
              <a:buFont typeface="Times New Roman" panose="02020603050405020304" pitchFamily="18" charset="0"/>
              <a:buChar char="─"/>
              <a:tabLst/>
              <a:defRPr sz="1600" kern="1200">
                <a:solidFill>
                  <a:schemeClr val="tx2"/>
                </a:solidFill>
                <a:latin typeface="+mn-lt"/>
                <a:ea typeface="+mn-ea"/>
                <a:cs typeface="+mn-cs"/>
              </a:defRPr>
            </a:lvl2pPr>
            <a:lvl3pPr marL="466725" marR="0" indent="-200025" algn="l" defTabSz="914400" rtl="0" eaLnBrk="1" fontAlgn="auto" latinLnBrk="0" hangingPunct="1">
              <a:lnSpc>
                <a:spcPct val="100000"/>
              </a:lnSpc>
              <a:spcBef>
                <a:spcPts val="200"/>
              </a:spcBef>
              <a:spcAft>
                <a:spcPts val="0"/>
              </a:spcAft>
              <a:buClr>
                <a:schemeClr val="accent4"/>
              </a:buClr>
              <a:buSzTx/>
              <a:buFont typeface="Symbol" panose="05050102010706020507" pitchFamily="18" charset="2"/>
              <a:buChar char="-"/>
              <a:tabLst/>
              <a:defRPr sz="1600" kern="1200">
                <a:solidFill>
                  <a:schemeClr val="tx2"/>
                </a:solidFill>
                <a:latin typeface="+mn-lt"/>
                <a:ea typeface="+mn-ea"/>
                <a:cs typeface="+mn-cs"/>
              </a:defRPr>
            </a:lvl3pPr>
            <a:lvl4pPr marL="641350" marR="0" indent="-161925" algn="l" defTabSz="914400" rtl="0" eaLnBrk="1" fontAlgn="auto" latinLnBrk="0" hangingPunct="1">
              <a:lnSpc>
                <a:spcPct val="100000"/>
              </a:lnSpc>
              <a:spcBef>
                <a:spcPts val="200"/>
              </a:spcBef>
              <a:spcAft>
                <a:spcPts val="0"/>
              </a:spcAft>
              <a:buClr>
                <a:srgbClr val="606060"/>
              </a:buClr>
              <a:buSzTx/>
              <a:buFont typeface="Symbol" panose="05050102010706020507" pitchFamily="18" charset="2"/>
              <a:buChar char="-"/>
              <a:tabLst/>
              <a:defRPr sz="1600" kern="1200">
                <a:solidFill>
                  <a:schemeClr val="tx2"/>
                </a:solidFill>
                <a:latin typeface="+mn-lt"/>
                <a:ea typeface="+mn-ea"/>
                <a:cs typeface="+mn-cs"/>
              </a:defRPr>
            </a:lvl4pPr>
            <a:lvl5pPr marL="808038" marR="0" indent="-179388" algn="l" defTabSz="914400" rtl="0" eaLnBrk="1" fontAlgn="auto" latinLnBrk="0" hangingPunct="1">
              <a:lnSpc>
                <a:spcPct val="100000"/>
              </a:lnSpc>
              <a:spcBef>
                <a:spcPts val="200"/>
              </a:spcBef>
              <a:spcAft>
                <a:spcPts val="0"/>
              </a:spcAft>
              <a:buClr>
                <a:schemeClr val="accent1"/>
              </a:buClr>
              <a:buSzTx/>
              <a:buFont typeface="Symbol" pitchFamily="18" charset="2"/>
              <a:buChar char="-"/>
              <a:tabLst/>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2000" b="1" dirty="0" smtClean="0">
                <a:solidFill>
                  <a:schemeClr val="accent1"/>
                </a:solidFill>
              </a:rPr>
              <a:t>r</a:t>
            </a:r>
            <a:endParaRPr lang="de-DE" sz="900" b="1" dirty="0">
              <a:solidFill>
                <a:schemeClr val="accent1"/>
              </a:solidFill>
            </a:endParaRPr>
          </a:p>
        </p:txBody>
      </p:sp>
      <p:sp>
        <p:nvSpPr>
          <p:cNvPr id="29" name="Inhaltsplatzhalter 2"/>
          <p:cNvSpPr txBox="1">
            <a:spLocks/>
          </p:cNvSpPr>
          <p:nvPr>
            <p:custDataLst>
              <p:tags r:id="rId6"/>
            </p:custDataLst>
          </p:nvPr>
        </p:nvSpPr>
        <p:spPr>
          <a:xfrm>
            <a:off x="8384887" y="5215002"/>
            <a:ext cx="319897" cy="353943"/>
          </a:xfrm>
          <a:prstGeom prst="rect">
            <a:avLst/>
          </a:prstGeom>
        </p:spPr>
        <p:txBody>
          <a:bodyPr vert="horz" wrap="square" lIns="0" tIns="0" rIns="91440" bIns="45720" rtlCol="0">
            <a:spAutoFit/>
          </a:bodyPr>
          <a:lstStyle>
            <a:lvl1pPr marL="0" marR="0" indent="0" algn="l" defTabSz="914400" rtl="0" eaLnBrk="1" fontAlgn="auto" latinLnBrk="0" hangingPunct="1">
              <a:lnSpc>
                <a:spcPct val="100000"/>
              </a:lnSpc>
              <a:spcBef>
                <a:spcPts val="200"/>
              </a:spcBef>
              <a:spcAft>
                <a:spcPts val="0"/>
              </a:spcAft>
              <a:buClr>
                <a:srgbClr val="606060"/>
              </a:buClr>
              <a:buSzTx/>
              <a:buFont typeface="Wingdings" pitchFamily="2" charset="2"/>
              <a:buNone/>
              <a:tabLst/>
              <a:defRPr sz="1600" kern="1200">
                <a:solidFill>
                  <a:schemeClr val="tx2"/>
                </a:solidFill>
                <a:latin typeface="+mn-lt"/>
                <a:ea typeface="+mn-ea"/>
                <a:cs typeface="+mn-cs"/>
              </a:defRPr>
            </a:lvl1pPr>
            <a:lvl2pPr marL="266700" marR="0" indent="-266700" algn="l" defTabSz="914400" rtl="0" eaLnBrk="1" fontAlgn="auto" latinLnBrk="0" hangingPunct="1">
              <a:lnSpc>
                <a:spcPct val="100000"/>
              </a:lnSpc>
              <a:spcBef>
                <a:spcPts val="200"/>
              </a:spcBef>
              <a:spcAft>
                <a:spcPts val="0"/>
              </a:spcAft>
              <a:buClr>
                <a:schemeClr val="accent6"/>
              </a:buClr>
              <a:buSzTx/>
              <a:buFont typeface="Times New Roman" panose="02020603050405020304" pitchFamily="18" charset="0"/>
              <a:buChar char="─"/>
              <a:tabLst/>
              <a:defRPr sz="1600" kern="1200">
                <a:solidFill>
                  <a:schemeClr val="tx2"/>
                </a:solidFill>
                <a:latin typeface="+mn-lt"/>
                <a:ea typeface="+mn-ea"/>
                <a:cs typeface="+mn-cs"/>
              </a:defRPr>
            </a:lvl2pPr>
            <a:lvl3pPr marL="466725" marR="0" indent="-200025" algn="l" defTabSz="914400" rtl="0" eaLnBrk="1" fontAlgn="auto" latinLnBrk="0" hangingPunct="1">
              <a:lnSpc>
                <a:spcPct val="100000"/>
              </a:lnSpc>
              <a:spcBef>
                <a:spcPts val="200"/>
              </a:spcBef>
              <a:spcAft>
                <a:spcPts val="0"/>
              </a:spcAft>
              <a:buClr>
                <a:schemeClr val="accent4"/>
              </a:buClr>
              <a:buSzTx/>
              <a:buFont typeface="Symbol" panose="05050102010706020507" pitchFamily="18" charset="2"/>
              <a:buChar char="-"/>
              <a:tabLst/>
              <a:defRPr sz="1600" kern="1200">
                <a:solidFill>
                  <a:schemeClr val="tx2"/>
                </a:solidFill>
                <a:latin typeface="+mn-lt"/>
                <a:ea typeface="+mn-ea"/>
                <a:cs typeface="+mn-cs"/>
              </a:defRPr>
            </a:lvl3pPr>
            <a:lvl4pPr marL="641350" marR="0" indent="-161925" algn="l" defTabSz="914400" rtl="0" eaLnBrk="1" fontAlgn="auto" latinLnBrk="0" hangingPunct="1">
              <a:lnSpc>
                <a:spcPct val="100000"/>
              </a:lnSpc>
              <a:spcBef>
                <a:spcPts val="200"/>
              </a:spcBef>
              <a:spcAft>
                <a:spcPts val="0"/>
              </a:spcAft>
              <a:buClr>
                <a:srgbClr val="606060"/>
              </a:buClr>
              <a:buSzTx/>
              <a:buFont typeface="Symbol" panose="05050102010706020507" pitchFamily="18" charset="2"/>
              <a:buChar char="-"/>
              <a:tabLst/>
              <a:defRPr sz="1600" kern="1200">
                <a:solidFill>
                  <a:schemeClr val="tx2"/>
                </a:solidFill>
                <a:latin typeface="+mn-lt"/>
                <a:ea typeface="+mn-ea"/>
                <a:cs typeface="+mn-cs"/>
              </a:defRPr>
            </a:lvl4pPr>
            <a:lvl5pPr marL="808038" marR="0" indent="-179388" algn="l" defTabSz="914400" rtl="0" eaLnBrk="1" fontAlgn="auto" latinLnBrk="0" hangingPunct="1">
              <a:lnSpc>
                <a:spcPct val="100000"/>
              </a:lnSpc>
              <a:spcBef>
                <a:spcPts val="200"/>
              </a:spcBef>
              <a:spcAft>
                <a:spcPts val="0"/>
              </a:spcAft>
              <a:buClr>
                <a:schemeClr val="accent1"/>
              </a:buClr>
              <a:buSzTx/>
              <a:buFont typeface="Symbol" pitchFamily="18" charset="2"/>
              <a:buChar char="-"/>
              <a:tabLst/>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2000" b="1" dirty="0" smtClean="0">
                <a:solidFill>
                  <a:schemeClr val="accent1"/>
                </a:solidFill>
              </a:rPr>
              <a:t>c</a:t>
            </a:r>
            <a:endParaRPr lang="de-DE" sz="900" b="1" dirty="0">
              <a:solidFill>
                <a:schemeClr val="accent1"/>
              </a:solidFill>
            </a:endParaRPr>
          </a:p>
        </p:txBody>
      </p:sp>
      <p:sp>
        <p:nvSpPr>
          <p:cNvPr id="30" name="Inhaltsplatzhalter 2"/>
          <p:cNvSpPr txBox="1">
            <a:spLocks/>
          </p:cNvSpPr>
          <p:nvPr>
            <p:custDataLst>
              <p:tags r:id="rId7"/>
            </p:custDataLst>
          </p:nvPr>
        </p:nvSpPr>
        <p:spPr>
          <a:xfrm>
            <a:off x="8524931" y="5215002"/>
            <a:ext cx="319897" cy="353943"/>
          </a:xfrm>
          <a:prstGeom prst="rect">
            <a:avLst/>
          </a:prstGeom>
        </p:spPr>
        <p:txBody>
          <a:bodyPr vert="horz" wrap="square" lIns="0" tIns="0" rIns="91440" bIns="45720" rtlCol="0">
            <a:spAutoFit/>
          </a:bodyPr>
          <a:lstStyle>
            <a:lvl1pPr marL="0" marR="0" indent="0" algn="l" defTabSz="914400" rtl="0" eaLnBrk="1" fontAlgn="auto" latinLnBrk="0" hangingPunct="1">
              <a:lnSpc>
                <a:spcPct val="100000"/>
              </a:lnSpc>
              <a:spcBef>
                <a:spcPts val="200"/>
              </a:spcBef>
              <a:spcAft>
                <a:spcPts val="0"/>
              </a:spcAft>
              <a:buClr>
                <a:srgbClr val="606060"/>
              </a:buClr>
              <a:buSzTx/>
              <a:buFont typeface="Wingdings" pitchFamily="2" charset="2"/>
              <a:buNone/>
              <a:tabLst/>
              <a:defRPr sz="1600" kern="1200">
                <a:solidFill>
                  <a:schemeClr val="tx2"/>
                </a:solidFill>
                <a:latin typeface="+mn-lt"/>
                <a:ea typeface="+mn-ea"/>
                <a:cs typeface="+mn-cs"/>
              </a:defRPr>
            </a:lvl1pPr>
            <a:lvl2pPr marL="266700" marR="0" indent="-266700" algn="l" defTabSz="914400" rtl="0" eaLnBrk="1" fontAlgn="auto" latinLnBrk="0" hangingPunct="1">
              <a:lnSpc>
                <a:spcPct val="100000"/>
              </a:lnSpc>
              <a:spcBef>
                <a:spcPts val="200"/>
              </a:spcBef>
              <a:spcAft>
                <a:spcPts val="0"/>
              </a:spcAft>
              <a:buClr>
                <a:schemeClr val="accent6"/>
              </a:buClr>
              <a:buSzTx/>
              <a:buFont typeface="Times New Roman" panose="02020603050405020304" pitchFamily="18" charset="0"/>
              <a:buChar char="─"/>
              <a:tabLst/>
              <a:defRPr sz="1600" kern="1200">
                <a:solidFill>
                  <a:schemeClr val="tx2"/>
                </a:solidFill>
                <a:latin typeface="+mn-lt"/>
                <a:ea typeface="+mn-ea"/>
                <a:cs typeface="+mn-cs"/>
              </a:defRPr>
            </a:lvl2pPr>
            <a:lvl3pPr marL="466725" marR="0" indent="-200025" algn="l" defTabSz="914400" rtl="0" eaLnBrk="1" fontAlgn="auto" latinLnBrk="0" hangingPunct="1">
              <a:lnSpc>
                <a:spcPct val="100000"/>
              </a:lnSpc>
              <a:spcBef>
                <a:spcPts val="200"/>
              </a:spcBef>
              <a:spcAft>
                <a:spcPts val="0"/>
              </a:spcAft>
              <a:buClr>
                <a:schemeClr val="accent4"/>
              </a:buClr>
              <a:buSzTx/>
              <a:buFont typeface="Symbol" panose="05050102010706020507" pitchFamily="18" charset="2"/>
              <a:buChar char="-"/>
              <a:tabLst/>
              <a:defRPr sz="1600" kern="1200">
                <a:solidFill>
                  <a:schemeClr val="tx2"/>
                </a:solidFill>
                <a:latin typeface="+mn-lt"/>
                <a:ea typeface="+mn-ea"/>
                <a:cs typeface="+mn-cs"/>
              </a:defRPr>
            </a:lvl3pPr>
            <a:lvl4pPr marL="641350" marR="0" indent="-161925" algn="l" defTabSz="914400" rtl="0" eaLnBrk="1" fontAlgn="auto" latinLnBrk="0" hangingPunct="1">
              <a:lnSpc>
                <a:spcPct val="100000"/>
              </a:lnSpc>
              <a:spcBef>
                <a:spcPts val="200"/>
              </a:spcBef>
              <a:spcAft>
                <a:spcPts val="0"/>
              </a:spcAft>
              <a:buClr>
                <a:srgbClr val="606060"/>
              </a:buClr>
              <a:buSzTx/>
              <a:buFont typeface="Symbol" panose="05050102010706020507" pitchFamily="18" charset="2"/>
              <a:buChar char="-"/>
              <a:tabLst/>
              <a:defRPr sz="1600" kern="1200">
                <a:solidFill>
                  <a:schemeClr val="tx2"/>
                </a:solidFill>
                <a:latin typeface="+mn-lt"/>
                <a:ea typeface="+mn-ea"/>
                <a:cs typeface="+mn-cs"/>
              </a:defRPr>
            </a:lvl4pPr>
            <a:lvl5pPr marL="808038" marR="0" indent="-179388" algn="l" defTabSz="914400" rtl="0" eaLnBrk="1" fontAlgn="auto" latinLnBrk="0" hangingPunct="1">
              <a:lnSpc>
                <a:spcPct val="100000"/>
              </a:lnSpc>
              <a:spcBef>
                <a:spcPts val="200"/>
              </a:spcBef>
              <a:spcAft>
                <a:spcPts val="0"/>
              </a:spcAft>
              <a:buClr>
                <a:schemeClr val="accent1"/>
              </a:buClr>
              <a:buSzTx/>
              <a:buFont typeface="Symbol" pitchFamily="18" charset="2"/>
              <a:buChar char="-"/>
              <a:tabLst/>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2000" b="1" dirty="0" smtClean="0">
                <a:solidFill>
                  <a:schemeClr val="accent1"/>
                </a:solidFill>
              </a:rPr>
              <a:t>h</a:t>
            </a:r>
            <a:endParaRPr lang="de-DE" sz="900" b="1" dirty="0">
              <a:solidFill>
                <a:schemeClr val="accent1"/>
              </a:solidFill>
            </a:endParaRPr>
          </a:p>
        </p:txBody>
      </p:sp>
      <p:sp>
        <p:nvSpPr>
          <p:cNvPr id="31" name="Inhaltsplatzhalter 2"/>
          <p:cNvSpPr txBox="1">
            <a:spLocks/>
          </p:cNvSpPr>
          <p:nvPr>
            <p:custDataLst>
              <p:tags r:id="rId8"/>
            </p:custDataLst>
          </p:nvPr>
        </p:nvSpPr>
        <p:spPr>
          <a:xfrm>
            <a:off x="8691169" y="5215002"/>
            <a:ext cx="319897" cy="353943"/>
          </a:xfrm>
          <a:prstGeom prst="rect">
            <a:avLst/>
          </a:prstGeom>
        </p:spPr>
        <p:txBody>
          <a:bodyPr vert="horz" wrap="square" lIns="0" tIns="0" rIns="91440" bIns="45720" rtlCol="0">
            <a:spAutoFit/>
          </a:bodyPr>
          <a:lstStyle>
            <a:lvl1pPr marL="0" marR="0" indent="0" algn="l" defTabSz="914400" rtl="0" eaLnBrk="1" fontAlgn="auto" latinLnBrk="0" hangingPunct="1">
              <a:lnSpc>
                <a:spcPct val="100000"/>
              </a:lnSpc>
              <a:spcBef>
                <a:spcPts val="200"/>
              </a:spcBef>
              <a:spcAft>
                <a:spcPts val="0"/>
              </a:spcAft>
              <a:buClr>
                <a:srgbClr val="606060"/>
              </a:buClr>
              <a:buSzTx/>
              <a:buFont typeface="Wingdings" pitchFamily="2" charset="2"/>
              <a:buNone/>
              <a:tabLst/>
              <a:defRPr sz="1600" kern="1200">
                <a:solidFill>
                  <a:schemeClr val="tx2"/>
                </a:solidFill>
                <a:latin typeface="+mn-lt"/>
                <a:ea typeface="+mn-ea"/>
                <a:cs typeface="+mn-cs"/>
              </a:defRPr>
            </a:lvl1pPr>
            <a:lvl2pPr marL="266700" marR="0" indent="-266700" algn="l" defTabSz="914400" rtl="0" eaLnBrk="1" fontAlgn="auto" latinLnBrk="0" hangingPunct="1">
              <a:lnSpc>
                <a:spcPct val="100000"/>
              </a:lnSpc>
              <a:spcBef>
                <a:spcPts val="200"/>
              </a:spcBef>
              <a:spcAft>
                <a:spcPts val="0"/>
              </a:spcAft>
              <a:buClr>
                <a:schemeClr val="accent6"/>
              </a:buClr>
              <a:buSzTx/>
              <a:buFont typeface="Times New Roman" panose="02020603050405020304" pitchFamily="18" charset="0"/>
              <a:buChar char="─"/>
              <a:tabLst/>
              <a:defRPr sz="1600" kern="1200">
                <a:solidFill>
                  <a:schemeClr val="tx2"/>
                </a:solidFill>
                <a:latin typeface="+mn-lt"/>
                <a:ea typeface="+mn-ea"/>
                <a:cs typeface="+mn-cs"/>
              </a:defRPr>
            </a:lvl2pPr>
            <a:lvl3pPr marL="466725" marR="0" indent="-200025" algn="l" defTabSz="914400" rtl="0" eaLnBrk="1" fontAlgn="auto" latinLnBrk="0" hangingPunct="1">
              <a:lnSpc>
                <a:spcPct val="100000"/>
              </a:lnSpc>
              <a:spcBef>
                <a:spcPts val="200"/>
              </a:spcBef>
              <a:spcAft>
                <a:spcPts val="0"/>
              </a:spcAft>
              <a:buClr>
                <a:schemeClr val="accent4"/>
              </a:buClr>
              <a:buSzTx/>
              <a:buFont typeface="Symbol" panose="05050102010706020507" pitchFamily="18" charset="2"/>
              <a:buChar char="-"/>
              <a:tabLst/>
              <a:defRPr sz="1600" kern="1200">
                <a:solidFill>
                  <a:schemeClr val="tx2"/>
                </a:solidFill>
                <a:latin typeface="+mn-lt"/>
                <a:ea typeface="+mn-ea"/>
                <a:cs typeface="+mn-cs"/>
              </a:defRPr>
            </a:lvl3pPr>
            <a:lvl4pPr marL="641350" marR="0" indent="-161925" algn="l" defTabSz="914400" rtl="0" eaLnBrk="1" fontAlgn="auto" latinLnBrk="0" hangingPunct="1">
              <a:lnSpc>
                <a:spcPct val="100000"/>
              </a:lnSpc>
              <a:spcBef>
                <a:spcPts val="200"/>
              </a:spcBef>
              <a:spcAft>
                <a:spcPts val="0"/>
              </a:spcAft>
              <a:buClr>
                <a:srgbClr val="606060"/>
              </a:buClr>
              <a:buSzTx/>
              <a:buFont typeface="Symbol" panose="05050102010706020507" pitchFamily="18" charset="2"/>
              <a:buChar char="-"/>
              <a:tabLst/>
              <a:defRPr sz="1600" kern="1200">
                <a:solidFill>
                  <a:schemeClr val="tx2"/>
                </a:solidFill>
                <a:latin typeface="+mn-lt"/>
                <a:ea typeface="+mn-ea"/>
                <a:cs typeface="+mn-cs"/>
              </a:defRPr>
            </a:lvl4pPr>
            <a:lvl5pPr marL="808038" marR="0" indent="-179388" algn="l" defTabSz="914400" rtl="0" eaLnBrk="1" fontAlgn="auto" latinLnBrk="0" hangingPunct="1">
              <a:lnSpc>
                <a:spcPct val="100000"/>
              </a:lnSpc>
              <a:spcBef>
                <a:spcPts val="200"/>
              </a:spcBef>
              <a:spcAft>
                <a:spcPts val="0"/>
              </a:spcAft>
              <a:buClr>
                <a:schemeClr val="accent1"/>
              </a:buClr>
              <a:buSzTx/>
              <a:buFont typeface="Symbol" pitchFamily="18" charset="2"/>
              <a:buChar char="-"/>
              <a:tabLst/>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2000" b="1" dirty="0" smtClean="0">
                <a:solidFill>
                  <a:schemeClr val="accent1"/>
                </a:solidFill>
              </a:rPr>
              <a:t>e</a:t>
            </a:r>
            <a:endParaRPr lang="de-DE" sz="900" b="1" dirty="0">
              <a:solidFill>
                <a:schemeClr val="accent1"/>
              </a:solidFill>
            </a:endParaRPr>
          </a:p>
        </p:txBody>
      </p:sp>
      <p:sp>
        <p:nvSpPr>
          <p:cNvPr id="32" name="Inhaltsplatzhalter 2"/>
          <p:cNvSpPr txBox="1">
            <a:spLocks/>
          </p:cNvSpPr>
          <p:nvPr>
            <p:custDataLst>
              <p:tags r:id="rId9"/>
            </p:custDataLst>
          </p:nvPr>
        </p:nvSpPr>
        <p:spPr>
          <a:xfrm>
            <a:off x="8838361" y="5215002"/>
            <a:ext cx="319897" cy="353943"/>
          </a:xfrm>
          <a:prstGeom prst="rect">
            <a:avLst/>
          </a:prstGeom>
        </p:spPr>
        <p:txBody>
          <a:bodyPr vert="horz" wrap="square" lIns="0" tIns="0" rIns="91440" bIns="45720" rtlCol="0">
            <a:spAutoFit/>
          </a:bodyPr>
          <a:lstStyle>
            <a:lvl1pPr marL="0" marR="0" indent="0" algn="l" defTabSz="914400" rtl="0" eaLnBrk="1" fontAlgn="auto" latinLnBrk="0" hangingPunct="1">
              <a:lnSpc>
                <a:spcPct val="100000"/>
              </a:lnSpc>
              <a:spcBef>
                <a:spcPts val="200"/>
              </a:spcBef>
              <a:spcAft>
                <a:spcPts val="0"/>
              </a:spcAft>
              <a:buClr>
                <a:srgbClr val="606060"/>
              </a:buClr>
              <a:buSzTx/>
              <a:buFont typeface="Wingdings" pitchFamily="2" charset="2"/>
              <a:buNone/>
              <a:tabLst/>
              <a:defRPr sz="1600" kern="1200">
                <a:solidFill>
                  <a:schemeClr val="tx2"/>
                </a:solidFill>
                <a:latin typeface="+mn-lt"/>
                <a:ea typeface="+mn-ea"/>
                <a:cs typeface="+mn-cs"/>
              </a:defRPr>
            </a:lvl1pPr>
            <a:lvl2pPr marL="266700" marR="0" indent="-266700" algn="l" defTabSz="914400" rtl="0" eaLnBrk="1" fontAlgn="auto" latinLnBrk="0" hangingPunct="1">
              <a:lnSpc>
                <a:spcPct val="100000"/>
              </a:lnSpc>
              <a:spcBef>
                <a:spcPts val="200"/>
              </a:spcBef>
              <a:spcAft>
                <a:spcPts val="0"/>
              </a:spcAft>
              <a:buClr>
                <a:schemeClr val="accent6"/>
              </a:buClr>
              <a:buSzTx/>
              <a:buFont typeface="Times New Roman" panose="02020603050405020304" pitchFamily="18" charset="0"/>
              <a:buChar char="─"/>
              <a:tabLst/>
              <a:defRPr sz="1600" kern="1200">
                <a:solidFill>
                  <a:schemeClr val="tx2"/>
                </a:solidFill>
                <a:latin typeface="+mn-lt"/>
                <a:ea typeface="+mn-ea"/>
                <a:cs typeface="+mn-cs"/>
              </a:defRPr>
            </a:lvl2pPr>
            <a:lvl3pPr marL="466725" marR="0" indent="-200025" algn="l" defTabSz="914400" rtl="0" eaLnBrk="1" fontAlgn="auto" latinLnBrk="0" hangingPunct="1">
              <a:lnSpc>
                <a:spcPct val="100000"/>
              </a:lnSpc>
              <a:spcBef>
                <a:spcPts val="200"/>
              </a:spcBef>
              <a:spcAft>
                <a:spcPts val="0"/>
              </a:spcAft>
              <a:buClr>
                <a:schemeClr val="accent4"/>
              </a:buClr>
              <a:buSzTx/>
              <a:buFont typeface="Symbol" panose="05050102010706020507" pitchFamily="18" charset="2"/>
              <a:buChar char="-"/>
              <a:tabLst/>
              <a:defRPr sz="1600" kern="1200">
                <a:solidFill>
                  <a:schemeClr val="tx2"/>
                </a:solidFill>
                <a:latin typeface="+mn-lt"/>
                <a:ea typeface="+mn-ea"/>
                <a:cs typeface="+mn-cs"/>
              </a:defRPr>
            </a:lvl3pPr>
            <a:lvl4pPr marL="641350" marR="0" indent="-161925" algn="l" defTabSz="914400" rtl="0" eaLnBrk="1" fontAlgn="auto" latinLnBrk="0" hangingPunct="1">
              <a:lnSpc>
                <a:spcPct val="100000"/>
              </a:lnSpc>
              <a:spcBef>
                <a:spcPts val="200"/>
              </a:spcBef>
              <a:spcAft>
                <a:spcPts val="0"/>
              </a:spcAft>
              <a:buClr>
                <a:srgbClr val="606060"/>
              </a:buClr>
              <a:buSzTx/>
              <a:buFont typeface="Symbol" panose="05050102010706020507" pitchFamily="18" charset="2"/>
              <a:buChar char="-"/>
              <a:tabLst/>
              <a:defRPr sz="1600" kern="1200">
                <a:solidFill>
                  <a:schemeClr val="tx2"/>
                </a:solidFill>
                <a:latin typeface="+mn-lt"/>
                <a:ea typeface="+mn-ea"/>
                <a:cs typeface="+mn-cs"/>
              </a:defRPr>
            </a:lvl4pPr>
            <a:lvl5pPr marL="808038" marR="0" indent="-179388" algn="l" defTabSz="914400" rtl="0" eaLnBrk="1" fontAlgn="auto" latinLnBrk="0" hangingPunct="1">
              <a:lnSpc>
                <a:spcPct val="100000"/>
              </a:lnSpc>
              <a:spcBef>
                <a:spcPts val="200"/>
              </a:spcBef>
              <a:spcAft>
                <a:spcPts val="0"/>
              </a:spcAft>
              <a:buClr>
                <a:schemeClr val="accent1"/>
              </a:buClr>
              <a:buSzTx/>
              <a:buFont typeface="Symbol" pitchFamily="18" charset="2"/>
              <a:buChar char="-"/>
              <a:tabLst/>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2000" b="1" dirty="0" smtClean="0">
                <a:solidFill>
                  <a:schemeClr val="accent1"/>
                </a:solidFill>
              </a:rPr>
              <a:t>r</a:t>
            </a:r>
            <a:endParaRPr lang="de-DE" sz="900" b="1" dirty="0">
              <a:solidFill>
                <a:schemeClr val="accent1"/>
              </a:solidFill>
            </a:endParaRPr>
          </a:p>
        </p:txBody>
      </p:sp>
      <p:sp>
        <p:nvSpPr>
          <p:cNvPr id="33" name="Inhaltsplatzhalter 2"/>
          <p:cNvSpPr txBox="1">
            <a:spLocks/>
          </p:cNvSpPr>
          <p:nvPr>
            <p:custDataLst>
              <p:tags r:id="rId10"/>
            </p:custDataLst>
          </p:nvPr>
        </p:nvSpPr>
        <p:spPr>
          <a:xfrm>
            <a:off x="7444608" y="5215002"/>
            <a:ext cx="319897" cy="353943"/>
          </a:xfrm>
          <a:prstGeom prst="rect">
            <a:avLst/>
          </a:prstGeom>
        </p:spPr>
        <p:txBody>
          <a:bodyPr vert="horz" wrap="square" lIns="0" tIns="0" rIns="91440" bIns="45720" rtlCol="0">
            <a:spAutoFit/>
          </a:bodyPr>
          <a:lstStyle>
            <a:lvl1pPr marL="0" marR="0" indent="0" algn="l" defTabSz="914400" rtl="0" eaLnBrk="1" fontAlgn="auto" latinLnBrk="0" hangingPunct="1">
              <a:lnSpc>
                <a:spcPct val="100000"/>
              </a:lnSpc>
              <a:spcBef>
                <a:spcPts val="200"/>
              </a:spcBef>
              <a:spcAft>
                <a:spcPts val="0"/>
              </a:spcAft>
              <a:buClr>
                <a:srgbClr val="606060"/>
              </a:buClr>
              <a:buSzTx/>
              <a:buFont typeface="Wingdings" pitchFamily="2" charset="2"/>
              <a:buNone/>
              <a:tabLst/>
              <a:defRPr sz="1600" kern="1200">
                <a:solidFill>
                  <a:schemeClr val="tx2"/>
                </a:solidFill>
                <a:latin typeface="+mn-lt"/>
                <a:ea typeface="+mn-ea"/>
                <a:cs typeface="+mn-cs"/>
              </a:defRPr>
            </a:lvl1pPr>
            <a:lvl2pPr marL="266700" marR="0" indent="-266700" algn="l" defTabSz="914400" rtl="0" eaLnBrk="1" fontAlgn="auto" latinLnBrk="0" hangingPunct="1">
              <a:lnSpc>
                <a:spcPct val="100000"/>
              </a:lnSpc>
              <a:spcBef>
                <a:spcPts val="200"/>
              </a:spcBef>
              <a:spcAft>
                <a:spcPts val="0"/>
              </a:spcAft>
              <a:buClr>
                <a:schemeClr val="accent6"/>
              </a:buClr>
              <a:buSzTx/>
              <a:buFont typeface="Times New Roman" panose="02020603050405020304" pitchFamily="18" charset="0"/>
              <a:buChar char="─"/>
              <a:tabLst/>
              <a:defRPr sz="1600" kern="1200">
                <a:solidFill>
                  <a:schemeClr val="tx2"/>
                </a:solidFill>
                <a:latin typeface="+mn-lt"/>
                <a:ea typeface="+mn-ea"/>
                <a:cs typeface="+mn-cs"/>
              </a:defRPr>
            </a:lvl2pPr>
            <a:lvl3pPr marL="466725" marR="0" indent="-200025" algn="l" defTabSz="914400" rtl="0" eaLnBrk="1" fontAlgn="auto" latinLnBrk="0" hangingPunct="1">
              <a:lnSpc>
                <a:spcPct val="100000"/>
              </a:lnSpc>
              <a:spcBef>
                <a:spcPts val="200"/>
              </a:spcBef>
              <a:spcAft>
                <a:spcPts val="0"/>
              </a:spcAft>
              <a:buClr>
                <a:schemeClr val="accent4"/>
              </a:buClr>
              <a:buSzTx/>
              <a:buFont typeface="Symbol" panose="05050102010706020507" pitchFamily="18" charset="2"/>
              <a:buChar char="-"/>
              <a:tabLst/>
              <a:defRPr sz="1600" kern="1200">
                <a:solidFill>
                  <a:schemeClr val="tx2"/>
                </a:solidFill>
                <a:latin typeface="+mn-lt"/>
                <a:ea typeface="+mn-ea"/>
                <a:cs typeface="+mn-cs"/>
              </a:defRPr>
            </a:lvl3pPr>
            <a:lvl4pPr marL="641350" marR="0" indent="-161925" algn="l" defTabSz="914400" rtl="0" eaLnBrk="1" fontAlgn="auto" latinLnBrk="0" hangingPunct="1">
              <a:lnSpc>
                <a:spcPct val="100000"/>
              </a:lnSpc>
              <a:spcBef>
                <a:spcPts val="200"/>
              </a:spcBef>
              <a:spcAft>
                <a:spcPts val="0"/>
              </a:spcAft>
              <a:buClr>
                <a:srgbClr val="606060"/>
              </a:buClr>
              <a:buSzTx/>
              <a:buFont typeface="Symbol" panose="05050102010706020507" pitchFamily="18" charset="2"/>
              <a:buChar char="-"/>
              <a:tabLst/>
              <a:defRPr sz="1600" kern="1200">
                <a:solidFill>
                  <a:schemeClr val="tx2"/>
                </a:solidFill>
                <a:latin typeface="+mn-lt"/>
                <a:ea typeface="+mn-ea"/>
                <a:cs typeface="+mn-cs"/>
              </a:defRPr>
            </a:lvl4pPr>
            <a:lvl5pPr marL="808038" marR="0" indent="-179388" algn="l" defTabSz="914400" rtl="0" eaLnBrk="1" fontAlgn="auto" latinLnBrk="0" hangingPunct="1">
              <a:lnSpc>
                <a:spcPct val="100000"/>
              </a:lnSpc>
              <a:spcBef>
                <a:spcPts val="200"/>
              </a:spcBef>
              <a:spcAft>
                <a:spcPts val="0"/>
              </a:spcAft>
              <a:buClr>
                <a:schemeClr val="accent1"/>
              </a:buClr>
              <a:buSzTx/>
              <a:buFont typeface="Symbol" pitchFamily="18" charset="2"/>
              <a:buChar char="-"/>
              <a:tabLst/>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2000" b="1" dirty="0" smtClean="0">
                <a:solidFill>
                  <a:schemeClr val="accent1"/>
                </a:solidFill>
              </a:rPr>
              <a:t>R</a:t>
            </a:r>
            <a:endParaRPr lang="de-DE" sz="900" b="1" dirty="0">
              <a:solidFill>
                <a:schemeClr val="accent1"/>
              </a:solidFill>
            </a:endParaRPr>
          </a:p>
        </p:txBody>
      </p:sp>
      <p:pic>
        <p:nvPicPr>
          <p:cNvPr id="34" name="Picture 4" descr="\\psf\Host\Volumes\Kerstin 2014\20141213\_Kerstin_141312\_form und glanz\Kunden\MPG_MPDL\18_Logo ESAC\220px-Open_Access_logo_PLoS_white.png"/>
          <p:cNvPicPr>
            <a:picLocks noChangeAspect="1" noChangeArrowheads="1"/>
          </p:cNvPicPr>
          <p:nvPr/>
        </p:nvPicPr>
        <p:blipFill>
          <a:blip r:embed="rId14" cstate="print">
            <a:clrChange>
              <a:clrFrom>
                <a:srgbClr val="FFFFFF"/>
              </a:clrFrom>
              <a:clrTo>
                <a:srgbClr val="FFFFFF">
                  <a:alpha val="0"/>
                </a:srgbClr>
              </a:clrTo>
            </a:clrChange>
            <a:grayscl/>
            <a:extLst>
              <a:ext uri="{28A0092B-C50C-407E-A947-70E740481C1C}">
                <a14:useLocalDpi xmlns:a14="http://schemas.microsoft.com/office/drawing/2010/main" val="0"/>
              </a:ext>
            </a:extLst>
          </a:blip>
          <a:srcRect/>
          <a:stretch>
            <a:fillRect/>
          </a:stretch>
        </p:blipFill>
        <p:spPr bwMode="auto">
          <a:xfrm>
            <a:off x="1301077" y="4195839"/>
            <a:ext cx="546170" cy="854012"/>
          </a:xfrm>
          <a:prstGeom prst="rect">
            <a:avLst/>
          </a:prstGeom>
          <a:noFill/>
          <a:extLst>
            <a:ext uri="{909E8E84-426E-40DD-AFC4-6F175D3DCCD1}">
              <a14:hiddenFill xmlns:a14="http://schemas.microsoft.com/office/drawing/2010/main">
                <a:solidFill>
                  <a:srgbClr val="FFFFFF"/>
                </a:solidFill>
              </a14:hiddenFill>
            </a:ext>
          </a:extLst>
        </p:spPr>
      </p:pic>
      <p:pic>
        <p:nvPicPr>
          <p:cNvPr id="35" name="Grafik 64"/>
          <p:cNvPicPr>
            <a:picLocks noChangeAspect="1"/>
          </p:cNvPicPr>
          <p:nvPr/>
        </p:nvPicPr>
        <p:blipFill>
          <a:blip r:embed="rId15"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303169" y="4192863"/>
            <a:ext cx="544078" cy="848421"/>
          </a:xfrm>
          <a:prstGeom prst="rect">
            <a:avLst/>
          </a:prstGeom>
        </p:spPr>
      </p:pic>
    </p:spTree>
    <p:extLst>
      <p:ext uri="{BB962C8B-B14F-4D97-AF65-F5344CB8AC3E}">
        <p14:creationId xmlns:p14="http://schemas.microsoft.com/office/powerpoint/2010/main" val="24438681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500"/>
                                        <p:tgtEl>
                                          <p:spTgt spid="15"/>
                                        </p:tgtEl>
                                      </p:cBhvr>
                                    </p:animEffect>
                                  </p:childTnLst>
                                </p:cTn>
                              </p:par>
                              <p:par>
                                <p:cTn id="11" presetID="10" presetClass="entr" presetSubtype="0" fill="hold" nodeType="withEffect">
                                  <p:stCondLst>
                                    <p:cond delay="0"/>
                                  </p:stCondLst>
                                  <p:childTnLst>
                                    <p:set>
                                      <p:cBhvr>
                                        <p:cTn id="12" dur="1" fill="hold">
                                          <p:stCondLst>
                                            <p:cond delay="0"/>
                                          </p:stCondLst>
                                        </p:cTn>
                                        <p:tgtEl>
                                          <p:spTgt spid="9"/>
                                        </p:tgtEl>
                                        <p:attrNameLst>
                                          <p:attrName>style.visibility</p:attrName>
                                        </p:attrNameLst>
                                      </p:cBhvr>
                                      <p:to>
                                        <p:strVal val="visible"/>
                                      </p:to>
                                    </p:set>
                                    <p:animEffect transition="in" filter="fade">
                                      <p:cBhvr>
                                        <p:cTn id="13" dur="500"/>
                                        <p:tgtEl>
                                          <p:spTgt spid="9"/>
                                        </p:tgtEl>
                                      </p:cBhvr>
                                    </p:animEffect>
                                  </p:childTnLst>
                                </p:cTn>
                              </p:par>
                              <p:par>
                                <p:cTn id="14" presetID="10" presetClass="entr" presetSubtype="0" fill="hold" nodeType="withEffect">
                                  <p:stCondLst>
                                    <p:cond delay="0"/>
                                  </p:stCondLst>
                                  <p:childTnLst>
                                    <p:set>
                                      <p:cBhvr>
                                        <p:cTn id="15" dur="1" fill="hold">
                                          <p:stCondLst>
                                            <p:cond delay="0"/>
                                          </p:stCondLst>
                                        </p:cTn>
                                        <p:tgtEl>
                                          <p:spTgt spid="21"/>
                                        </p:tgtEl>
                                        <p:attrNameLst>
                                          <p:attrName>style.visibility</p:attrName>
                                        </p:attrNameLst>
                                      </p:cBhvr>
                                      <p:to>
                                        <p:strVal val="visible"/>
                                      </p:to>
                                    </p:set>
                                    <p:animEffect transition="in" filter="fade">
                                      <p:cBhvr>
                                        <p:cTn id="16" dur="500"/>
                                        <p:tgtEl>
                                          <p:spTgt spid="21"/>
                                        </p:tgtEl>
                                      </p:cBhvr>
                                    </p:animEffect>
                                  </p:childTnLst>
                                </p:cTn>
                              </p:par>
                              <p:par>
                                <p:cTn id="17" presetID="10" presetClass="entr" presetSubtype="0" fill="hold" nodeType="withEffect">
                                  <p:stCondLst>
                                    <p:cond delay="0"/>
                                  </p:stCondLst>
                                  <p:childTnLst>
                                    <p:set>
                                      <p:cBhvr>
                                        <p:cTn id="18" dur="1" fill="hold">
                                          <p:stCondLst>
                                            <p:cond delay="0"/>
                                          </p:stCondLst>
                                        </p:cTn>
                                        <p:tgtEl>
                                          <p:spTgt spid="12"/>
                                        </p:tgtEl>
                                        <p:attrNameLst>
                                          <p:attrName>style.visibility</p:attrName>
                                        </p:attrNameLst>
                                      </p:cBhvr>
                                      <p:to>
                                        <p:strVal val="visible"/>
                                      </p:to>
                                    </p:set>
                                    <p:animEffect transition="in" filter="fade">
                                      <p:cBhvr>
                                        <p:cTn id="19" dur="500"/>
                                        <p:tgtEl>
                                          <p:spTgt spid="12"/>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0"/>
                                        </p:tgtEl>
                                        <p:attrNameLst>
                                          <p:attrName>style.visibility</p:attrName>
                                        </p:attrNameLst>
                                      </p:cBhvr>
                                      <p:to>
                                        <p:strVal val="visible"/>
                                      </p:to>
                                    </p:set>
                                    <p:animEffect transition="in" filter="fade">
                                      <p:cBhvr>
                                        <p:cTn id="22" dur="500"/>
                                        <p:tgtEl>
                                          <p:spTgt spid="1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11"/>
                                        </p:tgtEl>
                                        <p:attrNameLst>
                                          <p:attrName>style.visibility</p:attrName>
                                        </p:attrNameLst>
                                      </p:cBhvr>
                                      <p:to>
                                        <p:strVal val="visible"/>
                                      </p:to>
                                    </p:set>
                                    <p:animEffect transition="in" filter="fade">
                                      <p:cBhvr>
                                        <p:cTn id="25" dur="500"/>
                                        <p:tgtEl>
                                          <p:spTgt spid="11"/>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19"/>
                                        </p:tgtEl>
                                        <p:attrNameLst>
                                          <p:attrName>style.visibility</p:attrName>
                                        </p:attrNameLst>
                                      </p:cBhvr>
                                      <p:to>
                                        <p:strVal val="visible"/>
                                      </p:to>
                                    </p:set>
                                    <p:animEffect transition="in" filter="fade">
                                      <p:cBhvr>
                                        <p:cTn id="28" dur="500"/>
                                        <p:tgtEl>
                                          <p:spTgt spid="1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20"/>
                                        </p:tgtEl>
                                        <p:attrNameLst>
                                          <p:attrName>style.visibility</p:attrName>
                                        </p:attrNameLst>
                                      </p:cBhvr>
                                      <p:to>
                                        <p:strVal val="visible"/>
                                      </p:to>
                                    </p:set>
                                    <p:animEffect transition="in" filter="fade">
                                      <p:cBhvr>
                                        <p:cTn id="31" dur="500"/>
                                        <p:tgtEl>
                                          <p:spTgt spid="20"/>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13"/>
                                        </p:tgtEl>
                                        <p:attrNameLst>
                                          <p:attrName>style.visibility</p:attrName>
                                        </p:attrNameLst>
                                      </p:cBhvr>
                                      <p:to>
                                        <p:strVal val="visible"/>
                                      </p:to>
                                    </p:set>
                                    <p:animEffect transition="in" filter="fade">
                                      <p:cBhvr>
                                        <p:cTn id="34" dur="500"/>
                                        <p:tgtEl>
                                          <p:spTgt spid="13"/>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14"/>
                                        </p:tgtEl>
                                        <p:attrNameLst>
                                          <p:attrName>style.visibility</p:attrName>
                                        </p:attrNameLst>
                                      </p:cBhvr>
                                      <p:to>
                                        <p:strVal val="visible"/>
                                      </p:to>
                                    </p:set>
                                    <p:animEffect transition="in" filter="fade">
                                      <p:cBhvr>
                                        <p:cTn id="37" dur="500"/>
                                        <p:tgtEl>
                                          <p:spTgt spid="14"/>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22"/>
                                        </p:tgtEl>
                                        <p:attrNameLst>
                                          <p:attrName>style.visibility</p:attrName>
                                        </p:attrNameLst>
                                      </p:cBhvr>
                                      <p:to>
                                        <p:strVal val="visible"/>
                                      </p:to>
                                    </p:set>
                                    <p:animEffect transition="in" filter="fade">
                                      <p:cBhvr>
                                        <p:cTn id="40" dur="500"/>
                                        <p:tgtEl>
                                          <p:spTgt spid="22"/>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23"/>
                                        </p:tgtEl>
                                        <p:attrNameLst>
                                          <p:attrName>style.visibility</p:attrName>
                                        </p:attrNameLst>
                                      </p:cBhvr>
                                      <p:to>
                                        <p:strVal val="visible"/>
                                      </p:to>
                                    </p:set>
                                    <p:animEffect transition="in" filter="fade">
                                      <p:cBhvr>
                                        <p:cTn id="43" dur="500"/>
                                        <p:tgtEl>
                                          <p:spTgt spid="23"/>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fade">
                                      <p:cBhvr>
                                        <p:cTn id="46" dur="500"/>
                                        <p:tgtEl>
                                          <p:spTgt spid="16"/>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Effect transition="in" filter="fade">
                                      <p:cBhvr>
                                        <p:cTn id="49" dur="500"/>
                                        <p:tgtEl>
                                          <p:spTgt spid="17"/>
                                        </p:tgtEl>
                                      </p:cBhvr>
                                    </p:animEffect>
                                  </p:childTnLst>
                                </p:cTn>
                              </p:par>
                            </p:childTnLst>
                          </p:cTn>
                        </p:par>
                      </p:childTnLst>
                    </p:cTn>
                  </p:par>
                  <p:par>
                    <p:cTn id="50" fill="hold">
                      <p:stCondLst>
                        <p:cond delay="indefinite"/>
                      </p:stCondLst>
                      <p:childTnLst>
                        <p:par>
                          <p:cTn id="51" fill="hold">
                            <p:stCondLst>
                              <p:cond delay="0"/>
                            </p:stCondLst>
                            <p:childTnLst>
                              <p:par>
                                <p:cTn id="52" presetID="0" presetClass="path" presetSubtype="0" accel="50000" decel="50000" fill="hold" grpId="0" nodeType="clickEffect">
                                  <p:stCondLst>
                                    <p:cond delay="0"/>
                                  </p:stCondLst>
                                  <p:childTnLst>
                                    <p:animMotion origin="layout" path="M 4.7925E-6 2.66081E-6 C -0.01266 -0.01342 -0.05 -0.04443 -0.07563 -0.08052 C -0.10127 -0.11662 -0.1245 -0.18533 -0.15415 -0.21587 C -0.18379 -0.24642 -0.22192 -0.2596 -0.25365 -0.26331 C -0.28538 -0.26701 -0.32559 -0.24341 -0.3445 -0.23809 " pathEditMode="relative" rAng="0" ptsTypes="aaaaa">
                                      <p:cBhvr>
                                        <p:cTn id="53" dur="5000" fill="hold"/>
                                        <p:tgtEl>
                                          <p:spTgt spid="33"/>
                                        </p:tgtEl>
                                        <p:attrNameLst>
                                          <p:attrName>ppt_x</p:attrName>
                                          <p:attrName>ppt_y</p:attrName>
                                        </p:attrNameLst>
                                      </p:cBhvr>
                                      <p:rCtr x="-17225" y="-13350"/>
                                    </p:animMotion>
                                  </p:childTnLst>
                                </p:cTn>
                              </p:par>
                              <p:par>
                                <p:cTn id="54" presetID="0" presetClass="path" presetSubtype="0" accel="50000" decel="50000" fill="hold" grpId="0" nodeType="withEffect">
                                  <p:stCondLst>
                                    <p:cond delay="300"/>
                                  </p:stCondLst>
                                  <p:childTnLst>
                                    <p:animMotion origin="layout" path="M -3.58757E-6 2.66081E-6 C -0.01265 -0.0081 -0.04951 -0.01481 -0.07579 -0.04813 C -0.10206 -0.08145 -0.12754 -0.16335 -0.15718 -0.19922 C -0.18683 -0.23508 -0.22304 -0.25521 -0.25364 -0.26331 C -0.28425 -0.2714 -0.3227 -0.25058 -0.34097 -0.24734 " pathEditMode="relative" rAng="0" ptsTypes="aaaaa">
                                      <p:cBhvr>
                                        <p:cTn id="55" dur="4700" fill="hold"/>
                                        <p:tgtEl>
                                          <p:spTgt spid="24"/>
                                        </p:tgtEl>
                                        <p:attrNameLst>
                                          <p:attrName>ppt_x</p:attrName>
                                          <p:attrName>ppt_y</p:attrName>
                                        </p:attrNameLst>
                                      </p:cBhvr>
                                      <p:rCtr x="-17049" y="-13582"/>
                                    </p:animMotion>
                                  </p:childTnLst>
                                </p:cTn>
                              </p:par>
                              <p:par>
                                <p:cTn id="56" presetID="0" presetClass="path" presetSubtype="0" accel="50000" decel="50000" fill="hold" grpId="0" nodeType="withEffect">
                                  <p:stCondLst>
                                    <p:cond delay="600"/>
                                  </p:stCondLst>
                                  <p:childTnLst>
                                    <p:animMotion origin="layout" path="M 3.80067E-6 2.66081E-6 C -0.01475 -0.00787 -0.05961 -0.01389 -0.08861 -0.04697 C -0.11761 -0.08006 -0.14629 -0.16382 -0.17433 -0.19922 C -0.20238 -0.23462 -0.22897 -0.24966 -0.25637 -0.25891 C -0.28377 -0.26817 -0.32143 -0.25567 -0.33857 -0.25475 " pathEditMode="relative" rAng="0" ptsTypes="aaaaa">
                                      <p:cBhvr>
                                        <p:cTn id="57" dur="4400" fill="hold"/>
                                        <p:tgtEl>
                                          <p:spTgt spid="25"/>
                                        </p:tgtEl>
                                        <p:attrNameLst>
                                          <p:attrName>ppt_x</p:attrName>
                                          <p:attrName>ppt_y</p:attrName>
                                        </p:attrNameLst>
                                      </p:cBhvr>
                                      <p:rCtr x="-16936" y="-13420"/>
                                    </p:animMotion>
                                  </p:childTnLst>
                                </p:cTn>
                              </p:par>
                              <p:par>
                                <p:cTn id="58" presetID="0" presetClass="path" presetSubtype="0" accel="50000" decel="50000" fill="hold" grpId="0" nodeType="withEffect">
                                  <p:stCondLst>
                                    <p:cond delay="900"/>
                                  </p:stCondLst>
                                  <p:childTnLst>
                                    <p:animMotion origin="layout" path="M 9.5818E-7 2.66081E-6 C -0.01715 -0.00718 -0.07355 -0.0125 -0.10303 -0.04281 C -0.13251 -0.07312 -0.15142 -0.14646 -0.17706 -0.1814 C -0.20269 -0.21634 -0.23041 -0.23948 -0.25637 -0.25266 C -0.28233 -0.26585 -0.31678 -0.25845 -0.33264 -0.26007 " pathEditMode="relative" rAng="0" ptsTypes="aaaaa">
                                      <p:cBhvr>
                                        <p:cTn id="59" dur="4100" fill="hold"/>
                                        <p:tgtEl>
                                          <p:spTgt spid="26"/>
                                        </p:tgtEl>
                                        <p:attrNameLst>
                                          <p:attrName>ppt_x</p:attrName>
                                          <p:attrName>ppt_y</p:attrName>
                                        </p:attrNameLst>
                                      </p:cBhvr>
                                      <p:rCtr x="-16632" y="-13304"/>
                                    </p:animMotion>
                                  </p:childTnLst>
                                </p:cTn>
                              </p:par>
                              <p:par>
                                <p:cTn id="60" presetID="0" presetClass="path" presetSubtype="0" accel="50000" decel="50000" fill="hold" grpId="0" nodeType="withEffect">
                                  <p:stCondLst>
                                    <p:cond delay="1200"/>
                                  </p:stCondLst>
                                  <p:childTnLst>
                                    <p:animMotion origin="layout" path="M -1.88431E-6 2.66081E-6 C -0.01842 -0.00648 -0.07771 -0.00718 -0.11088 -0.03864 C -0.14405 -0.07011 -0.17417 -0.1541 -0.19868 -0.18857 C -0.2232 -0.22305 -0.23698 -0.23277 -0.25829 -0.24526 C -0.2796 -0.25775 -0.31245 -0.25937 -0.32671 -0.26308 " pathEditMode="relative" rAng="0" ptsTypes="aaaaa">
                                      <p:cBhvr>
                                        <p:cTn id="61" dur="3800" fill="hold"/>
                                        <p:tgtEl>
                                          <p:spTgt spid="27"/>
                                        </p:tgtEl>
                                        <p:attrNameLst>
                                          <p:attrName>ppt_x</p:attrName>
                                          <p:attrName>ppt_y</p:attrName>
                                        </p:attrNameLst>
                                      </p:cBhvr>
                                      <p:rCtr x="-16344" y="-13165"/>
                                    </p:animMotion>
                                  </p:childTnLst>
                                </p:cTn>
                              </p:par>
                              <p:par>
                                <p:cTn id="62" presetID="0" presetClass="path" presetSubtype="0" accel="50000" decel="50000" fill="hold" grpId="0" nodeType="withEffect">
                                  <p:stCondLst>
                                    <p:cond delay="1500"/>
                                  </p:stCondLst>
                                  <p:childTnLst>
                                    <p:animMotion origin="layout" path="M -4.72681E-6 2.66081E-6 C -0.02115 -0.00648 -0.09469 -0.01365 -0.12738 -0.03957 C -0.16007 -0.06548 -0.17385 -0.12147 -0.19644 -0.15502 C -0.21903 -0.18857 -0.24274 -0.22351 -0.26325 -0.24109 C -0.28376 -0.25868 -0.30764 -0.25613 -0.31934 -0.26007 " pathEditMode="relative" rAng="0" ptsTypes="aaaaa">
                                      <p:cBhvr>
                                        <p:cTn id="63" dur="3500" fill="hold"/>
                                        <p:tgtEl>
                                          <p:spTgt spid="28"/>
                                        </p:tgtEl>
                                        <p:attrNameLst>
                                          <p:attrName>ppt_x</p:attrName>
                                          <p:attrName>ppt_y</p:attrName>
                                        </p:attrNameLst>
                                      </p:cBhvr>
                                      <p:rCtr x="-15975" y="-13003"/>
                                    </p:animMotion>
                                  </p:childTnLst>
                                </p:cTn>
                              </p:par>
                              <p:par>
                                <p:cTn id="64" presetID="0" presetClass="path" presetSubtype="0" accel="50000" decel="50000" fill="hold" grpId="0" nodeType="withEffect">
                                  <p:stCondLst>
                                    <p:cond delay="1800"/>
                                  </p:stCondLst>
                                  <p:childTnLst>
                                    <p:animMotion origin="layout" path="M -1.80099E-6 2.66081E-6 C -0.02195 -0.00532 -0.09822 -0.00833 -0.13203 -0.0324 C -0.16584 -0.05646 -0.18202 -0.11291 -0.20253 -0.14461 C -0.22304 -0.17631 -0.23746 -0.205 -0.25557 -0.22328 C -0.27367 -0.24156 -0.29931 -0.24757 -0.31085 -0.25382 " pathEditMode="relative" rAng="0" ptsTypes="aaaaa">
                                      <p:cBhvr>
                                        <p:cTn id="65" dur="3200" fill="hold"/>
                                        <p:tgtEl>
                                          <p:spTgt spid="29"/>
                                        </p:tgtEl>
                                        <p:attrNameLst>
                                          <p:attrName>ppt_x</p:attrName>
                                          <p:attrName>ppt_y</p:attrName>
                                        </p:attrNameLst>
                                      </p:cBhvr>
                                      <p:rCtr x="-15542" y="-12702"/>
                                    </p:animMotion>
                                  </p:childTnLst>
                                </p:cTn>
                              </p:par>
                              <p:par>
                                <p:cTn id="66" presetID="0" presetClass="path" presetSubtype="0" accel="50000" decel="50000" fill="hold" grpId="0" nodeType="withEffect">
                                  <p:stCondLst>
                                    <p:cond delay="2100"/>
                                  </p:stCondLst>
                                  <p:childTnLst>
                                    <p:animMotion origin="layout" path="M -2.33616E-6 2.66081E-6 C -0.02483 -0.00509 -0.11184 -0.00417 -0.14917 -0.03008 C -0.18651 -0.056 -0.20445 -0.12356 -0.224 -0.15502 C -0.24355 -0.18649 -0.25332 -0.20384 -0.26694 -0.21911 C -0.28056 -0.23438 -0.29739 -0.24063 -0.3054 -0.24642 " pathEditMode="relative" rAng="0" ptsTypes="aaaaa">
                                      <p:cBhvr>
                                        <p:cTn id="67" dur="2900" fill="hold"/>
                                        <p:tgtEl>
                                          <p:spTgt spid="30"/>
                                        </p:tgtEl>
                                        <p:attrNameLst>
                                          <p:attrName>ppt_x</p:attrName>
                                          <p:attrName>ppt_y</p:attrName>
                                        </p:attrNameLst>
                                      </p:cBhvr>
                                      <p:rCtr x="-15270" y="-12332"/>
                                    </p:animMotion>
                                  </p:childTnLst>
                                </p:cTn>
                              </p:par>
                              <p:par>
                                <p:cTn id="68" presetID="0" presetClass="path" presetSubtype="0" accel="50000" decel="50000" fill="hold" grpId="0" nodeType="withEffect">
                                  <p:stCondLst>
                                    <p:cond delay="2300"/>
                                  </p:stCondLst>
                                  <p:childTnLst>
                                    <p:animMotion origin="layout" path="M 3.66768E-6 2.66081E-6 C -0.01779 -0.00209 -0.07611 -0.00301 -0.10704 -0.01227 C -0.13796 -0.02152 -0.15879 -0.02383 -0.18539 -0.0553 C -0.21199 -0.08677 -0.24676 -0.17122 -0.26679 -0.2013 C -0.28682 -0.23138 -0.29787 -0.2286 -0.30604 -0.23577 " pathEditMode="relative" rAng="0" ptsTypes="aaaaa">
                                      <p:cBhvr>
                                        <p:cTn id="69" dur="2700" fill="hold"/>
                                        <p:tgtEl>
                                          <p:spTgt spid="31"/>
                                        </p:tgtEl>
                                        <p:attrNameLst>
                                          <p:attrName>ppt_x</p:attrName>
                                          <p:attrName>ppt_y</p:attrName>
                                        </p:attrNameLst>
                                      </p:cBhvr>
                                      <p:rCtr x="-15302" y="-11800"/>
                                    </p:animMotion>
                                  </p:childTnLst>
                                </p:cTn>
                              </p:par>
                              <p:par>
                                <p:cTn id="70" presetID="0" presetClass="path" presetSubtype="0" accel="50000" decel="50000" fill="hold" grpId="0" nodeType="withEffect">
                                  <p:stCondLst>
                                    <p:cond delay="2500"/>
                                  </p:stCondLst>
                                  <p:childTnLst>
                                    <p:animMotion origin="layout" path="M 2.20958E-6 2.66081E-6 C -0.0657 -0.0007 -0.13572 -0.01296 -0.17513 -0.03355 C -0.21455 -0.05414 -0.21519 -0.09163 -0.23666 -0.12356 C -0.25813 -0.15549 -0.2897 -0.20338 -0.30364 -0.22444 " pathEditMode="relative" rAng="0" ptsTypes="aaaa">
                                      <p:cBhvr>
                                        <p:cTn id="71" dur="2500" fill="hold"/>
                                        <p:tgtEl>
                                          <p:spTgt spid="32"/>
                                        </p:tgtEl>
                                        <p:attrNameLst>
                                          <p:attrName>ppt_x</p:attrName>
                                          <p:attrName>ppt_y</p:attrName>
                                        </p:attrNameLst>
                                      </p:cBhvr>
                                      <p:rCtr x="-15190" y="-11222"/>
                                    </p:animMotion>
                                  </p:childTnLst>
                                </p:cTn>
                              </p:par>
                            </p:childTnLst>
                          </p:cTn>
                        </p:par>
                      </p:childTnLst>
                    </p:cTn>
                  </p:par>
                  <p:par>
                    <p:cTn id="72" fill="hold">
                      <p:stCondLst>
                        <p:cond delay="indefinite"/>
                      </p:stCondLst>
                      <p:childTnLst>
                        <p:par>
                          <p:cTn id="73" fill="hold">
                            <p:stCondLst>
                              <p:cond delay="0"/>
                            </p:stCondLst>
                            <p:childTnLst>
                              <p:par>
                                <p:cTn id="74" presetID="0" presetClass="path" presetSubtype="0" accel="50000" decel="50000" fill="hold" grpId="1" nodeType="clickEffect">
                                  <p:stCondLst>
                                    <p:cond delay="0"/>
                                  </p:stCondLst>
                                  <p:childTnLst>
                                    <p:animMotion origin="layout" path="M -0.34455 -0.23819 C -0.36843 -0.22245 -0.39183 -0.20602 -0.41859 -0.17199 C -0.44535 -0.13819 -0.46378 -0.0625 -0.50593 -0.03403 C -0.54792 -0.00579 -0.60946 -0.00417 -0.67051 -0.00231 " pathEditMode="relative" rAng="0" ptsTypes="aaaA">
                                      <p:cBhvr>
                                        <p:cTn id="75" dur="5000" fill="hold"/>
                                        <p:tgtEl>
                                          <p:spTgt spid="33"/>
                                        </p:tgtEl>
                                        <p:attrNameLst>
                                          <p:attrName>ppt_x</p:attrName>
                                          <p:attrName>ppt_y</p:attrName>
                                        </p:attrNameLst>
                                      </p:cBhvr>
                                      <p:rCtr x="-16298" y="11782"/>
                                    </p:animMotion>
                                  </p:childTnLst>
                                </p:cTn>
                              </p:par>
                              <p:par>
                                <p:cTn id="76" presetID="0" presetClass="path" presetSubtype="0" accel="50000" decel="50000" fill="hold" grpId="1" nodeType="withEffect">
                                  <p:stCondLst>
                                    <p:cond delay="200"/>
                                  </p:stCondLst>
                                  <p:childTnLst>
                                    <p:animMotion origin="layout" path="M -0.34097 -0.24734 C -0.35587 -0.23693 -0.40153 -0.21958 -0.43038 -0.18556 C -0.45922 -0.15155 -0.4895 -0.07265 -0.51466 -0.04373 C -0.53981 -0.01481 -0.55472 -0.01921 -0.58083 -0.01227 C -0.60695 -0.00532 -0.65278 -0.0044 -0.67168 -0.00232 " pathEditMode="relative" rAng="0" ptsTypes="aaaaa">
                                      <p:cBhvr>
                                        <p:cTn id="77" dur="4800" fill="hold"/>
                                        <p:tgtEl>
                                          <p:spTgt spid="24"/>
                                        </p:tgtEl>
                                        <p:attrNameLst>
                                          <p:attrName>ppt_x</p:attrName>
                                          <p:attrName>ppt_y</p:attrName>
                                        </p:attrNameLst>
                                      </p:cBhvr>
                                      <p:rCtr x="-16536" y="12240"/>
                                    </p:animMotion>
                                  </p:childTnLst>
                                </p:cTn>
                              </p:par>
                              <p:par>
                                <p:cTn id="78" presetID="0" presetClass="path" presetSubtype="0" accel="50000" decel="50000" fill="hold" grpId="1" nodeType="withEffect">
                                  <p:stCondLst>
                                    <p:cond delay="400"/>
                                  </p:stCondLst>
                                  <p:childTnLst>
                                    <p:animMotion origin="layout" path="M -0.33857 -0.25475 C -0.35459 -0.2448 -0.40042 -0.2323 -0.43455 -0.19505 C -0.46868 -0.1578 -0.50393 -0.0634 -0.54351 -0.03124 C -0.58308 0.00092 -0.64493 -0.00787 -0.67169 -0.00185 " pathEditMode="relative" rAng="0" ptsTypes="aaaa">
                                      <p:cBhvr>
                                        <p:cTn id="79" dur="4600" fill="hold"/>
                                        <p:tgtEl>
                                          <p:spTgt spid="25"/>
                                        </p:tgtEl>
                                        <p:attrNameLst>
                                          <p:attrName>ppt_x</p:attrName>
                                          <p:attrName>ppt_y</p:attrName>
                                        </p:attrNameLst>
                                      </p:cBhvr>
                                      <p:rCtr x="-16664" y="12772"/>
                                    </p:animMotion>
                                  </p:childTnLst>
                                </p:cTn>
                              </p:par>
                              <p:par>
                                <p:cTn id="80" presetID="0" presetClass="path" presetSubtype="0" accel="50000" decel="50000" fill="hold" grpId="1" nodeType="withEffect">
                                  <p:stCondLst>
                                    <p:cond delay="600"/>
                                  </p:stCondLst>
                                  <p:childTnLst>
                                    <p:animMotion origin="layout" path="M -0.33264 -0.26007 C -0.35171 -0.25012 -0.40891 -0.23855 -0.44737 -0.20014 C -0.48582 -0.16173 -0.52652 -0.06294 -0.56369 -0.03008 C -0.60087 0.00277 -0.64861 -0.00879 -0.67089 -0.00324 " pathEditMode="relative" rAng="0" ptsTypes="aaaa">
                                      <p:cBhvr>
                                        <p:cTn id="81" dur="4400" fill="hold"/>
                                        <p:tgtEl>
                                          <p:spTgt spid="26"/>
                                        </p:tgtEl>
                                        <p:attrNameLst>
                                          <p:attrName>ppt_x</p:attrName>
                                          <p:attrName>ppt_y</p:attrName>
                                        </p:attrNameLst>
                                      </p:cBhvr>
                                      <p:rCtr x="-16920" y="13142"/>
                                    </p:animMotion>
                                  </p:childTnLst>
                                </p:cTn>
                              </p:par>
                              <p:par>
                                <p:cTn id="82" presetID="0" presetClass="path" presetSubtype="0" accel="50000" decel="50000" fill="hold" grpId="1" nodeType="withEffect">
                                  <p:stCondLst>
                                    <p:cond delay="800"/>
                                  </p:stCondLst>
                                  <p:childTnLst>
                                    <p:animMotion origin="layout" path="M -0.32671 -0.26308 C -0.34866 -0.25382 -0.41644 -0.24665 -0.45826 -0.20755 C -0.50008 -0.16844 -0.5427 -0.0634 -0.57811 -0.02916 C -0.61352 0.00509 -0.6515 -0.0081 -0.67088 -0.00255 " pathEditMode="relative" rAng="0" ptsTypes="aaaa">
                                      <p:cBhvr>
                                        <p:cTn id="83" dur="4200" fill="hold"/>
                                        <p:tgtEl>
                                          <p:spTgt spid="27"/>
                                        </p:tgtEl>
                                        <p:attrNameLst>
                                          <p:attrName>ppt_x</p:attrName>
                                          <p:attrName>ppt_y</p:attrName>
                                        </p:attrNameLst>
                                      </p:cBhvr>
                                      <p:rCtr x="-17209" y="13397"/>
                                    </p:animMotion>
                                  </p:childTnLst>
                                </p:cTn>
                              </p:par>
                              <p:par>
                                <p:cTn id="84" presetID="0" presetClass="path" presetSubtype="0" accel="50000" decel="50000" fill="hold" grpId="1" nodeType="withEffect">
                                  <p:stCondLst>
                                    <p:cond delay="1000"/>
                                  </p:stCondLst>
                                  <p:childTnLst>
                                    <p:animMotion origin="layout" path="M -0.31934 -0.26007 C -0.34385 -0.25266 -0.42188 -0.25289 -0.46611 -0.21587 C -0.51033 -0.17886 -0.55071 -0.07312 -0.58452 -0.03749 C -0.61833 -0.00185 -0.65149 -0.00995 -0.66912 -0.00278 " pathEditMode="relative" rAng="0" ptsTypes="aaaa">
                                      <p:cBhvr>
                                        <p:cTn id="85" dur="4000" fill="hold"/>
                                        <p:tgtEl>
                                          <p:spTgt spid="28"/>
                                        </p:tgtEl>
                                        <p:attrNameLst>
                                          <p:attrName>ppt_x</p:attrName>
                                          <p:attrName>ppt_y</p:attrName>
                                        </p:attrNameLst>
                                      </p:cBhvr>
                                      <p:rCtr x="-17497" y="12911"/>
                                    </p:animMotion>
                                  </p:childTnLst>
                                </p:cTn>
                              </p:par>
                              <p:par>
                                <p:cTn id="86" presetID="0" presetClass="path" presetSubtype="0" accel="50000" decel="50000" fill="hold" grpId="1" nodeType="withEffect">
                                  <p:stCondLst>
                                    <p:cond delay="1200"/>
                                  </p:stCondLst>
                                  <p:childTnLst>
                                    <p:animMotion origin="layout" path="M -0.31085 -0.25382 C -0.3195 -0.25498 -0.33456 -0.26817 -0.36308 -0.26099 C -0.3916 -0.25382 -0.4424 -0.24873 -0.48229 -0.21078 C -0.52219 -0.17284 -0.57202 -0.06803 -0.60295 -0.03332 C -0.63387 0.00139 -0.65454 -0.00903 -0.66816 -0.00278 " pathEditMode="relative" rAng="0" ptsTypes="aaaaa">
                                      <p:cBhvr>
                                        <p:cTn id="87" dur="3800" fill="hold"/>
                                        <p:tgtEl>
                                          <p:spTgt spid="29"/>
                                        </p:tgtEl>
                                        <p:attrNameLst>
                                          <p:attrName>ppt_x</p:attrName>
                                          <p:attrName>ppt_y</p:attrName>
                                        </p:attrNameLst>
                                      </p:cBhvr>
                                      <p:rCtr x="-17866" y="12031"/>
                                    </p:animMotion>
                                  </p:childTnLst>
                                </p:cTn>
                              </p:par>
                              <p:par>
                                <p:cTn id="88" presetID="0" presetClass="path" presetSubtype="0" accel="50000" decel="50000" fill="hold" grpId="1" nodeType="withEffect">
                                  <p:stCondLst>
                                    <p:cond delay="1400"/>
                                  </p:stCondLst>
                                  <p:childTnLst>
                                    <p:animMotion origin="layout" path="M -0.3054 -0.24665 C -0.32062 -0.2485 -0.3626 -0.26724 -0.39705 -0.25799 C -0.4315 -0.24873 -0.477 -0.22791 -0.51258 -0.19066 C -0.54815 -0.1534 -0.58516 -0.06571 -0.61064 -0.03448 C -0.63611 -0.00324 -0.65438 -0.00972 -0.66592 -0.00324 " pathEditMode="relative" rAng="0" ptsTypes="aaaaa">
                                      <p:cBhvr>
                                        <p:cTn id="89" dur="3600" fill="hold"/>
                                        <p:tgtEl>
                                          <p:spTgt spid="30"/>
                                        </p:tgtEl>
                                        <p:attrNameLst>
                                          <p:attrName>ppt_x</p:attrName>
                                          <p:attrName>ppt_y</p:attrName>
                                        </p:attrNameLst>
                                      </p:cBhvr>
                                      <p:rCtr x="-18026" y="11129"/>
                                    </p:animMotion>
                                  </p:childTnLst>
                                </p:cTn>
                              </p:par>
                              <p:par>
                                <p:cTn id="90" presetID="0" presetClass="path" presetSubtype="0" accel="50000" decel="50000" fill="hold" grpId="1" nodeType="withEffect">
                                  <p:stCondLst>
                                    <p:cond delay="1600"/>
                                  </p:stCondLst>
                                  <p:childTnLst>
                                    <p:animMotion origin="layout" path="M -0.30604 -0.23577 C -0.32063 -0.23971 -0.35764 -0.26678 -0.39401 -0.26007 C -0.43038 -0.25336 -0.48614 -0.23253 -0.52412 -0.19598 C -0.56209 -0.15942 -0.59782 -0.07289 -0.62154 -0.04072 C -0.64525 -0.00856 -0.65711 -0.01065 -0.66656 -0.00278 " pathEditMode="relative" rAng="0" ptsTypes="aaaaa">
                                      <p:cBhvr>
                                        <p:cTn id="91" dur="3400" fill="hold"/>
                                        <p:tgtEl>
                                          <p:spTgt spid="31"/>
                                        </p:tgtEl>
                                        <p:attrNameLst>
                                          <p:attrName>ppt_x</p:attrName>
                                          <p:attrName>ppt_y</p:attrName>
                                        </p:attrNameLst>
                                      </p:cBhvr>
                                      <p:rCtr x="-18026" y="10088"/>
                                    </p:animMotion>
                                  </p:childTnLst>
                                </p:cTn>
                              </p:par>
                              <p:par>
                                <p:cTn id="92" presetID="0" presetClass="path" presetSubtype="0" accel="50000" decel="50000" fill="hold" grpId="1" nodeType="withEffect">
                                  <p:stCondLst>
                                    <p:cond delay="1800"/>
                                  </p:stCondLst>
                                  <p:childTnLst>
                                    <p:animMotion origin="layout" path="M -0.30364 -0.22444 C -0.32062 -0.23022 -0.36821 -0.26192 -0.40603 -0.25868 C -0.44384 -0.25544 -0.49303 -0.24109 -0.53037 -0.20546 C -0.5677 -0.16983 -0.60728 -0.07867 -0.62987 -0.04489 C -0.65246 -0.01111 -0.65855 -0.0118 -0.66608 -0.00301 " pathEditMode="relative" rAng="0" ptsTypes="aaaaa">
                                      <p:cBhvr>
                                        <p:cTn id="93" dur="3200" fill="hold"/>
                                        <p:tgtEl>
                                          <p:spTgt spid="32"/>
                                        </p:tgtEl>
                                        <p:attrNameLst>
                                          <p:attrName>ppt_x</p:attrName>
                                          <p:attrName>ppt_y</p:attrName>
                                        </p:attrNameLst>
                                      </p:cBhvr>
                                      <p:rCtr x="-18122" y="9186"/>
                                    </p:animMotion>
                                  </p:childTnLst>
                                </p:cTn>
                              </p:par>
                              <p:par>
                                <p:cTn id="94" presetID="10" presetClass="entr" presetSubtype="0" fill="hold" nodeType="withEffect">
                                  <p:stCondLst>
                                    <p:cond delay="3400"/>
                                  </p:stCondLst>
                                  <p:childTnLst>
                                    <p:set>
                                      <p:cBhvr>
                                        <p:cTn id="95" dur="1" fill="hold">
                                          <p:stCondLst>
                                            <p:cond delay="0"/>
                                          </p:stCondLst>
                                        </p:cTn>
                                        <p:tgtEl>
                                          <p:spTgt spid="35"/>
                                        </p:tgtEl>
                                        <p:attrNameLst>
                                          <p:attrName>style.visibility</p:attrName>
                                        </p:attrNameLst>
                                      </p:cBhvr>
                                      <p:to>
                                        <p:strVal val="visible"/>
                                      </p:to>
                                    </p:set>
                                    <p:animEffect transition="in" filter="fade">
                                      <p:cBhvr>
                                        <p:cTn id="96" dur="1100"/>
                                        <p:tgtEl>
                                          <p:spTgt spid="35"/>
                                        </p:tgtEl>
                                      </p:cBhvr>
                                    </p:animEffect>
                                  </p:childTnLst>
                                </p:cTn>
                              </p:par>
                              <p:par>
                                <p:cTn id="97" presetID="10" presetClass="exit" presetSubtype="0" fill="hold" nodeType="withEffect">
                                  <p:stCondLst>
                                    <p:cond delay="3700"/>
                                  </p:stCondLst>
                                  <p:childTnLst>
                                    <p:animEffect transition="out" filter="fade">
                                      <p:cBhvr>
                                        <p:cTn id="98" dur="500"/>
                                        <p:tgtEl>
                                          <p:spTgt spid="34"/>
                                        </p:tgtEl>
                                      </p:cBhvr>
                                    </p:animEffect>
                                    <p:set>
                                      <p:cBhvr>
                                        <p:cTn id="99" dur="1" fill="hold">
                                          <p:stCondLst>
                                            <p:cond delay="499"/>
                                          </p:stCondLst>
                                        </p:cTn>
                                        <p:tgtEl>
                                          <p:spTgt spid="3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p:bldP spid="13" grpId="0" animBg="1"/>
      <p:bldP spid="14" grpId="0"/>
      <p:bldP spid="16" grpId="0" animBg="1"/>
      <p:bldP spid="17" grpId="0"/>
      <p:bldP spid="19" grpId="0" animBg="1"/>
      <p:bldP spid="20" grpId="0"/>
      <p:bldP spid="22" grpId="0" animBg="1"/>
      <p:bldP spid="23" grpId="0"/>
      <p:bldP spid="24" grpId="0"/>
      <p:bldP spid="24" grpId="1"/>
      <p:bldP spid="25" grpId="0"/>
      <p:bldP spid="25" grpId="1"/>
      <p:bldP spid="26" grpId="0"/>
      <p:bldP spid="26" grpId="1"/>
      <p:bldP spid="27" grpId="0"/>
      <p:bldP spid="27" grpId="1"/>
      <p:bldP spid="28" grpId="0"/>
      <p:bldP spid="28" grpId="1"/>
      <p:bldP spid="29" grpId="0"/>
      <p:bldP spid="29" grpId="1"/>
      <p:bldP spid="30" grpId="0"/>
      <p:bldP spid="30" grpId="1"/>
      <p:bldP spid="31" grpId="0"/>
      <p:bldP spid="31" grpId="1"/>
      <p:bldP spid="32" grpId="0"/>
      <p:bldP spid="32" grpId="1"/>
      <p:bldP spid="33" grpId="0"/>
      <p:bldP spid="33" grpId="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p:cNvSpPr>
            <a:spLocks noGrp="1"/>
          </p:cNvSpPr>
          <p:nvPr>
            <p:ph type="sldNum" sz="quarter" idx="12"/>
          </p:nvPr>
        </p:nvSpPr>
        <p:spPr/>
        <p:txBody>
          <a:bodyPr/>
          <a:lstStyle/>
          <a:p>
            <a:fld id="{4AD1E780-DE1C-4ECA-B5E5-863D0BC53287}" type="slidenum">
              <a:rPr lang="de-DE" smtClean="0"/>
              <a:pPr/>
              <a:t>5</a:t>
            </a:fld>
            <a:endParaRPr lang="de-DE" dirty="0"/>
          </a:p>
        </p:txBody>
      </p:sp>
      <p:sp>
        <p:nvSpPr>
          <p:cNvPr id="3" name="Textplatzhalter 2"/>
          <p:cNvSpPr>
            <a:spLocks noGrp="1"/>
          </p:cNvSpPr>
          <p:nvPr>
            <p:ph type="body" sz="quarter" idx="13"/>
          </p:nvPr>
        </p:nvSpPr>
        <p:spPr/>
        <p:txBody>
          <a:bodyPr anchor="t" anchorCtr="0"/>
          <a:lstStyle/>
          <a:p>
            <a:endParaRPr lang="de-DE" sz="3600" b="1" dirty="0" smtClean="0">
              <a:solidFill>
                <a:schemeClr val="accent6"/>
              </a:solidFill>
            </a:endParaRPr>
          </a:p>
          <a:p>
            <a:endParaRPr lang="de-DE" sz="3600" dirty="0" smtClean="0"/>
          </a:p>
        </p:txBody>
      </p:sp>
      <p:sp>
        <p:nvSpPr>
          <p:cNvPr id="15" name="Textplatzhalter 2"/>
          <p:cNvSpPr txBox="1">
            <a:spLocks/>
          </p:cNvSpPr>
          <p:nvPr/>
        </p:nvSpPr>
        <p:spPr>
          <a:xfrm>
            <a:off x="356256" y="210014"/>
            <a:ext cx="9549744" cy="697671"/>
          </a:xfrm>
          <a:prstGeom prst="rect">
            <a:avLst/>
          </a:prstGeom>
        </p:spPr>
        <p:txBody>
          <a:bodyPr vert="horz" wrap="square" lIns="0" tIns="0" rIns="0" bIns="0" rtlCol="0" anchor="t" anchorCtr="0">
            <a:noAutofit/>
          </a:bodyPr>
          <a:lstStyle>
            <a:lvl1pPr marL="0" indent="0" algn="l" defTabSz="914400" rtl="0" eaLnBrk="1" latinLnBrk="0" hangingPunct="1">
              <a:spcBef>
                <a:spcPts val="200"/>
              </a:spcBef>
              <a:buClr>
                <a:schemeClr val="tx2"/>
              </a:buClr>
              <a:buFont typeface="Wingdings" pitchFamily="2" charset="2"/>
              <a:buNone/>
              <a:defRPr sz="4400" b="0" kern="1200">
                <a:solidFill>
                  <a:schemeClr val="tx2"/>
                </a:solidFill>
                <a:latin typeface="+mj-lt"/>
                <a:ea typeface="+mn-ea"/>
                <a:cs typeface="+mn-cs"/>
              </a:defRPr>
            </a:lvl1pPr>
            <a:lvl2pPr marL="0" indent="0" algn="l" defTabSz="914400" rtl="0" eaLnBrk="1" latinLnBrk="0" hangingPunct="1">
              <a:spcBef>
                <a:spcPts val="200"/>
              </a:spcBef>
              <a:buClr>
                <a:schemeClr val="tx2"/>
              </a:buClr>
              <a:buFont typeface="Wingdings" pitchFamily="2" charset="2"/>
              <a:buNone/>
              <a:defRPr sz="2400" kern="1200">
                <a:solidFill>
                  <a:schemeClr val="tx2"/>
                </a:solidFill>
                <a:latin typeface="+mj-lt"/>
                <a:ea typeface="+mn-ea"/>
                <a:cs typeface="+mn-cs"/>
              </a:defRPr>
            </a:lvl2pPr>
            <a:lvl3pPr marL="0" indent="0" algn="l" defTabSz="914400" rtl="0" eaLnBrk="1" latinLnBrk="0" hangingPunct="1">
              <a:spcBef>
                <a:spcPts val="200"/>
              </a:spcBef>
              <a:buClr>
                <a:schemeClr val="tx2"/>
              </a:buClr>
              <a:buFont typeface="Arial" pitchFamily="34" charset="0"/>
              <a:buNone/>
              <a:defRPr sz="2400" kern="1200">
                <a:solidFill>
                  <a:schemeClr val="tx2"/>
                </a:solidFill>
                <a:latin typeface="+mj-lt"/>
                <a:ea typeface="+mn-ea"/>
                <a:cs typeface="+mn-cs"/>
              </a:defRPr>
            </a:lvl3pPr>
            <a:lvl4pPr marL="0" indent="0" algn="l" defTabSz="914400" rtl="0" eaLnBrk="1" latinLnBrk="0" hangingPunct="1">
              <a:spcBef>
                <a:spcPts val="200"/>
              </a:spcBef>
              <a:buClr>
                <a:schemeClr val="tx2"/>
              </a:buClr>
              <a:buFont typeface="Arial" pitchFamily="34" charset="0"/>
              <a:buNone/>
              <a:defRPr sz="2400" kern="1200">
                <a:solidFill>
                  <a:schemeClr val="tx2"/>
                </a:solidFill>
                <a:latin typeface="+mj-lt"/>
                <a:ea typeface="+mn-ea"/>
                <a:cs typeface="+mn-cs"/>
              </a:defRPr>
            </a:lvl4pPr>
            <a:lvl5pPr marL="0" indent="0" algn="l" defTabSz="914400" rtl="0" eaLnBrk="1" latinLnBrk="0" hangingPunct="1">
              <a:spcBef>
                <a:spcPts val="200"/>
              </a:spcBef>
              <a:buClr>
                <a:schemeClr val="tx2"/>
              </a:buClr>
              <a:buFont typeface="Symbol" pitchFamily="18" charset="2"/>
              <a:buNone/>
              <a:defRPr sz="2400" kern="1200">
                <a:solidFill>
                  <a:schemeClr val="tx2"/>
                </a:solidFill>
                <a:latin typeface="+mj-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3600" b="1" dirty="0" smtClean="0">
                <a:solidFill>
                  <a:schemeClr val="accent6"/>
                </a:solidFill>
              </a:rPr>
              <a:t>In </a:t>
            </a:r>
            <a:r>
              <a:rPr lang="de-DE" sz="3600" b="1" dirty="0" err="1" smtClean="0">
                <a:solidFill>
                  <a:schemeClr val="accent6"/>
                </a:solidFill>
              </a:rPr>
              <a:t>the</a:t>
            </a:r>
            <a:r>
              <a:rPr lang="de-DE" sz="3600" b="1" dirty="0" smtClean="0">
                <a:solidFill>
                  <a:schemeClr val="accent6"/>
                </a:solidFill>
              </a:rPr>
              <a:t> </a:t>
            </a:r>
            <a:r>
              <a:rPr lang="de-DE" sz="3600" b="1" dirty="0" err="1" smtClean="0">
                <a:solidFill>
                  <a:schemeClr val="accent6"/>
                </a:solidFill>
              </a:rPr>
              <a:t>meantime</a:t>
            </a:r>
            <a:r>
              <a:rPr lang="de-DE" sz="3600" b="1" dirty="0" smtClean="0">
                <a:solidFill>
                  <a:schemeClr val="accent6"/>
                </a:solidFill>
              </a:rPr>
              <a:t>, </a:t>
            </a:r>
            <a:r>
              <a:rPr lang="de-DE" sz="3600" b="1" dirty="0" err="1" smtClean="0">
                <a:solidFill>
                  <a:schemeClr val="accent6"/>
                </a:solidFill>
              </a:rPr>
              <a:t>our</a:t>
            </a:r>
            <a:r>
              <a:rPr lang="de-DE" sz="3600" b="1" dirty="0" smtClean="0">
                <a:solidFill>
                  <a:schemeClr val="accent6"/>
                </a:solidFill>
              </a:rPr>
              <a:t> </a:t>
            </a:r>
            <a:r>
              <a:rPr lang="de-DE" sz="3600" b="1" dirty="0" err="1" smtClean="0">
                <a:solidFill>
                  <a:schemeClr val="accent6"/>
                </a:solidFill>
              </a:rPr>
              <a:t>money</a:t>
            </a:r>
            <a:r>
              <a:rPr lang="de-DE" sz="3600" b="1" dirty="0" smtClean="0">
                <a:solidFill>
                  <a:schemeClr val="accent6"/>
                </a:solidFill>
              </a:rPr>
              <a:t> </a:t>
            </a:r>
            <a:r>
              <a:rPr lang="de-DE" sz="3600" b="1" dirty="0" err="1" smtClean="0">
                <a:solidFill>
                  <a:schemeClr val="accent6"/>
                </a:solidFill>
              </a:rPr>
              <a:t>stays</a:t>
            </a:r>
            <a:r>
              <a:rPr lang="de-DE" sz="3600" b="1" dirty="0" smtClean="0">
                <a:solidFill>
                  <a:schemeClr val="accent6"/>
                </a:solidFill>
              </a:rPr>
              <a:t> </a:t>
            </a:r>
            <a:r>
              <a:rPr lang="de-DE" sz="3600" b="1" dirty="0" err="1" smtClean="0">
                <a:solidFill>
                  <a:schemeClr val="accent6"/>
                </a:solidFill>
              </a:rPr>
              <a:t>tied</a:t>
            </a:r>
            <a:r>
              <a:rPr lang="de-DE" sz="3600" b="1" dirty="0" smtClean="0">
                <a:solidFill>
                  <a:schemeClr val="accent6"/>
                </a:solidFill>
              </a:rPr>
              <a:t> </a:t>
            </a:r>
            <a:r>
              <a:rPr lang="de-DE" sz="3600" b="1" dirty="0" err="1" smtClean="0">
                <a:solidFill>
                  <a:schemeClr val="accent6"/>
                </a:solidFill>
              </a:rPr>
              <a:t>up</a:t>
            </a:r>
            <a:endParaRPr lang="de-DE" sz="3600" b="1" dirty="0">
              <a:solidFill>
                <a:schemeClr val="accent6"/>
              </a:solidFill>
            </a:endParaRPr>
          </a:p>
          <a:p>
            <a:r>
              <a:rPr lang="de-DE" sz="3600" b="1" dirty="0" smtClean="0">
                <a:solidFill>
                  <a:schemeClr val="accent6"/>
                </a:solidFill>
              </a:rPr>
              <a:t>in </a:t>
            </a:r>
            <a:r>
              <a:rPr lang="de-DE" sz="3600" b="1" dirty="0" err="1" smtClean="0">
                <a:solidFill>
                  <a:schemeClr val="accent6"/>
                </a:solidFill>
              </a:rPr>
              <a:t>big</a:t>
            </a:r>
            <a:r>
              <a:rPr lang="de-DE" sz="3600" b="1" dirty="0" smtClean="0">
                <a:solidFill>
                  <a:schemeClr val="accent6"/>
                </a:solidFill>
              </a:rPr>
              <a:t> deal </a:t>
            </a:r>
            <a:r>
              <a:rPr lang="de-DE" sz="3600" b="1" dirty="0" err="1" smtClean="0">
                <a:solidFill>
                  <a:schemeClr val="accent6"/>
                </a:solidFill>
              </a:rPr>
              <a:t>subscription</a:t>
            </a:r>
            <a:r>
              <a:rPr lang="de-DE" sz="3600" b="1" dirty="0" smtClean="0">
                <a:solidFill>
                  <a:schemeClr val="accent6"/>
                </a:solidFill>
              </a:rPr>
              <a:t> </a:t>
            </a:r>
            <a:r>
              <a:rPr lang="de-DE" sz="3600" b="1" dirty="0" err="1" smtClean="0">
                <a:solidFill>
                  <a:schemeClr val="accent6"/>
                </a:solidFill>
              </a:rPr>
              <a:t>packages</a:t>
            </a:r>
            <a:endParaRPr lang="de-DE" sz="3600" dirty="0" smtClean="0"/>
          </a:p>
        </p:txBody>
      </p:sp>
      <p:pic>
        <p:nvPicPr>
          <p:cNvPr id="4" name="Picture 3"/>
          <p:cNvPicPr>
            <a:picLocks noChangeAspect="1"/>
          </p:cNvPicPr>
          <p:nvPr/>
        </p:nvPicPr>
        <p:blipFill>
          <a:blip r:embed="rId3"/>
          <a:stretch>
            <a:fillRect/>
          </a:stretch>
        </p:blipFill>
        <p:spPr>
          <a:xfrm>
            <a:off x="1121725" y="1389090"/>
            <a:ext cx="6355707" cy="5468910"/>
          </a:xfrm>
          <a:prstGeom prst="rect">
            <a:avLst/>
          </a:prstGeom>
        </p:spPr>
      </p:pic>
      <p:pic>
        <p:nvPicPr>
          <p:cNvPr id="6" name="Picture 5"/>
          <p:cNvPicPr>
            <a:picLocks noChangeAspect="1"/>
          </p:cNvPicPr>
          <p:nvPr/>
        </p:nvPicPr>
        <p:blipFill>
          <a:blip r:embed="rId4"/>
          <a:stretch>
            <a:fillRect/>
          </a:stretch>
        </p:blipFill>
        <p:spPr>
          <a:xfrm>
            <a:off x="3208849" y="1389090"/>
            <a:ext cx="1362075" cy="262857"/>
          </a:xfrm>
          <a:prstGeom prst="rect">
            <a:avLst/>
          </a:prstGeom>
        </p:spPr>
      </p:pic>
      <p:sp>
        <p:nvSpPr>
          <p:cNvPr id="7" name="TextBox 6"/>
          <p:cNvSpPr txBox="1"/>
          <p:nvPr/>
        </p:nvSpPr>
        <p:spPr>
          <a:xfrm>
            <a:off x="7579642" y="5543551"/>
            <a:ext cx="2125712" cy="307777"/>
          </a:xfrm>
          <a:prstGeom prst="rect">
            <a:avLst/>
          </a:prstGeom>
          <a:noFill/>
        </p:spPr>
        <p:txBody>
          <a:bodyPr wrap="square" rtlCol="0">
            <a:spAutoFit/>
          </a:bodyPr>
          <a:lstStyle/>
          <a:p>
            <a:r>
              <a:rPr lang="en-US" sz="1400" i="1" dirty="0"/>
              <a:t>ARL Statistics </a:t>
            </a:r>
            <a:r>
              <a:rPr lang="en-US" sz="1400" i="1" dirty="0" smtClean="0"/>
              <a:t>2014-15</a:t>
            </a:r>
            <a:endParaRPr lang="en-GB" sz="1400" dirty="0"/>
          </a:p>
        </p:txBody>
      </p:sp>
    </p:spTree>
    <p:extLst>
      <p:ext uri="{BB962C8B-B14F-4D97-AF65-F5344CB8AC3E}">
        <p14:creationId xmlns:p14="http://schemas.microsoft.com/office/powerpoint/2010/main" val="143957066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p:cNvSpPr>
            <a:spLocks noGrp="1"/>
          </p:cNvSpPr>
          <p:nvPr>
            <p:ph type="sldNum" sz="quarter" idx="12"/>
          </p:nvPr>
        </p:nvSpPr>
        <p:spPr/>
        <p:txBody>
          <a:bodyPr/>
          <a:lstStyle/>
          <a:p>
            <a:fld id="{4AD1E780-DE1C-4ECA-B5E5-863D0BC53287}" type="slidenum">
              <a:rPr lang="de-DE" smtClean="0"/>
              <a:pPr/>
              <a:t>6</a:t>
            </a:fld>
            <a:endParaRPr lang="de-DE" dirty="0"/>
          </a:p>
        </p:txBody>
      </p:sp>
      <p:sp>
        <p:nvSpPr>
          <p:cNvPr id="3" name="Textplatzhalter 2"/>
          <p:cNvSpPr>
            <a:spLocks noGrp="1"/>
          </p:cNvSpPr>
          <p:nvPr>
            <p:ph type="body" sz="quarter" idx="13"/>
          </p:nvPr>
        </p:nvSpPr>
        <p:spPr/>
        <p:txBody>
          <a:bodyPr anchor="t" anchorCtr="0"/>
          <a:lstStyle/>
          <a:p>
            <a:endParaRPr lang="de-DE" sz="3600" b="1" dirty="0" smtClean="0">
              <a:solidFill>
                <a:schemeClr val="accent6"/>
              </a:solidFill>
            </a:endParaRPr>
          </a:p>
          <a:p>
            <a:endParaRPr lang="de-DE" sz="3600" dirty="0" smtClean="0"/>
          </a:p>
        </p:txBody>
      </p:sp>
      <p:sp>
        <p:nvSpPr>
          <p:cNvPr id="15" name="Textplatzhalter 2"/>
          <p:cNvSpPr txBox="1">
            <a:spLocks/>
          </p:cNvSpPr>
          <p:nvPr/>
        </p:nvSpPr>
        <p:spPr>
          <a:xfrm>
            <a:off x="356256" y="426280"/>
            <a:ext cx="9087782" cy="697671"/>
          </a:xfrm>
          <a:prstGeom prst="rect">
            <a:avLst/>
          </a:prstGeom>
        </p:spPr>
        <p:txBody>
          <a:bodyPr vert="horz" wrap="square" lIns="0" tIns="0" rIns="0" bIns="0" rtlCol="0" anchor="t" anchorCtr="0">
            <a:noAutofit/>
          </a:bodyPr>
          <a:lstStyle>
            <a:lvl1pPr marL="0" indent="0" algn="l" defTabSz="914400" rtl="0" eaLnBrk="1" latinLnBrk="0" hangingPunct="1">
              <a:spcBef>
                <a:spcPts val="200"/>
              </a:spcBef>
              <a:buClr>
                <a:schemeClr val="tx2"/>
              </a:buClr>
              <a:buFont typeface="Wingdings" pitchFamily="2" charset="2"/>
              <a:buNone/>
              <a:defRPr sz="4400" b="0" kern="1200">
                <a:solidFill>
                  <a:schemeClr val="tx2"/>
                </a:solidFill>
                <a:latin typeface="+mj-lt"/>
                <a:ea typeface="+mn-ea"/>
                <a:cs typeface="+mn-cs"/>
              </a:defRPr>
            </a:lvl1pPr>
            <a:lvl2pPr marL="0" indent="0" algn="l" defTabSz="914400" rtl="0" eaLnBrk="1" latinLnBrk="0" hangingPunct="1">
              <a:spcBef>
                <a:spcPts val="200"/>
              </a:spcBef>
              <a:buClr>
                <a:schemeClr val="tx2"/>
              </a:buClr>
              <a:buFont typeface="Wingdings" pitchFamily="2" charset="2"/>
              <a:buNone/>
              <a:defRPr sz="2400" kern="1200">
                <a:solidFill>
                  <a:schemeClr val="tx2"/>
                </a:solidFill>
                <a:latin typeface="+mj-lt"/>
                <a:ea typeface="+mn-ea"/>
                <a:cs typeface="+mn-cs"/>
              </a:defRPr>
            </a:lvl2pPr>
            <a:lvl3pPr marL="0" indent="0" algn="l" defTabSz="914400" rtl="0" eaLnBrk="1" latinLnBrk="0" hangingPunct="1">
              <a:spcBef>
                <a:spcPts val="200"/>
              </a:spcBef>
              <a:buClr>
                <a:schemeClr val="tx2"/>
              </a:buClr>
              <a:buFont typeface="Arial" pitchFamily="34" charset="0"/>
              <a:buNone/>
              <a:defRPr sz="2400" kern="1200">
                <a:solidFill>
                  <a:schemeClr val="tx2"/>
                </a:solidFill>
                <a:latin typeface="+mj-lt"/>
                <a:ea typeface="+mn-ea"/>
                <a:cs typeface="+mn-cs"/>
              </a:defRPr>
            </a:lvl3pPr>
            <a:lvl4pPr marL="0" indent="0" algn="l" defTabSz="914400" rtl="0" eaLnBrk="1" latinLnBrk="0" hangingPunct="1">
              <a:spcBef>
                <a:spcPts val="200"/>
              </a:spcBef>
              <a:buClr>
                <a:schemeClr val="tx2"/>
              </a:buClr>
              <a:buFont typeface="Arial" pitchFamily="34" charset="0"/>
              <a:buNone/>
              <a:defRPr sz="2400" kern="1200">
                <a:solidFill>
                  <a:schemeClr val="tx2"/>
                </a:solidFill>
                <a:latin typeface="+mj-lt"/>
                <a:ea typeface="+mn-ea"/>
                <a:cs typeface="+mn-cs"/>
              </a:defRPr>
            </a:lvl4pPr>
            <a:lvl5pPr marL="0" indent="0" algn="l" defTabSz="914400" rtl="0" eaLnBrk="1" latinLnBrk="0" hangingPunct="1">
              <a:spcBef>
                <a:spcPts val="200"/>
              </a:spcBef>
              <a:buClr>
                <a:schemeClr val="tx2"/>
              </a:buClr>
              <a:buFont typeface="Symbol" pitchFamily="18" charset="2"/>
              <a:buNone/>
              <a:defRPr sz="2400" kern="1200">
                <a:solidFill>
                  <a:schemeClr val="tx2"/>
                </a:solidFill>
                <a:latin typeface="+mj-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3600" b="1" dirty="0" err="1" smtClean="0">
                <a:solidFill>
                  <a:schemeClr val="accent6"/>
                </a:solidFill>
              </a:rPr>
              <a:t>And</a:t>
            </a:r>
            <a:r>
              <a:rPr lang="de-DE" sz="3600" b="1" dirty="0" smtClean="0">
                <a:solidFill>
                  <a:schemeClr val="accent6"/>
                </a:solidFill>
              </a:rPr>
              <a:t> </a:t>
            </a:r>
            <a:r>
              <a:rPr lang="de-DE" sz="3600" b="1" dirty="0" err="1" smtClean="0">
                <a:solidFill>
                  <a:schemeClr val="accent6"/>
                </a:solidFill>
              </a:rPr>
              <a:t>progress</a:t>
            </a:r>
            <a:r>
              <a:rPr lang="de-DE" sz="3600" b="1" dirty="0" smtClean="0">
                <a:solidFill>
                  <a:schemeClr val="accent6"/>
                </a:solidFill>
              </a:rPr>
              <a:t> </a:t>
            </a:r>
            <a:r>
              <a:rPr lang="de-DE" sz="3600" b="1" dirty="0" err="1" smtClean="0">
                <a:solidFill>
                  <a:schemeClr val="accent6"/>
                </a:solidFill>
              </a:rPr>
              <a:t>to</a:t>
            </a:r>
            <a:r>
              <a:rPr lang="de-DE" sz="3600" b="1" dirty="0" smtClean="0">
                <a:solidFill>
                  <a:schemeClr val="accent6"/>
                </a:solidFill>
              </a:rPr>
              <a:t> OA </a:t>
            </a:r>
            <a:r>
              <a:rPr lang="de-DE" sz="3600" b="1" dirty="0" err="1" smtClean="0">
                <a:solidFill>
                  <a:schemeClr val="accent6"/>
                </a:solidFill>
              </a:rPr>
              <a:t>is</a:t>
            </a:r>
            <a:r>
              <a:rPr lang="de-DE" sz="3600" b="1" dirty="0" smtClean="0">
                <a:solidFill>
                  <a:schemeClr val="accent6"/>
                </a:solidFill>
              </a:rPr>
              <a:t> </a:t>
            </a:r>
            <a:r>
              <a:rPr lang="de-DE" sz="3600" b="1" dirty="0" err="1" smtClean="0">
                <a:solidFill>
                  <a:schemeClr val="accent6"/>
                </a:solidFill>
              </a:rPr>
              <a:t>too</a:t>
            </a:r>
            <a:r>
              <a:rPr lang="de-DE" sz="3600" b="1" dirty="0" smtClean="0">
                <a:solidFill>
                  <a:schemeClr val="accent6"/>
                </a:solidFill>
              </a:rPr>
              <a:t> </a:t>
            </a:r>
            <a:r>
              <a:rPr lang="de-DE" sz="3600" b="1" dirty="0" err="1" smtClean="0">
                <a:solidFill>
                  <a:schemeClr val="accent6"/>
                </a:solidFill>
              </a:rPr>
              <a:t>slow</a:t>
            </a:r>
            <a:endParaRPr lang="de-DE" sz="3600" dirty="0" smtClean="0"/>
          </a:p>
        </p:txBody>
      </p:sp>
      <p:pic>
        <p:nvPicPr>
          <p:cNvPr id="8" name="Content Placeholder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13876" y="1123951"/>
            <a:ext cx="7181038" cy="5206253"/>
          </a:xfrm>
          <a:prstGeom prst="rect">
            <a:avLst/>
          </a:prstGeom>
        </p:spPr>
      </p:pic>
    </p:spTree>
    <p:extLst>
      <p:ext uri="{BB962C8B-B14F-4D97-AF65-F5344CB8AC3E}">
        <p14:creationId xmlns:p14="http://schemas.microsoft.com/office/powerpoint/2010/main" val="17857524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p:cNvSpPr>
            <a:spLocks noGrp="1"/>
          </p:cNvSpPr>
          <p:nvPr>
            <p:ph type="sldNum" sz="quarter" idx="12"/>
          </p:nvPr>
        </p:nvSpPr>
        <p:spPr/>
        <p:txBody>
          <a:bodyPr/>
          <a:lstStyle/>
          <a:p>
            <a:fld id="{4AD1E780-DE1C-4ECA-B5E5-863D0BC53287}" type="slidenum">
              <a:rPr lang="de-DE" smtClean="0"/>
              <a:pPr/>
              <a:t>7</a:t>
            </a:fld>
            <a:endParaRPr lang="de-DE" dirty="0"/>
          </a:p>
        </p:txBody>
      </p:sp>
      <p:sp>
        <p:nvSpPr>
          <p:cNvPr id="3" name="Textplatzhalter 2"/>
          <p:cNvSpPr>
            <a:spLocks noGrp="1"/>
          </p:cNvSpPr>
          <p:nvPr>
            <p:ph type="body" sz="quarter" idx="13"/>
          </p:nvPr>
        </p:nvSpPr>
        <p:spPr/>
        <p:txBody>
          <a:bodyPr anchor="t" anchorCtr="0"/>
          <a:lstStyle/>
          <a:p>
            <a:endParaRPr lang="de-DE" sz="3600" b="1" dirty="0" smtClean="0">
              <a:solidFill>
                <a:schemeClr val="accent6"/>
              </a:solidFill>
            </a:endParaRPr>
          </a:p>
          <a:p>
            <a:endParaRPr lang="de-DE" sz="3600" dirty="0" smtClean="0"/>
          </a:p>
        </p:txBody>
      </p:sp>
      <p:sp>
        <p:nvSpPr>
          <p:cNvPr id="15" name="Textplatzhalter 2"/>
          <p:cNvSpPr txBox="1">
            <a:spLocks/>
          </p:cNvSpPr>
          <p:nvPr/>
        </p:nvSpPr>
        <p:spPr>
          <a:xfrm>
            <a:off x="356256" y="426280"/>
            <a:ext cx="9087782" cy="697671"/>
          </a:xfrm>
          <a:prstGeom prst="rect">
            <a:avLst/>
          </a:prstGeom>
        </p:spPr>
        <p:txBody>
          <a:bodyPr vert="horz" wrap="square" lIns="0" tIns="0" rIns="0" bIns="0" rtlCol="0" anchor="t" anchorCtr="0">
            <a:noAutofit/>
          </a:bodyPr>
          <a:lstStyle>
            <a:lvl1pPr marL="0" indent="0" algn="l" defTabSz="914400" rtl="0" eaLnBrk="1" latinLnBrk="0" hangingPunct="1">
              <a:spcBef>
                <a:spcPts val="200"/>
              </a:spcBef>
              <a:buClr>
                <a:schemeClr val="tx2"/>
              </a:buClr>
              <a:buFont typeface="Wingdings" pitchFamily="2" charset="2"/>
              <a:buNone/>
              <a:defRPr sz="4400" b="0" kern="1200">
                <a:solidFill>
                  <a:schemeClr val="tx2"/>
                </a:solidFill>
                <a:latin typeface="+mj-lt"/>
                <a:ea typeface="+mn-ea"/>
                <a:cs typeface="+mn-cs"/>
              </a:defRPr>
            </a:lvl1pPr>
            <a:lvl2pPr marL="0" indent="0" algn="l" defTabSz="914400" rtl="0" eaLnBrk="1" latinLnBrk="0" hangingPunct="1">
              <a:spcBef>
                <a:spcPts val="200"/>
              </a:spcBef>
              <a:buClr>
                <a:schemeClr val="tx2"/>
              </a:buClr>
              <a:buFont typeface="Wingdings" pitchFamily="2" charset="2"/>
              <a:buNone/>
              <a:defRPr sz="2400" kern="1200">
                <a:solidFill>
                  <a:schemeClr val="tx2"/>
                </a:solidFill>
                <a:latin typeface="+mj-lt"/>
                <a:ea typeface="+mn-ea"/>
                <a:cs typeface="+mn-cs"/>
              </a:defRPr>
            </a:lvl2pPr>
            <a:lvl3pPr marL="0" indent="0" algn="l" defTabSz="914400" rtl="0" eaLnBrk="1" latinLnBrk="0" hangingPunct="1">
              <a:spcBef>
                <a:spcPts val="200"/>
              </a:spcBef>
              <a:buClr>
                <a:schemeClr val="tx2"/>
              </a:buClr>
              <a:buFont typeface="Arial" pitchFamily="34" charset="0"/>
              <a:buNone/>
              <a:defRPr sz="2400" kern="1200">
                <a:solidFill>
                  <a:schemeClr val="tx2"/>
                </a:solidFill>
                <a:latin typeface="+mj-lt"/>
                <a:ea typeface="+mn-ea"/>
                <a:cs typeface="+mn-cs"/>
              </a:defRPr>
            </a:lvl3pPr>
            <a:lvl4pPr marL="0" indent="0" algn="l" defTabSz="914400" rtl="0" eaLnBrk="1" latinLnBrk="0" hangingPunct="1">
              <a:spcBef>
                <a:spcPts val="200"/>
              </a:spcBef>
              <a:buClr>
                <a:schemeClr val="tx2"/>
              </a:buClr>
              <a:buFont typeface="Arial" pitchFamily="34" charset="0"/>
              <a:buNone/>
              <a:defRPr sz="2400" kern="1200">
                <a:solidFill>
                  <a:schemeClr val="tx2"/>
                </a:solidFill>
                <a:latin typeface="+mj-lt"/>
                <a:ea typeface="+mn-ea"/>
                <a:cs typeface="+mn-cs"/>
              </a:defRPr>
            </a:lvl4pPr>
            <a:lvl5pPr marL="0" indent="0" algn="l" defTabSz="914400" rtl="0" eaLnBrk="1" latinLnBrk="0" hangingPunct="1">
              <a:spcBef>
                <a:spcPts val="200"/>
              </a:spcBef>
              <a:buClr>
                <a:schemeClr val="tx2"/>
              </a:buClr>
              <a:buFont typeface="Symbol" pitchFamily="18" charset="2"/>
              <a:buNone/>
              <a:defRPr sz="2400" kern="1200">
                <a:solidFill>
                  <a:schemeClr val="tx2"/>
                </a:solidFill>
                <a:latin typeface="+mj-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3600" b="1" dirty="0" err="1" smtClean="0">
                <a:solidFill>
                  <a:schemeClr val="accent6"/>
                </a:solidFill>
              </a:rPr>
              <a:t>We</a:t>
            </a:r>
            <a:r>
              <a:rPr lang="de-DE" sz="3600" b="1" dirty="0" smtClean="0">
                <a:solidFill>
                  <a:schemeClr val="accent6"/>
                </a:solidFill>
              </a:rPr>
              <a:t> </a:t>
            </a:r>
            <a:r>
              <a:rPr lang="de-DE" sz="3600" b="1" dirty="0" err="1" smtClean="0">
                <a:solidFill>
                  <a:schemeClr val="accent6"/>
                </a:solidFill>
              </a:rPr>
              <a:t>need</a:t>
            </a:r>
            <a:r>
              <a:rPr lang="de-DE" sz="3600" b="1" dirty="0" smtClean="0">
                <a:solidFill>
                  <a:schemeClr val="accent6"/>
                </a:solidFill>
              </a:rPr>
              <a:t> </a:t>
            </a:r>
            <a:r>
              <a:rPr lang="de-DE" sz="3600" b="1" dirty="0" err="1" smtClean="0">
                <a:solidFill>
                  <a:schemeClr val="accent6"/>
                </a:solidFill>
              </a:rPr>
              <a:t>to</a:t>
            </a:r>
            <a:r>
              <a:rPr lang="de-DE" sz="3600" b="1" dirty="0" smtClean="0">
                <a:solidFill>
                  <a:schemeClr val="accent6"/>
                </a:solidFill>
              </a:rPr>
              <a:t> find a </a:t>
            </a:r>
            <a:r>
              <a:rPr lang="de-DE" sz="3600" b="1" dirty="0" err="1" smtClean="0">
                <a:solidFill>
                  <a:schemeClr val="accent6"/>
                </a:solidFill>
              </a:rPr>
              <a:t>way</a:t>
            </a:r>
            <a:r>
              <a:rPr lang="de-DE" sz="3600" b="1" dirty="0" smtClean="0">
                <a:solidFill>
                  <a:schemeClr val="accent6"/>
                </a:solidFill>
              </a:rPr>
              <a:t> </a:t>
            </a:r>
            <a:r>
              <a:rPr lang="de-DE" sz="3600" b="1" dirty="0" err="1" smtClean="0">
                <a:solidFill>
                  <a:schemeClr val="accent6"/>
                </a:solidFill>
              </a:rPr>
              <a:t>to</a:t>
            </a:r>
            <a:r>
              <a:rPr lang="de-DE" sz="3600" b="1" dirty="0" smtClean="0">
                <a:solidFill>
                  <a:schemeClr val="accent6"/>
                </a:solidFill>
              </a:rPr>
              <a:t> </a:t>
            </a:r>
            <a:r>
              <a:rPr lang="de-DE" sz="3600" b="1" dirty="0" err="1" smtClean="0">
                <a:solidFill>
                  <a:schemeClr val="accent6"/>
                </a:solidFill>
              </a:rPr>
              <a:t>deliver</a:t>
            </a:r>
            <a:r>
              <a:rPr lang="de-DE" sz="3600" b="1" dirty="0" smtClean="0">
                <a:solidFill>
                  <a:schemeClr val="accent6"/>
                </a:solidFill>
              </a:rPr>
              <a:t> open </a:t>
            </a:r>
            <a:r>
              <a:rPr lang="de-DE" sz="3600" b="1" dirty="0" err="1" smtClean="0">
                <a:solidFill>
                  <a:schemeClr val="accent6"/>
                </a:solidFill>
              </a:rPr>
              <a:t>access</a:t>
            </a:r>
            <a:r>
              <a:rPr lang="de-DE" sz="3600" b="1" dirty="0" smtClean="0">
                <a:solidFill>
                  <a:schemeClr val="accent6"/>
                </a:solidFill>
              </a:rPr>
              <a:t> </a:t>
            </a:r>
            <a:r>
              <a:rPr lang="de-DE" sz="3600" b="1" dirty="0" err="1" smtClean="0">
                <a:solidFill>
                  <a:schemeClr val="accent6"/>
                </a:solidFill>
              </a:rPr>
              <a:t>to</a:t>
            </a:r>
            <a:r>
              <a:rPr lang="de-DE" sz="3600" b="1" dirty="0" smtClean="0">
                <a:solidFill>
                  <a:schemeClr val="accent6"/>
                </a:solidFill>
              </a:rPr>
              <a:t> </a:t>
            </a:r>
            <a:r>
              <a:rPr lang="de-DE" sz="3600" b="1" dirty="0" err="1" smtClean="0">
                <a:solidFill>
                  <a:schemeClr val="accent6"/>
                </a:solidFill>
              </a:rPr>
              <a:t>our</a:t>
            </a:r>
            <a:r>
              <a:rPr lang="de-DE" sz="3600" b="1" dirty="0" smtClean="0">
                <a:solidFill>
                  <a:schemeClr val="accent6"/>
                </a:solidFill>
              </a:rPr>
              <a:t> </a:t>
            </a:r>
            <a:r>
              <a:rPr lang="de-DE" sz="3600" b="1" dirty="0" err="1" smtClean="0">
                <a:solidFill>
                  <a:schemeClr val="accent6"/>
                </a:solidFill>
              </a:rPr>
              <a:t>researchers</a:t>
            </a:r>
            <a:endParaRPr lang="de-DE" sz="3600" dirty="0" smtClean="0"/>
          </a:p>
        </p:txBody>
      </p:sp>
      <p:sp>
        <p:nvSpPr>
          <p:cNvPr id="6" name="Ellipse 3"/>
          <p:cNvSpPr/>
          <p:nvPr/>
        </p:nvSpPr>
        <p:spPr>
          <a:xfrm>
            <a:off x="3276600" y="3778874"/>
            <a:ext cx="3295650" cy="1676400"/>
          </a:xfrm>
          <a:custGeom>
            <a:avLst/>
            <a:gdLst>
              <a:gd name="connsiteX0" fmla="*/ 0 w 3295650"/>
              <a:gd name="connsiteY0" fmla="*/ 1676400 h 3352800"/>
              <a:gd name="connsiteX1" fmla="*/ 1647825 w 3295650"/>
              <a:gd name="connsiteY1" fmla="*/ 0 h 3352800"/>
              <a:gd name="connsiteX2" fmla="*/ 3295650 w 3295650"/>
              <a:gd name="connsiteY2" fmla="*/ 1676400 h 3352800"/>
              <a:gd name="connsiteX3" fmla="*/ 1647825 w 3295650"/>
              <a:gd name="connsiteY3" fmla="*/ 3352800 h 3352800"/>
              <a:gd name="connsiteX4" fmla="*/ 0 w 3295650"/>
              <a:gd name="connsiteY4" fmla="*/ 1676400 h 3352800"/>
              <a:gd name="connsiteX0" fmla="*/ 0 w 3295650"/>
              <a:gd name="connsiteY0" fmla="*/ 1676400 h 1676400"/>
              <a:gd name="connsiteX1" fmla="*/ 1647825 w 3295650"/>
              <a:gd name="connsiteY1" fmla="*/ 0 h 1676400"/>
              <a:gd name="connsiteX2" fmla="*/ 3295650 w 3295650"/>
              <a:gd name="connsiteY2" fmla="*/ 1676400 h 1676400"/>
              <a:gd name="connsiteX3" fmla="*/ 0 w 3295650"/>
              <a:gd name="connsiteY3" fmla="*/ 1676400 h 1676400"/>
              <a:gd name="connsiteX0" fmla="*/ 0 w 3295650"/>
              <a:gd name="connsiteY0" fmla="*/ 1676400 h 1799178"/>
              <a:gd name="connsiteX1" fmla="*/ 1647825 w 3295650"/>
              <a:gd name="connsiteY1" fmla="*/ 0 h 1799178"/>
              <a:gd name="connsiteX2" fmla="*/ 3295650 w 3295650"/>
              <a:gd name="connsiteY2" fmla="*/ 1676400 h 1799178"/>
              <a:gd name="connsiteX3" fmla="*/ 0 w 3295650"/>
              <a:gd name="connsiteY3" fmla="*/ 1676400 h 1799178"/>
              <a:gd name="connsiteX0" fmla="*/ 0 w 3295650"/>
              <a:gd name="connsiteY0" fmla="*/ 1676400 h 1799178"/>
              <a:gd name="connsiteX1" fmla="*/ 1647825 w 3295650"/>
              <a:gd name="connsiteY1" fmla="*/ 0 h 1799178"/>
              <a:gd name="connsiteX2" fmla="*/ 3295650 w 3295650"/>
              <a:gd name="connsiteY2" fmla="*/ 1676400 h 1799178"/>
              <a:gd name="connsiteX3" fmla="*/ 0 w 3295650"/>
              <a:gd name="connsiteY3" fmla="*/ 1676400 h 1799178"/>
              <a:gd name="connsiteX0" fmla="*/ 0 w 3295650"/>
              <a:gd name="connsiteY0" fmla="*/ 1676400 h 1677067"/>
              <a:gd name="connsiteX1" fmla="*/ 1647825 w 3295650"/>
              <a:gd name="connsiteY1" fmla="*/ 0 h 1677067"/>
              <a:gd name="connsiteX2" fmla="*/ 3295650 w 3295650"/>
              <a:gd name="connsiteY2" fmla="*/ 1676400 h 1677067"/>
              <a:gd name="connsiteX3" fmla="*/ 0 w 3295650"/>
              <a:gd name="connsiteY3" fmla="*/ 1676400 h 1677067"/>
              <a:gd name="connsiteX0" fmla="*/ 0 w 3295650"/>
              <a:gd name="connsiteY0" fmla="*/ 1676400 h 1677067"/>
              <a:gd name="connsiteX1" fmla="*/ 1647825 w 3295650"/>
              <a:gd name="connsiteY1" fmla="*/ 0 h 1677067"/>
              <a:gd name="connsiteX2" fmla="*/ 3295650 w 3295650"/>
              <a:gd name="connsiteY2" fmla="*/ 1676400 h 1677067"/>
              <a:gd name="connsiteX3" fmla="*/ 0 w 3295650"/>
              <a:gd name="connsiteY3" fmla="*/ 1676400 h 1677067"/>
              <a:gd name="connsiteX0" fmla="*/ 0 w 3295650"/>
              <a:gd name="connsiteY0" fmla="*/ 1676400 h 1677067"/>
              <a:gd name="connsiteX1" fmla="*/ 1647825 w 3295650"/>
              <a:gd name="connsiteY1" fmla="*/ 0 h 1677067"/>
              <a:gd name="connsiteX2" fmla="*/ 3295650 w 3295650"/>
              <a:gd name="connsiteY2" fmla="*/ 1676400 h 1677067"/>
              <a:gd name="connsiteX3" fmla="*/ 0 w 3295650"/>
              <a:gd name="connsiteY3" fmla="*/ 1676400 h 1677067"/>
              <a:gd name="connsiteX0" fmla="*/ 0 w 3295650"/>
              <a:gd name="connsiteY0" fmla="*/ 1676400 h 1676400"/>
              <a:gd name="connsiteX1" fmla="*/ 1647825 w 3295650"/>
              <a:gd name="connsiteY1" fmla="*/ 0 h 1676400"/>
              <a:gd name="connsiteX2" fmla="*/ 3295650 w 3295650"/>
              <a:gd name="connsiteY2" fmla="*/ 1676400 h 1676400"/>
              <a:gd name="connsiteX3" fmla="*/ 0 w 3295650"/>
              <a:gd name="connsiteY3" fmla="*/ 1676400 h 1676400"/>
            </a:gdLst>
            <a:ahLst/>
            <a:cxnLst>
              <a:cxn ang="0">
                <a:pos x="connsiteX0" y="connsiteY0"/>
              </a:cxn>
              <a:cxn ang="0">
                <a:pos x="connsiteX1" y="connsiteY1"/>
              </a:cxn>
              <a:cxn ang="0">
                <a:pos x="connsiteX2" y="connsiteY2"/>
              </a:cxn>
              <a:cxn ang="0">
                <a:pos x="connsiteX3" y="connsiteY3"/>
              </a:cxn>
            </a:cxnLst>
            <a:rect l="l" t="t" r="r" b="b"/>
            <a:pathLst>
              <a:path w="3295650" h="1676400">
                <a:moveTo>
                  <a:pt x="0" y="1676400"/>
                </a:moveTo>
                <a:cubicBezTo>
                  <a:pt x="0" y="750550"/>
                  <a:pt x="737756" y="0"/>
                  <a:pt x="1647825" y="0"/>
                </a:cubicBezTo>
                <a:cubicBezTo>
                  <a:pt x="2557894" y="0"/>
                  <a:pt x="3295650" y="750550"/>
                  <a:pt x="3295650" y="1676400"/>
                </a:cubicBezTo>
                <a:lnTo>
                  <a:pt x="0" y="1676400"/>
                </a:lnTo>
                <a:close/>
              </a:path>
            </a:pathLst>
          </a:cu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pic>
        <p:nvPicPr>
          <p:cNvPr id="7" name="Grafik 53"/>
          <p:cNvPicPr>
            <a:picLocks noChangeAspect="1"/>
          </p:cNvPicPr>
          <p:nvPr/>
        </p:nvPicPr>
        <p:blipFill>
          <a:blip r:embed="rId13">
            <a:grayscl/>
            <a:extLst>
              <a:ext uri="{28A0092B-C50C-407E-A947-70E740481C1C}">
                <a14:useLocalDpi xmlns:a14="http://schemas.microsoft.com/office/drawing/2010/main" val="0"/>
              </a:ext>
            </a:extLst>
          </a:blip>
          <a:stretch>
            <a:fillRect/>
          </a:stretch>
        </p:blipFill>
        <p:spPr>
          <a:xfrm>
            <a:off x="7900258" y="4177096"/>
            <a:ext cx="556741" cy="865555"/>
          </a:xfrm>
          <a:prstGeom prst="rect">
            <a:avLst/>
          </a:prstGeom>
        </p:spPr>
      </p:pic>
      <p:cxnSp>
        <p:nvCxnSpPr>
          <p:cNvPr id="9" name="Gerade Verbindung 55"/>
          <p:cNvCxnSpPr/>
          <p:nvPr/>
        </p:nvCxnSpPr>
        <p:spPr>
          <a:xfrm flipV="1">
            <a:off x="4023015" y="3059928"/>
            <a:ext cx="0" cy="1497672"/>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10" name="Rechteck 62"/>
          <p:cNvSpPr/>
          <p:nvPr/>
        </p:nvSpPr>
        <p:spPr>
          <a:xfrm>
            <a:off x="3745955" y="2250962"/>
            <a:ext cx="530492" cy="795738"/>
          </a:xfrm>
          <a:prstGeom prst="rect">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cxnSp>
        <p:nvCxnSpPr>
          <p:cNvPr id="11" name="Gerade Verbindung 16"/>
          <p:cNvCxnSpPr/>
          <p:nvPr/>
        </p:nvCxnSpPr>
        <p:spPr>
          <a:xfrm flipV="1">
            <a:off x="4595516" y="2592001"/>
            <a:ext cx="7991" cy="1540799"/>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2" name="Rechteck 65"/>
          <p:cNvSpPr/>
          <p:nvPr/>
        </p:nvSpPr>
        <p:spPr>
          <a:xfrm>
            <a:off x="4317208" y="1912985"/>
            <a:ext cx="532873" cy="675953"/>
          </a:xfrm>
          <a:prstGeom prst="rect">
            <a:avLst/>
          </a:prstGeom>
          <a:solidFill>
            <a:schemeClr val="bg1"/>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cxnSp>
        <p:nvCxnSpPr>
          <p:cNvPr id="13" name="Gerade Verbindung 54"/>
          <p:cNvCxnSpPr/>
          <p:nvPr/>
        </p:nvCxnSpPr>
        <p:spPr>
          <a:xfrm flipV="1">
            <a:off x="5298215" y="2923591"/>
            <a:ext cx="0" cy="1125597"/>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14" name="Rechteck 71"/>
          <p:cNvSpPr/>
          <p:nvPr/>
        </p:nvSpPr>
        <p:spPr>
          <a:xfrm>
            <a:off x="4977907" y="2070415"/>
            <a:ext cx="606402" cy="853176"/>
          </a:xfrm>
          <a:prstGeom prst="rect">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16" name="Inhaltsplatzhalter 12"/>
          <p:cNvSpPr txBox="1">
            <a:spLocks/>
          </p:cNvSpPr>
          <p:nvPr/>
        </p:nvSpPr>
        <p:spPr>
          <a:xfrm>
            <a:off x="4357622" y="2164862"/>
            <a:ext cx="579580" cy="184666"/>
          </a:xfrm>
          <a:prstGeom prst="rect">
            <a:avLst/>
          </a:prstGeom>
        </p:spPr>
        <p:txBody>
          <a:bodyPr vert="horz" wrap="square" lIns="0" tIns="0" rIns="0" bIns="0" rtlCol="0">
            <a:spAutoFit/>
          </a:bodyPr>
          <a:lstStyle>
            <a:lvl1pPr marL="0" marR="0" indent="0" algn="l" defTabSz="914400" rtl="0" eaLnBrk="1" fontAlgn="auto" latinLnBrk="0" hangingPunct="1">
              <a:lnSpc>
                <a:spcPct val="100000"/>
              </a:lnSpc>
              <a:spcBef>
                <a:spcPts val="200"/>
              </a:spcBef>
              <a:spcAft>
                <a:spcPts val="0"/>
              </a:spcAft>
              <a:buClr>
                <a:srgbClr val="606060"/>
              </a:buClr>
              <a:buSzTx/>
              <a:buFont typeface="Wingdings" pitchFamily="2" charset="2"/>
              <a:buNone/>
              <a:tabLst/>
              <a:defRPr sz="1600" kern="1200">
                <a:solidFill>
                  <a:schemeClr val="tx2"/>
                </a:solidFill>
                <a:latin typeface="+mn-lt"/>
                <a:ea typeface="+mn-ea"/>
                <a:cs typeface="+mn-cs"/>
              </a:defRPr>
            </a:lvl1pPr>
            <a:lvl2pPr marL="266700" marR="0" indent="-266700" algn="l" defTabSz="914400" rtl="0" eaLnBrk="1" fontAlgn="auto" latinLnBrk="0" hangingPunct="1">
              <a:lnSpc>
                <a:spcPct val="100000"/>
              </a:lnSpc>
              <a:spcBef>
                <a:spcPts val="200"/>
              </a:spcBef>
              <a:spcAft>
                <a:spcPts val="0"/>
              </a:spcAft>
              <a:buClr>
                <a:schemeClr val="accent6"/>
              </a:buClr>
              <a:buSzTx/>
              <a:buFont typeface="Times New Roman" panose="02020603050405020304" pitchFamily="18" charset="0"/>
              <a:buChar char="─"/>
              <a:tabLst/>
              <a:defRPr sz="1600" kern="1200">
                <a:solidFill>
                  <a:schemeClr val="tx2"/>
                </a:solidFill>
                <a:latin typeface="+mn-lt"/>
                <a:ea typeface="+mn-ea"/>
                <a:cs typeface="+mn-cs"/>
              </a:defRPr>
            </a:lvl2pPr>
            <a:lvl3pPr marL="466725" marR="0" indent="-200025" algn="l" defTabSz="914400" rtl="0" eaLnBrk="1" fontAlgn="auto" latinLnBrk="0" hangingPunct="1">
              <a:lnSpc>
                <a:spcPct val="100000"/>
              </a:lnSpc>
              <a:spcBef>
                <a:spcPts val="200"/>
              </a:spcBef>
              <a:spcAft>
                <a:spcPts val="0"/>
              </a:spcAft>
              <a:buClr>
                <a:schemeClr val="accent4"/>
              </a:buClr>
              <a:buSzTx/>
              <a:buFont typeface="Symbol" panose="05050102010706020507" pitchFamily="18" charset="2"/>
              <a:buChar char="-"/>
              <a:tabLst/>
              <a:defRPr sz="1600" kern="1200">
                <a:solidFill>
                  <a:schemeClr val="tx2"/>
                </a:solidFill>
                <a:latin typeface="+mn-lt"/>
                <a:ea typeface="+mn-ea"/>
                <a:cs typeface="+mn-cs"/>
              </a:defRPr>
            </a:lvl3pPr>
            <a:lvl4pPr marL="641350" marR="0" indent="-161925" algn="l" defTabSz="914400" rtl="0" eaLnBrk="1" fontAlgn="auto" latinLnBrk="0" hangingPunct="1">
              <a:lnSpc>
                <a:spcPct val="100000"/>
              </a:lnSpc>
              <a:spcBef>
                <a:spcPts val="200"/>
              </a:spcBef>
              <a:spcAft>
                <a:spcPts val="0"/>
              </a:spcAft>
              <a:buClr>
                <a:srgbClr val="606060"/>
              </a:buClr>
              <a:buSzTx/>
              <a:buFont typeface="Symbol" panose="05050102010706020507" pitchFamily="18" charset="2"/>
              <a:buChar char="-"/>
              <a:tabLst/>
              <a:defRPr sz="1600" kern="1200">
                <a:solidFill>
                  <a:schemeClr val="tx2"/>
                </a:solidFill>
                <a:latin typeface="+mn-lt"/>
                <a:ea typeface="+mn-ea"/>
                <a:cs typeface="+mn-cs"/>
              </a:defRPr>
            </a:lvl4pPr>
            <a:lvl5pPr marL="808038" marR="0" indent="-179388" algn="l" defTabSz="914400" rtl="0" eaLnBrk="1" fontAlgn="auto" latinLnBrk="0" hangingPunct="1">
              <a:lnSpc>
                <a:spcPct val="100000"/>
              </a:lnSpc>
              <a:spcBef>
                <a:spcPts val="200"/>
              </a:spcBef>
              <a:spcAft>
                <a:spcPts val="0"/>
              </a:spcAft>
              <a:buClr>
                <a:schemeClr val="accent1"/>
              </a:buClr>
              <a:buSzTx/>
              <a:buFont typeface="Symbol" pitchFamily="18" charset="2"/>
              <a:buChar char="-"/>
              <a:tabLst/>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1200" dirty="0" smtClean="0"/>
              <a:t>Nature</a:t>
            </a:r>
            <a:endParaRPr lang="de-DE" sz="1200" dirty="0"/>
          </a:p>
        </p:txBody>
      </p:sp>
      <p:cxnSp>
        <p:nvCxnSpPr>
          <p:cNvPr id="17" name="Gerade Verbindung 57"/>
          <p:cNvCxnSpPr>
            <a:endCxn id="18" idx="2"/>
          </p:cNvCxnSpPr>
          <p:nvPr/>
        </p:nvCxnSpPr>
        <p:spPr>
          <a:xfrm flipH="1" flipV="1">
            <a:off x="5941009" y="3256578"/>
            <a:ext cx="1698" cy="1517022"/>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18" name="Rechteck 68"/>
          <p:cNvSpPr/>
          <p:nvPr/>
        </p:nvSpPr>
        <p:spPr>
          <a:xfrm>
            <a:off x="5564080" y="2199132"/>
            <a:ext cx="753858" cy="1057446"/>
          </a:xfrm>
          <a:prstGeom prst="rect">
            <a:avLst/>
          </a:prstGeom>
          <a:solidFill>
            <a:schemeClr val="bg1"/>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19" name="Inhaltsplatzhalter 12"/>
          <p:cNvSpPr txBox="1">
            <a:spLocks/>
          </p:cNvSpPr>
          <p:nvPr/>
        </p:nvSpPr>
        <p:spPr>
          <a:xfrm>
            <a:off x="5608155" y="2607667"/>
            <a:ext cx="778796" cy="184666"/>
          </a:xfrm>
          <a:prstGeom prst="rect">
            <a:avLst/>
          </a:prstGeom>
        </p:spPr>
        <p:txBody>
          <a:bodyPr vert="horz" wrap="square" lIns="0" tIns="0" rIns="0" bIns="0" rtlCol="0">
            <a:spAutoFit/>
          </a:bodyPr>
          <a:lstStyle>
            <a:lvl1pPr marL="0" marR="0" indent="0" algn="l" defTabSz="914400" rtl="0" eaLnBrk="1" fontAlgn="auto" latinLnBrk="0" hangingPunct="1">
              <a:lnSpc>
                <a:spcPct val="100000"/>
              </a:lnSpc>
              <a:spcBef>
                <a:spcPts val="200"/>
              </a:spcBef>
              <a:spcAft>
                <a:spcPts val="0"/>
              </a:spcAft>
              <a:buClr>
                <a:srgbClr val="606060"/>
              </a:buClr>
              <a:buSzTx/>
              <a:buFont typeface="Wingdings" pitchFamily="2" charset="2"/>
              <a:buNone/>
              <a:tabLst/>
              <a:defRPr sz="1600" kern="1200">
                <a:solidFill>
                  <a:schemeClr val="tx2"/>
                </a:solidFill>
                <a:latin typeface="+mn-lt"/>
                <a:ea typeface="+mn-ea"/>
                <a:cs typeface="+mn-cs"/>
              </a:defRPr>
            </a:lvl1pPr>
            <a:lvl2pPr marL="266700" marR="0" indent="-266700" algn="l" defTabSz="914400" rtl="0" eaLnBrk="1" fontAlgn="auto" latinLnBrk="0" hangingPunct="1">
              <a:lnSpc>
                <a:spcPct val="100000"/>
              </a:lnSpc>
              <a:spcBef>
                <a:spcPts val="200"/>
              </a:spcBef>
              <a:spcAft>
                <a:spcPts val="0"/>
              </a:spcAft>
              <a:buClr>
                <a:schemeClr val="accent6"/>
              </a:buClr>
              <a:buSzTx/>
              <a:buFont typeface="Times New Roman" panose="02020603050405020304" pitchFamily="18" charset="0"/>
              <a:buChar char="─"/>
              <a:tabLst/>
              <a:defRPr sz="1600" kern="1200">
                <a:solidFill>
                  <a:schemeClr val="tx2"/>
                </a:solidFill>
                <a:latin typeface="+mn-lt"/>
                <a:ea typeface="+mn-ea"/>
                <a:cs typeface="+mn-cs"/>
              </a:defRPr>
            </a:lvl2pPr>
            <a:lvl3pPr marL="466725" marR="0" indent="-200025" algn="l" defTabSz="914400" rtl="0" eaLnBrk="1" fontAlgn="auto" latinLnBrk="0" hangingPunct="1">
              <a:lnSpc>
                <a:spcPct val="100000"/>
              </a:lnSpc>
              <a:spcBef>
                <a:spcPts val="200"/>
              </a:spcBef>
              <a:spcAft>
                <a:spcPts val="0"/>
              </a:spcAft>
              <a:buClr>
                <a:schemeClr val="accent4"/>
              </a:buClr>
              <a:buSzTx/>
              <a:buFont typeface="Symbol" panose="05050102010706020507" pitchFamily="18" charset="2"/>
              <a:buChar char="-"/>
              <a:tabLst/>
              <a:defRPr sz="1600" kern="1200">
                <a:solidFill>
                  <a:schemeClr val="tx2"/>
                </a:solidFill>
                <a:latin typeface="+mn-lt"/>
                <a:ea typeface="+mn-ea"/>
                <a:cs typeface="+mn-cs"/>
              </a:defRPr>
            </a:lvl3pPr>
            <a:lvl4pPr marL="641350" marR="0" indent="-161925" algn="l" defTabSz="914400" rtl="0" eaLnBrk="1" fontAlgn="auto" latinLnBrk="0" hangingPunct="1">
              <a:lnSpc>
                <a:spcPct val="100000"/>
              </a:lnSpc>
              <a:spcBef>
                <a:spcPts val="200"/>
              </a:spcBef>
              <a:spcAft>
                <a:spcPts val="0"/>
              </a:spcAft>
              <a:buClr>
                <a:srgbClr val="606060"/>
              </a:buClr>
              <a:buSzTx/>
              <a:buFont typeface="Symbol" panose="05050102010706020507" pitchFamily="18" charset="2"/>
              <a:buChar char="-"/>
              <a:tabLst/>
              <a:defRPr sz="1600" kern="1200">
                <a:solidFill>
                  <a:schemeClr val="tx2"/>
                </a:solidFill>
                <a:latin typeface="+mn-lt"/>
                <a:ea typeface="+mn-ea"/>
                <a:cs typeface="+mn-cs"/>
              </a:defRPr>
            </a:lvl4pPr>
            <a:lvl5pPr marL="808038" marR="0" indent="-179388" algn="l" defTabSz="914400" rtl="0" eaLnBrk="1" fontAlgn="auto" latinLnBrk="0" hangingPunct="1">
              <a:lnSpc>
                <a:spcPct val="100000"/>
              </a:lnSpc>
              <a:spcBef>
                <a:spcPts val="200"/>
              </a:spcBef>
              <a:spcAft>
                <a:spcPts val="0"/>
              </a:spcAft>
              <a:buClr>
                <a:schemeClr val="accent1"/>
              </a:buClr>
              <a:buSzTx/>
              <a:buFont typeface="Symbol" pitchFamily="18" charset="2"/>
              <a:buChar char="-"/>
              <a:tabLst/>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1200" dirty="0" smtClean="0"/>
              <a:t>SCIENCE</a:t>
            </a:r>
            <a:endParaRPr lang="de-DE" sz="1200" dirty="0"/>
          </a:p>
        </p:txBody>
      </p:sp>
      <p:cxnSp>
        <p:nvCxnSpPr>
          <p:cNvPr id="20" name="Gerade Verbindung 56"/>
          <p:cNvCxnSpPr/>
          <p:nvPr/>
        </p:nvCxnSpPr>
        <p:spPr>
          <a:xfrm flipV="1">
            <a:off x="4985107" y="3457796"/>
            <a:ext cx="0" cy="81866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21" name="Rechteck 59"/>
          <p:cNvSpPr/>
          <p:nvPr/>
        </p:nvSpPr>
        <p:spPr>
          <a:xfrm>
            <a:off x="4737199" y="2700000"/>
            <a:ext cx="485508" cy="758176"/>
          </a:xfrm>
          <a:prstGeom prst="rect">
            <a:avLst/>
          </a:prstGeom>
          <a:solidFill>
            <a:schemeClr val="bg1"/>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22" name="Inhaltsplatzhalter 12"/>
          <p:cNvSpPr txBox="1">
            <a:spLocks/>
          </p:cNvSpPr>
          <p:nvPr/>
        </p:nvSpPr>
        <p:spPr>
          <a:xfrm>
            <a:off x="3838386" y="2555794"/>
            <a:ext cx="438061" cy="184666"/>
          </a:xfrm>
          <a:prstGeom prst="rect">
            <a:avLst/>
          </a:prstGeom>
        </p:spPr>
        <p:txBody>
          <a:bodyPr vert="horz" lIns="0" tIns="0" rIns="0" bIns="0" rtlCol="0">
            <a:spAutoFit/>
          </a:bodyPr>
          <a:lstStyle>
            <a:lvl1pPr marL="0" marR="0" indent="0" algn="l" defTabSz="914400" rtl="0" eaLnBrk="1" fontAlgn="auto" latinLnBrk="0" hangingPunct="1">
              <a:lnSpc>
                <a:spcPct val="100000"/>
              </a:lnSpc>
              <a:spcBef>
                <a:spcPts val="200"/>
              </a:spcBef>
              <a:spcAft>
                <a:spcPts val="0"/>
              </a:spcAft>
              <a:buClr>
                <a:srgbClr val="606060"/>
              </a:buClr>
              <a:buSzTx/>
              <a:buFont typeface="Wingdings" pitchFamily="2" charset="2"/>
              <a:buNone/>
              <a:tabLst/>
              <a:defRPr sz="1600" kern="1200">
                <a:solidFill>
                  <a:schemeClr val="tx2"/>
                </a:solidFill>
                <a:latin typeface="+mn-lt"/>
                <a:ea typeface="+mn-ea"/>
                <a:cs typeface="+mn-cs"/>
              </a:defRPr>
            </a:lvl1pPr>
            <a:lvl2pPr marL="266700" marR="0" indent="-266700" algn="l" defTabSz="914400" rtl="0" eaLnBrk="1" fontAlgn="auto" latinLnBrk="0" hangingPunct="1">
              <a:lnSpc>
                <a:spcPct val="100000"/>
              </a:lnSpc>
              <a:spcBef>
                <a:spcPts val="200"/>
              </a:spcBef>
              <a:spcAft>
                <a:spcPts val="0"/>
              </a:spcAft>
              <a:buClr>
                <a:schemeClr val="accent6"/>
              </a:buClr>
              <a:buSzTx/>
              <a:buFont typeface="Times New Roman" panose="02020603050405020304" pitchFamily="18" charset="0"/>
              <a:buChar char="─"/>
              <a:tabLst/>
              <a:defRPr sz="1600" kern="1200">
                <a:solidFill>
                  <a:schemeClr val="tx2"/>
                </a:solidFill>
                <a:latin typeface="+mn-lt"/>
                <a:ea typeface="+mn-ea"/>
                <a:cs typeface="+mn-cs"/>
              </a:defRPr>
            </a:lvl2pPr>
            <a:lvl3pPr marL="466725" marR="0" indent="-200025" algn="l" defTabSz="914400" rtl="0" eaLnBrk="1" fontAlgn="auto" latinLnBrk="0" hangingPunct="1">
              <a:lnSpc>
                <a:spcPct val="100000"/>
              </a:lnSpc>
              <a:spcBef>
                <a:spcPts val="200"/>
              </a:spcBef>
              <a:spcAft>
                <a:spcPts val="0"/>
              </a:spcAft>
              <a:buClr>
                <a:schemeClr val="accent4"/>
              </a:buClr>
              <a:buSzTx/>
              <a:buFont typeface="Symbol" panose="05050102010706020507" pitchFamily="18" charset="2"/>
              <a:buChar char="-"/>
              <a:tabLst/>
              <a:defRPr sz="1600" kern="1200">
                <a:solidFill>
                  <a:schemeClr val="tx2"/>
                </a:solidFill>
                <a:latin typeface="+mn-lt"/>
                <a:ea typeface="+mn-ea"/>
                <a:cs typeface="+mn-cs"/>
              </a:defRPr>
            </a:lvl3pPr>
            <a:lvl4pPr marL="641350" marR="0" indent="-161925" algn="l" defTabSz="914400" rtl="0" eaLnBrk="1" fontAlgn="auto" latinLnBrk="0" hangingPunct="1">
              <a:lnSpc>
                <a:spcPct val="100000"/>
              </a:lnSpc>
              <a:spcBef>
                <a:spcPts val="200"/>
              </a:spcBef>
              <a:spcAft>
                <a:spcPts val="0"/>
              </a:spcAft>
              <a:buClr>
                <a:srgbClr val="606060"/>
              </a:buClr>
              <a:buSzTx/>
              <a:buFont typeface="Symbol" panose="05050102010706020507" pitchFamily="18" charset="2"/>
              <a:buChar char="-"/>
              <a:tabLst/>
              <a:defRPr sz="1600" kern="1200">
                <a:solidFill>
                  <a:schemeClr val="tx2"/>
                </a:solidFill>
                <a:latin typeface="+mn-lt"/>
                <a:ea typeface="+mn-ea"/>
                <a:cs typeface="+mn-cs"/>
              </a:defRPr>
            </a:lvl4pPr>
            <a:lvl5pPr marL="808038" marR="0" indent="-179388" algn="l" defTabSz="914400" rtl="0" eaLnBrk="1" fontAlgn="auto" latinLnBrk="0" hangingPunct="1">
              <a:lnSpc>
                <a:spcPct val="100000"/>
              </a:lnSpc>
              <a:spcBef>
                <a:spcPts val="200"/>
              </a:spcBef>
              <a:spcAft>
                <a:spcPts val="0"/>
              </a:spcAft>
              <a:buClr>
                <a:schemeClr val="accent1"/>
              </a:buClr>
              <a:buSzTx/>
              <a:buFont typeface="Symbol" pitchFamily="18" charset="2"/>
              <a:buChar char="-"/>
              <a:tabLst/>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1200" dirty="0" err="1" smtClean="0"/>
              <a:t>eLife</a:t>
            </a:r>
            <a:endParaRPr lang="de-DE" sz="1200" dirty="0"/>
          </a:p>
        </p:txBody>
      </p:sp>
      <p:sp>
        <p:nvSpPr>
          <p:cNvPr id="23" name="Inhaltsplatzhalter 2"/>
          <p:cNvSpPr txBox="1">
            <a:spLocks/>
          </p:cNvSpPr>
          <p:nvPr>
            <p:custDataLst>
              <p:tags r:id="rId1"/>
            </p:custDataLst>
          </p:nvPr>
        </p:nvSpPr>
        <p:spPr>
          <a:xfrm>
            <a:off x="7639421" y="5215002"/>
            <a:ext cx="319897" cy="353943"/>
          </a:xfrm>
          <a:prstGeom prst="rect">
            <a:avLst/>
          </a:prstGeom>
        </p:spPr>
        <p:txBody>
          <a:bodyPr vert="horz" wrap="square" lIns="0" tIns="0" rIns="91440" bIns="45720" rtlCol="0">
            <a:spAutoFit/>
          </a:bodyPr>
          <a:lstStyle>
            <a:lvl1pPr marL="0" marR="0" indent="0" algn="l" defTabSz="914400" rtl="0" eaLnBrk="1" fontAlgn="auto" latinLnBrk="0" hangingPunct="1">
              <a:lnSpc>
                <a:spcPct val="100000"/>
              </a:lnSpc>
              <a:spcBef>
                <a:spcPts val="200"/>
              </a:spcBef>
              <a:spcAft>
                <a:spcPts val="0"/>
              </a:spcAft>
              <a:buClr>
                <a:srgbClr val="606060"/>
              </a:buClr>
              <a:buSzTx/>
              <a:buFont typeface="Wingdings" pitchFamily="2" charset="2"/>
              <a:buNone/>
              <a:tabLst/>
              <a:defRPr sz="1600" kern="1200">
                <a:solidFill>
                  <a:schemeClr val="tx2"/>
                </a:solidFill>
                <a:latin typeface="+mn-lt"/>
                <a:ea typeface="+mn-ea"/>
                <a:cs typeface="+mn-cs"/>
              </a:defRPr>
            </a:lvl1pPr>
            <a:lvl2pPr marL="266700" marR="0" indent="-266700" algn="l" defTabSz="914400" rtl="0" eaLnBrk="1" fontAlgn="auto" latinLnBrk="0" hangingPunct="1">
              <a:lnSpc>
                <a:spcPct val="100000"/>
              </a:lnSpc>
              <a:spcBef>
                <a:spcPts val="200"/>
              </a:spcBef>
              <a:spcAft>
                <a:spcPts val="0"/>
              </a:spcAft>
              <a:buClr>
                <a:schemeClr val="accent6"/>
              </a:buClr>
              <a:buSzTx/>
              <a:buFont typeface="Times New Roman" panose="02020603050405020304" pitchFamily="18" charset="0"/>
              <a:buChar char="─"/>
              <a:tabLst/>
              <a:defRPr sz="1600" kern="1200">
                <a:solidFill>
                  <a:schemeClr val="tx2"/>
                </a:solidFill>
                <a:latin typeface="+mn-lt"/>
                <a:ea typeface="+mn-ea"/>
                <a:cs typeface="+mn-cs"/>
              </a:defRPr>
            </a:lvl2pPr>
            <a:lvl3pPr marL="466725" marR="0" indent="-200025" algn="l" defTabSz="914400" rtl="0" eaLnBrk="1" fontAlgn="auto" latinLnBrk="0" hangingPunct="1">
              <a:lnSpc>
                <a:spcPct val="100000"/>
              </a:lnSpc>
              <a:spcBef>
                <a:spcPts val="200"/>
              </a:spcBef>
              <a:spcAft>
                <a:spcPts val="0"/>
              </a:spcAft>
              <a:buClr>
                <a:schemeClr val="accent4"/>
              </a:buClr>
              <a:buSzTx/>
              <a:buFont typeface="Symbol" panose="05050102010706020507" pitchFamily="18" charset="2"/>
              <a:buChar char="-"/>
              <a:tabLst/>
              <a:defRPr sz="1600" kern="1200">
                <a:solidFill>
                  <a:schemeClr val="tx2"/>
                </a:solidFill>
                <a:latin typeface="+mn-lt"/>
                <a:ea typeface="+mn-ea"/>
                <a:cs typeface="+mn-cs"/>
              </a:defRPr>
            </a:lvl3pPr>
            <a:lvl4pPr marL="641350" marR="0" indent="-161925" algn="l" defTabSz="914400" rtl="0" eaLnBrk="1" fontAlgn="auto" latinLnBrk="0" hangingPunct="1">
              <a:lnSpc>
                <a:spcPct val="100000"/>
              </a:lnSpc>
              <a:spcBef>
                <a:spcPts val="200"/>
              </a:spcBef>
              <a:spcAft>
                <a:spcPts val="0"/>
              </a:spcAft>
              <a:buClr>
                <a:srgbClr val="606060"/>
              </a:buClr>
              <a:buSzTx/>
              <a:buFont typeface="Symbol" panose="05050102010706020507" pitchFamily="18" charset="2"/>
              <a:buChar char="-"/>
              <a:tabLst/>
              <a:defRPr sz="1600" kern="1200">
                <a:solidFill>
                  <a:schemeClr val="tx2"/>
                </a:solidFill>
                <a:latin typeface="+mn-lt"/>
                <a:ea typeface="+mn-ea"/>
                <a:cs typeface="+mn-cs"/>
              </a:defRPr>
            </a:lvl4pPr>
            <a:lvl5pPr marL="808038" marR="0" indent="-179388" algn="l" defTabSz="914400" rtl="0" eaLnBrk="1" fontAlgn="auto" latinLnBrk="0" hangingPunct="1">
              <a:lnSpc>
                <a:spcPct val="100000"/>
              </a:lnSpc>
              <a:spcBef>
                <a:spcPts val="200"/>
              </a:spcBef>
              <a:spcAft>
                <a:spcPts val="0"/>
              </a:spcAft>
              <a:buClr>
                <a:schemeClr val="accent1"/>
              </a:buClr>
              <a:buSzTx/>
              <a:buFont typeface="Symbol" pitchFamily="18" charset="2"/>
              <a:buChar char="-"/>
              <a:tabLst/>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2000" b="1" dirty="0" smtClean="0">
                <a:solidFill>
                  <a:schemeClr val="accent1"/>
                </a:solidFill>
              </a:rPr>
              <a:t>e</a:t>
            </a:r>
            <a:endParaRPr lang="de-DE" sz="900" b="1" dirty="0">
              <a:solidFill>
                <a:schemeClr val="accent1"/>
              </a:solidFill>
            </a:endParaRPr>
          </a:p>
        </p:txBody>
      </p:sp>
      <p:sp>
        <p:nvSpPr>
          <p:cNvPr id="24" name="Inhaltsplatzhalter 2"/>
          <p:cNvSpPr txBox="1">
            <a:spLocks/>
          </p:cNvSpPr>
          <p:nvPr>
            <p:custDataLst>
              <p:tags r:id="rId2"/>
            </p:custDataLst>
          </p:nvPr>
        </p:nvSpPr>
        <p:spPr>
          <a:xfrm>
            <a:off x="7796134" y="5215002"/>
            <a:ext cx="319897" cy="353943"/>
          </a:xfrm>
          <a:prstGeom prst="rect">
            <a:avLst/>
          </a:prstGeom>
        </p:spPr>
        <p:txBody>
          <a:bodyPr vert="horz" wrap="square" lIns="0" tIns="0" rIns="91440" bIns="45720" rtlCol="0">
            <a:spAutoFit/>
          </a:bodyPr>
          <a:lstStyle>
            <a:lvl1pPr marL="0" marR="0" indent="0" algn="l" defTabSz="914400" rtl="0" eaLnBrk="1" fontAlgn="auto" latinLnBrk="0" hangingPunct="1">
              <a:lnSpc>
                <a:spcPct val="100000"/>
              </a:lnSpc>
              <a:spcBef>
                <a:spcPts val="200"/>
              </a:spcBef>
              <a:spcAft>
                <a:spcPts val="0"/>
              </a:spcAft>
              <a:buClr>
                <a:srgbClr val="606060"/>
              </a:buClr>
              <a:buSzTx/>
              <a:buFont typeface="Wingdings" pitchFamily="2" charset="2"/>
              <a:buNone/>
              <a:tabLst/>
              <a:defRPr sz="1600" kern="1200">
                <a:solidFill>
                  <a:schemeClr val="tx2"/>
                </a:solidFill>
                <a:latin typeface="+mn-lt"/>
                <a:ea typeface="+mn-ea"/>
                <a:cs typeface="+mn-cs"/>
              </a:defRPr>
            </a:lvl1pPr>
            <a:lvl2pPr marL="266700" marR="0" indent="-266700" algn="l" defTabSz="914400" rtl="0" eaLnBrk="1" fontAlgn="auto" latinLnBrk="0" hangingPunct="1">
              <a:lnSpc>
                <a:spcPct val="100000"/>
              </a:lnSpc>
              <a:spcBef>
                <a:spcPts val="200"/>
              </a:spcBef>
              <a:spcAft>
                <a:spcPts val="0"/>
              </a:spcAft>
              <a:buClr>
                <a:schemeClr val="accent6"/>
              </a:buClr>
              <a:buSzTx/>
              <a:buFont typeface="Times New Roman" panose="02020603050405020304" pitchFamily="18" charset="0"/>
              <a:buChar char="─"/>
              <a:tabLst/>
              <a:defRPr sz="1600" kern="1200">
                <a:solidFill>
                  <a:schemeClr val="tx2"/>
                </a:solidFill>
                <a:latin typeface="+mn-lt"/>
                <a:ea typeface="+mn-ea"/>
                <a:cs typeface="+mn-cs"/>
              </a:defRPr>
            </a:lvl2pPr>
            <a:lvl3pPr marL="466725" marR="0" indent="-200025" algn="l" defTabSz="914400" rtl="0" eaLnBrk="1" fontAlgn="auto" latinLnBrk="0" hangingPunct="1">
              <a:lnSpc>
                <a:spcPct val="100000"/>
              </a:lnSpc>
              <a:spcBef>
                <a:spcPts val="200"/>
              </a:spcBef>
              <a:spcAft>
                <a:spcPts val="0"/>
              </a:spcAft>
              <a:buClr>
                <a:schemeClr val="accent4"/>
              </a:buClr>
              <a:buSzTx/>
              <a:buFont typeface="Symbol" panose="05050102010706020507" pitchFamily="18" charset="2"/>
              <a:buChar char="-"/>
              <a:tabLst/>
              <a:defRPr sz="1600" kern="1200">
                <a:solidFill>
                  <a:schemeClr val="tx2"/>
                </a:solidFill>
                <a:latin typeface="+mn-lt"/>
                <a:ea typeface="+mn-ea"/>
                <a:cs typeface="+mn-cs"/>
              </a:defRPr>
            </a:lvl3pPr>
            <a:lvl4pPr marL="641350" marR="0" indent="-161925" algn="l" defTabSz="914400" rtl="0" eaLnBrk="1" fontAlgn="auto" latinLnBrk="0" hangingPunct="1">
              <a:lnSpc>
                <a:spcPct val="100000"/>
              </a:lnSpc>
              <a:spcBef>
                <a:spcPts val="200"/>
              </a:spcBef>
              <a:spcAft>
                <a:spcPts val="0"/>
              </a:spcAft>
              <a:buClr>
                <a:srgbClr val="606060"/>
              </a:buClr>
              <a:buSzTx/>
              <a:buFont typeface="Symbol" panose="05050102010706020507" pitchFamily="18" charset="2"/>
              <a:buChar char="-"/>
              <a:tabLst/>
              <a:defRPr sz="1600" kern="1200">
                <a:solidFill>
                  <a:schemeClr val="tx2"/>
                </a:solidFill>
                <a:latin typeface="+mn-lt"/>
                <a:ea typeface="+mn-ea"/>
                <a:cs typeface="+mn-cs"/>
              </a:defRPr>
            </a:lvl4pPr>
            <a:lvl5pPr marL="808038" marR="0" indent="-179388" algn="l" defTabSz="914400" rtl="0" eaLnBrk="1" fontAlgn="auto" latinLnBrk="0" hangingPunct="1">
              <a:lnSpc>
                <a:spcPct val="100000"/>
              </a:lnSpc>
              <a:spcBef>
                <a:spcPts val="200"/>
              </a:spcBef>
              <a:spcAft>
                <a:spcPts val="0"/>
              </a:spcAft>
              <a:buClr>
                <a:schemeClr val="accent1"/>
              </a:buClr>
              <a:buSzTx/>
              <a:buFont typeface="Symbol" pitchFamily="18" charset="2"/>
              <a:buChar char="-"/>
              <a:tabLst/>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2000" b="1" dirty="0" smtClean="0">
                <a:solidFill>
                  <a:schemeClr val="accent1"/>
                </a:solidFill>
              </a:rPr>
              <a:t>s</a:t>
            </a:r>
            <a:endParaRPr lang="de-DE" sz="900" b="1" dirty="0">
              <a:solidFill>
                <a:schemeClr val="accent1"/>
              </a:solidFill>
            </a:endParaRPr>
          </a:p>
        </p:txBody>
      </p:sp>
      <p:sp>
        <p:nvSpPr>
          <p:cNvPr id="25" name="Inhaltsplatzhalter 2"/>
          <p:cNvSpPr txBox="1">
            <a:spLocks/>
          </p:cNvSpPr>
          <p:nvPr>
            <p:custDataLst>
              <p:tags r:id="rId3"/>
            </p:custDataLst>
          </p:nvPr>
        </p:nvSpPr>
        <p:spPr>
          <a:xfrm>
            <a:off x="7952847" y="5215002"/>
            <a:ext cx="319897" cy="353943"/>
          </a:xfrm>
          <a:prstGeom prst="rect">
            <a:avLst/>
          </a:prstGeom>
        </p:spPr>
        <p:txBody>
          <a:bodyPr vert="horz" wrap="square" lIns="0" tIns="0" rIns="91440" bIns="45720" rtlCol="0">
            <a:spAutoFit/>
          </a:bodyPr>
          <a:lstStyle>
            <a:lvl1pPr marL="0" marR="0" indent="0" algn="l" defTabSz="914400" rtl="0" eaLnBrk="1" fontAlgn="auto" latinLnBrk="0" hangingPunct="1">
              <a:lnSpc>
                <a:spcPct val="100000"/>
              </a:lnSpc>
              <a:spcBef>
                <a:spcPts val="200"/>
              </a:spcBef>
              <a:spcAft>
                <a:spcPts val="0"/>
              </a:spcAft>
              <a:buClr>
                <a:srgbClr val="606060"/>
              </a:buClr>
              <a:buSzTx/>
              <a:buFont typeface="Wingdings" pitchFamily="2" charset="2"/>
              <a:buNone/>
              <a:tabLst/>
              <a:defRPr sz="1600" kern="1200">
                <a:solidFill>
                  <a:schemeClr val="tx2"/>
                </a:solidFill>
                <a:latin typeface="+mn-lt"/>
                <a:ea typeface="+mn-ea"/>
                <a:cs typeface="+mn-cs"/>
              </a:defRPr>
            </a:lvl1pPr>
            <a:lvl2pPr marL="266700" marR="0" indent="-266700" algn="l" defTabSz="914400" rtl="0" eaLnBrk="1" fontAlgn="auto" latinLnBrk="0" hangingPunct="1">
              <a:lnSpc>
                <a:spcPct val="100000"/>
              </a:lnSpc>
              <a:spcBef>
                <a:spcPts val="200"/>
              </a:spcBef>
              <a:spcAft>
                <a:spcPts val="0"/>
              </a:spcAft>
              <a:buClr>
                <a:schemeClr val="accent6"/>
              </a:buClr>
              <a:buSzTx/>
              <a:buFont typeface="Times New Roman" panose="02020603050405020304" pitchFamily="18" charset="0"/>
              <a:buChar char="─"/>
              <a:tabLst/>
              <a:defRPr sz="1600" kern="1200">
                <a:solidFill>
                  <a:schemeClr val="tx2"/>
                </a:solidFill>
                <a:latin typeface="+mn-lt"/>
                <a:ea typeface="+mn-ea"/>
                <a:cs typeface="+mn-cs"/>
              </a:defRPr>
            </a:lvl2pPr>
            <a:lvl3pPr marL="466725" marR="0" indent="-200025" algn="l" defTabSz="914400" rtl="0" eaLnBrk="1" fontAlgn="auto" latinLnBrk="0" hangingPunct="1">
              <a:lnSpc>
                <a:spcPct val="100000"/>
              </a:lnSpc>
              <a:spcBef>
                <a:spcPts val="200"/>
              </a:spcBef>
              <a:spcAft>
                <a:spcPts val="0"/>
              </a:spcAft>
              <a:buClr>
                <a:schemeClr val="accent4"/>
              </a:buClr>
              <a:buSzTx/>
              <a:buFont typeface="Symbol" panose="05050102010706020507" pitchFamily="18" charset="2"/>
              <a:buChar char="-"/>
              <a:tabLst/>
              <a:defRPr sz="1600" kern="1200">
                <a:solidFill>
                  <a:schemeClr val="tx2"/>
                </a:solidFill>
                <a:latin typeface="+mn-lt"/>
                <a:ea typeface="+mn-ea"/>
                <a:cs typeface="+mn-cs"/>
              </a:defRPr>
            </a:lvl3pPr>
            <a:lvl4pPr marL="641350" marR="0" indent="-161925" algn="l" defTabSz="914400" rtl="0" eaLnBrk="1" fontAlgn="auto" latinLnBrk="0" hangingPunct="1">
              <a:lnSpc>
                <a:spcPct val="100000"/>
              </a:lnSpc>
              <a:spcBef>
                <a:spcPts val="200"/>
              </a:spcBef>
              <a:spcAft>
                <a:spcPts val="0"/>
              </a:spcAft>
              <a:buClr>
                <a:srgbClr val="606060"/>
              </a:buClr>
              <a:buSzTx/>
              <a:buFont typeface="Symbol" panose="05050102010706020507" pitchFamily="18" charset="2"/>
              <a:buChar char="-"/>
              <a:tabLst/>
              <a:defRPr sz="1600" kern="1200">
                <a:solidFill>
                  <a:schemeClr val="tx2"/>
                </a:solidFill>
                <a:latin typeface="+mn-lt"/>
                <a:ea typeface="+mn-ea"/>
                <a:cs typeface="+mn-cs"/>
              </a:defRPr>
            </a:lvl4pPr>
            <a:lvl5pPr marL="808038" marR="0" indent="-179388" algn="l" defTabSz="914400" rtl="0" eaLnBrk="1" fontAlgn="auto" latinLnBrk="0" hangingPunct="1">
              <a:lnSpc>
                <a:spcPct val="100000"/>
              </a:lnSpc>
              <a:spcBef>
                <a:spcPts val="200"/>
              </a:spcBef>
              <a:spcAft>
                <a:spcPts val="0"/>
              </a:spcAft>
              <a:buClr>
                <a:schemeClr val="accent1"/>
              </a:buClr>
              <a:buSzTx/>
              <a:buFont typeface="Symbol" pitchFamily="18" charset="2"/>
              <a:buChar char="-"/>
              <a:tabLst/>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2000" b="1" dirty="0" smtClean="0">
                <a:solidFill>
                  <a:schemeClr val="accent1"/>
                </a:solidFill>
              </a:rPr>
              <a:t>e</a:t>
            </a:r>
            <a:endParaRPr lang="de-DE" sz="900" b="1" dirty="0">
              <a:solidFill>
                <a:schemeClr val="accent1"/>
              </a:solidFill>
            </a:endParaRPr>
          </a:p>
        </p:txBody>
      </p:sp>
      <p:sp>
        <p:nvSpPr>
          <p:cNvPr id="26" name="Inhaltsplatzhalter 2"/>
          <p:cNvSpPr txBox="1">
            <a:spLocks/>
          </p:cNvSpPr>
          <p:nvPr>
            <p:custDataLst>
              <p:tags r:id="rId4"/>
            </p:custDataLst>
          </p:nvPr>
        </p:nvSpPr>
        <p:spPr>
          <a:xfrm>
            <a:off x="8109560" y="5215002"/>
            <a:ext cx="319897" cy="353943"/>
          </a:xfrm>
          <a:prstGeom prst="rect">
            <a:avLst/>
          </a:prstGeom>
        </p:spPr>
        <p:txBody>
          <a:bodyPr vert="horz" wrap="square" lIns="0" tIns="0" rIns="91440" bIns="45720" rtlCol="0">
            <a:spAutoFit/>
          </a:bodyPr>
          <a:lstStyle>
            <a:lvl1pPr marL="0" marR="0" indent="0" algn="l" defTabSz="914400" rtl="0" eaLnBrk="1" fontAlgn="auto" latinLnBrk="0" hangingPunct="1">
              <a:lnSpc>
                <a:spcPct val="100000"/>
              </a:lnSpc>
              <a:spcBef>
                <a:spcPts val="200"/>
              </a:spcBef>
              <a:spcAft>
                <a:spcPts val="0"/>
              </a:spcAft>
              <a:buClr>
                <a:srgbClr val="606060"/>
              </a:buClr>
              <a:buSzTx/>
              <a:buFont typeface="Wingdings" pitchFamily="2" charset="2"/>
              <a:buNone/>
              <a:tabLst/>
              <a:defRPr sz="1600" kern="1200">
                <a:solidFill>
                  <a:schemeClr val="tx2"/>
                </a:solidFill>
                <a:latin typeface="+mn-lt"/>
                <a:ea typeface="+mn-ea"/>
                <a:cs typeface="+mn-cs"/>
              </a:defRPr>
            </a:lvl1pPr>
            <a:lvl2pPr marL="266700" marR="0" indent="-266700" algn="l" defTabSz="914400" rtl="0" eaLnBrk="1" fontAlgn="auto" latinLnBrk="0" hangingPunct="1">
              <a:lnSpc>
                <a:spcPct val="100000"/>
              </a:lnSpc>
              <a:spcBef>
                <a:spcPts val="200"/>
              </a:spcBef>
              <a:spcAft>
                <a:spcPts val="0"/>
              </a:spcAft>
              <a:buClr>
                <a:schemeClr val="accent6"/>
              </a:buClr>
              <a:buSzTx/>
              <a:buFont typeface="Times New Roman" panose="02020603050405020304" pitchFamily="18" charset="0"/>
              <a:buChar char="─"/>
              <a:tabLst/>
              <a:defRPr sz="1600" kern="1200">
                <a:solidFill>
                  <a:schemeClr val="tx2"/>
                </a:solidFill>
                <a:latin typeface="+mn-lt"/>
                <a:ea typeface="+mn-ea"/>
                <a:cs typeface="+mn-cs"/>
              </a:defRPr>
            </a:lvl2pPr>
            <a:lvl3pPr marL="466725" marR="0" indent="-200025" algn="l" defTabSz="914400" rtl="0" eaLnBrk="1" fontAlgn="auto" latinLnBrk="0" hangingPunct="1">
              <a:lnSpc>
                <a:spcPct val="100000"/>
              </a:lnSpc>
              <a:spcBef>
                <a:spcPts val="200"/>
              </a:spcBef>
              <a:spcAft>
                <a:spcPts val="0"/>
              </a:spcAft>
              <a:buClr>
                <a:schemeClr val="accent4"/>
              </a:buClr>
              <a:buSzTx/>
              <a:buFont typeface="Symbol" panose="05050102010706020507" pitchFamily="18" charset="2"/>
              <a:buChar char="-"/>
              <a:tabLst/>
              <a:defRPr sz="1600" kern="1200">
                <a:solidFill>
                  <a:schemeClr val="tx2"/>
                </a:solidFill>
                <a:latin typeface="+mn-lt"/>
                <a:ea typeface="+mn-ea"/>
                <a:cs typeface="+mn-cs"/>
              </a:defRPr>
            </a:lvl3pPr>
            <a:lvl4pPr marL="641350" marR="0" indent="-161925" algn="l" defTabSz="914400" rtl="0" eaLnBrk="1" fontAlgn="auto" latinLnBrk="0" hangingPunct="1">
              <a:lnSpc>
                <a:spcPct val="100000"/>
              </a:lnSpc>
              <a:spcBef>
                <a:spcPts val="200"/>
              </a:spcBef>
              <a:spcAft>
                <a:spcPts val="0"/>
              </a:spcAft>
              <a:buClr>
                <a:srgbClr val="606060"/>
              </a:buClr>
              <a:buSzTx/>
              <a:buFont typeface="Symbol" panose="05050102010706020507" pitchFamily="18" charset="2"/>
              <a:buChar char="-"/>
              <a:tabLst/>
              <a:defRPr sz="1600" kern="1200">
                <a:solidFill>
                  <a:schemeClr val="tx2"/>
                </a:solidFill>
                <a:latin typeface="+mn-lt"/>
                <a:ea typeface="+mn-ea"/>
                <a:cs typeface="+mn-cs"/>
              </a:defRPr>
            </a:lvl4pPr>
            <a:lvl5pPr marL="808038" marR="0" indent="-179388" algn="l" defTabSz="914400" rtl="0" eaLnBrk="1" fontAlgn="auto" latinLnBrk="0" hangingPunct="1">
              <a:lnSpc>
                <a:spcPct val="100000"/>
              </a:lnSpc>
              <a:spcBef>
                <a:spcPts val="200"/>
              </a:spcBef>
              <a:spcAft>
                <a:spcPts val="0"/>
              </a:spcAft>
              <a:buClr>
                <a:schemeClr val="accent1"/>
              </a:buClr>
              <a:buSzTx/>
              <a:buFont typeface="Symbol" pitchFamily="18" charset="2"/>
              <a:buChar char="-"/>
              <a:tabLst/>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2000" b="1" dirty="0" smtClean="0">
                <a:solidFill>
                  <a:schemeClr val="accent1"/>
                </a:solidFill>
              </a:rPr>
              <a:t>a</a:t>
            </a:r>
            <a:endParaRPr lang="de-DE" sz="900" b="1" dirty="0">
              <a:solidFill>
                <a:schemeClr val="accent1"/>
              </a:solidFill>
            </a:endParaRPr>
          </a:p>
        </p:txBody>
      </p:sp>
      <p:sp>
        <p:nvSpPr>
          <p:cNvPr id="27" name="Inhaltsplatzhalter 2"/>
          <p:cNvSpPr txBox="1">
            <a:spLocks/>
          </p:cNvSpPr>
          <p:nvPr>
            <p:custDataLst>
              <p:tags r:id="rId5"/>
            </p:custDataLst>
          </p:nvPr>
        </p:nvSpPr>
        <p:spPr>
          <a:xfrm>
            <a:off x="8266273" y="5215002"/>
            <a:ext cx="319897" cy="353943"/>
          </a:xfrm>
          <a:prstGeom prst="rect">
            <a:avLst/>
          </a:prstGeom>
        </p:spPr>
        <p:txBody>
          <a:bodyPr vert="horz" wrap="square" lIns="0" tIns="0" rIns="91440" bIns="45720" rtlCol="0">
            <a:spAutoFit/>
          </a:bodyPr>
          <a:lstStyle>
            <a:lvl1pPr marL="0" marR="0" indent="0" algn="l" defTabSz="914400" rtl="0" eaLnBrk="1" fontAlgn="auto" latinLnBrk="0" hangingPunct="1">
              <a:lnSpc>
                <a:spcPct val="100000"/>
              </a:lnSpc>
              <a:spcBef>
                <a:spcPts val="200"/>
              </a:spcBef>
              <a:spcAft>
                <a:spcPts val="0"/>
              </a:spcAft>
              <a:buClr>
                <a:srgbClr val="606060"/>
              </a:buClr>
              <a:buSzTx/>
              <a:buFont typeface="Wingdings" pitchFamily="2" charset="2"/>
              <a:buNone/>
              <a:tabLst/>
              <a:defRPr sz="1600" kern="1200">
                <a:solidFill>
                  <a:schemeClr val="tx2"/>
                </a:solidFill>
                <a:latin typeface="+mn-lt"/>
                <a:ea typeface="+mn-ea"/>
                <a:cs typeface="+mn-cs"/>
              </a:defRPr>
            </a:lvl1pPr>
            <a:lvl2pPr marL="266700" marR="0" indent="-266700" algn="l" defTabSz="914400" rtl="0" eaLnBrk="1" fontAlgn="auto" latinLnBrk="0" hangingPunct="1">
              <a:lnSpc>
                <a:spcPct val="100000"/>
              </a:lnSpc>
              <a:spcBef>
                <a:spcPts val="200"/>
              </a:spcBef>
              <a:spcAft>
                <a:spcPts val="0"/>
              </a:spcAft>
              <a:buClr>
                <a:schemeClr val="accent6"/>
              </a:buClr>
              <a:buSzTx/>
              <a:buFont typeface="Times New Roman" panose="02020603050405020304" pitchFamily="18" charset="0"/>
              <a:buChar char="─"/>
              <a:tabLst/>
              <a:defRPr sz="1600" kern="1200">
                <a:solidFill>
                  <a:schemeClr val="tx2"/>
                </a:solidFill>
                <a:latin typeface="+mn-lt"/>
                <a:ea typeface="+mn-ea"/>
                <a:cs typeface="+mn-cs"/>
              </a:defRPr>
            </a:lvl2pPr>
            <a:lvl3pPr marL="466725" marR="0" indent="-200025" algn="l" defTabSz="914400" rtl="0" eaLnBrk="1" fontAlgn="auto" latinLnBrk="0" hangingPunct="1">
              <a:lnSpc>
                <a:spcPct val="100000"/>
              </a:lnSpc>
              <a:spcBef>
                <a:spcPts val="200"/>
              </a:spcBef>
              <a:spcAft>
                <a:spcPts val="0"/>
              </a:spcAft>
              <a:buClr>
                <a:schemeClr val="accent4"/>
              </a:buClr>
              <a:buSzTx/>
              <a:buFont typeface="Symbol" panose="05050102010706020507" pitchFamily="18" charset="2"/>
              <a:buChar char="-"/>
              <a:tabLst/>
              <a:defRPr sz="1600" kern="1200">
                <a:solidFill>
                  <a:schemeClr val="tx2"/>
                </a:solidFill>
                <a:latin typeface="+mn-lt"/>
                <a:ea typeface="+mn-ea"/>
                <a:cs typeface="+mn-cs"/>
              </a:defRPr>
            </a:lvl3pPr>
            <a:lvl4pPr marL="641350" marR="0" indent="-161925" algn="l" defTabSz="914400" rtl="0" eaLnBrk="1" fontAlgn="auto" latinLnBrk="0" hangingPunct="1">
              <a:lnSpc>
                <a:spcPct val="100000"/>
              </a:lnSpc>
              <a:spcBef>
                <a:spcPts val="200"/>
              </a:spcBef>
              <a:spcAft>
                <a:spcPts val="0"/>
              </a:spcAft>
              <a:buClr>
                <a:srgbClr val="606060"/>
              </a:buClr>
              <a:buSzTx/>
              <a:buFont typeface="Symbol" panose="05050102010706020507" pitchFamily="18" charset="2"/>
              <a:buChar char="-"/>
              <a:tabLst/>
              <a:defRPr sz="1600" kern="1200">
                <a:solidFill>
                  <a:schemeClr val="tx2"/>
                </a:solidFill>
                <a:latin typeface="+mn-lt"/>
                <a:ea typeface="+mn-ea"/>
                <a:cs typeface="+mn-cs"/>
              </a:defRPr>
            </a:lvl4pPr>
            <a:lvl5pPr marL="808038" marR="0" indent="-179388" algn="l" defTabSz="914400" rtl="0" eaLnBrk="1" fontAlgn="auto" latinLnBrk="0" hangingPunct="1">
              <a:lnSpc>
                <a:spcPct val="100000"/>
              </a:lnSpc>
              <a:spcBef>
                <a:spcPts val="200"/>
              </a:spcBef>
              <a:spcAft>
                <a:spcPts val="0"/>
              </a:spcAft>
              <a:buClr>
                <a:schemeClr val="accent1"/>
              </a:buClr>
              <a:buSzTx/>
              <a:buFont typeface="Symbol" pitchFamily="18" charset="2"/>
              <a:buChar char="-"/>
              <a:tabLst/>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2000" b="1" dirty="0" smtClean="0">
                <a:solidFill>
                  <a:schemeClr val="accent1"/>
                </a:solidFill>
              </a:rPr>
              <a:t>r</a:t>
            </a:r>
            <a:endParaRPr lang="de-DE" sz="900" b="1" dirty="0">
              <a:solidFill>
                <a:schemeClr val="accent1"/>
              </a:solidFill>
            </a:endParaRPr>
          </a:p>
        </p:txBody>
      </p:sp>
      <p:sp>
        <p:nvSpPr>
          <p:cNvPr id="28" name="Inhaltsplatzhalter 2"/>
          <p:cNvSpPr txBox="1">
            <a:spLocks/>
          </p:cNvSpPr>
          <p:nvPr>
            <p:custDataLst>
              <p:tags r:id="rId6"/>
            </p:custDataLst>
          </p:nvPr>
        </p:nvSpPr>
        <p:spPr>
          <a:xfrm>
            <a:off x="8384887" y="5215002"/>
            <a:ext cx="319897" cy="353943"/>
          </a:xfrm>
          <a:prstGeom prst="rect">
            <a:avLst/>
          </a:prstGeom>
        </p:spPr>
        <p:txBody>
          <a:bodyPr vert="horz" wrap="square" lIns="0" tIns="0" rIns="91440" bIns="45720" rtlCol="0">
            <a:spAutoFit/>
          </a:bodyPr>
          <a:lstStyle>
            <a:lvl1pPr marL="0" marR="0" indent="0" algn="l" defTabSz="914400" rtl="0" eaLnBrk="1" fontAlgn="auto" latinLnBrk="0" hangingPunct="1">
              <a:lnSpc>
                <a:spcPct val="100000"/>
              </a:lnSpc>
              <a:spcBef>
                <a:spcPts val="200"/>
              </a:spcBef>
              <a:spcAft>
                <a:spcPts val="0"/>
              </a:spcAft>
              <a:buClr>
                <a:srgbClr val="606060"/>
              </a:buClr>
              <a:buSzTx/>
              <a:buFont typeface="Wingdings" pitchFamily="2" charset="2"/>
              <a:buNone/>
              <a:tabLst/>
              <a:defRPr sz="1600" kern="1200">
                <a:solidFill>
                  <a:schemeClr val="tx2"/>
                </a:solidFill>
                <a:latin typeface="+mn-lt"/>
                <a:ea typeface="+mn-ea"/>
                <a:cs typeface="+mn-cs"/>
              </a:defRPr>
            </a:lvl1pPr>
            <a:lvl2pPr marL="266700" marR="0" indent="-266700" algn="l" defTabSz="914400" rtl="0" eaLnBrk="1" fontAlgn="auto" latinLnBrk="0" hangingPunct="1">
              <a:lnSpc>
                <a:spcPct val="100000"/>
              </a:lnSpc>
              <a:spcBef>
                <a:spcPts val="200"/>
              </a:spcBef>
              <a:spcAft>
                <a:spcPts val="0"/>
              </a:spcAft>
              <a:buClr>
                <a:schemeClr val="accent6"/>
              </a:buClr>
              <a:buSzTx/>
              <a:buFont typeface="Times New Roman" panose="02020603050405020304" pitchFamily="18" charset="0"/>
              <a:buChar char="─"/>
              <a:tabLst/>
              <a:defRPr sz="1600" kern="1200">
                <a:solidFill>
                  <a:schemeClr val="tx2"/>
                </a:solidFill>
                <a:latin typeface="+mn-lt"/>
                <a:ea typeface="+mn-ea"/>
                <a:cs typeface="+mn-cs"/>
              </a:defRPr>
            </a:lvl2pPr>
            <a:lvl3pPr marL="466725" marR="0" indent="-200025" algn="l" defTabSz="914400" rtl="0" eaLnBrk="1" fontAlgn="auto" latinLnBrk="0" hangingPunct="1">
              <a:lnSpc>
                <a:spcPct val="100000"/>
              </a:lnSpc>
              <a:spcBef>
                <a:spcPts val="200"/>
              </a:spcBef>
              <a:spcAft>
                <a:spcPts val="0"/>
              </a:spcAft>
              <a:buClr>
                <a:schemeClr val="accent4"/>
              </a:buClr>
              <a:buSzTx/>
              <a:buFont typeface="Symbol" panose="05050102010706020507" pitchFamily="18" charset="2"/>
              <a:buChar char="-"/>
              <a:tabLst/>
              <a:defRPr sz="1600" kern="1200">
                <a:solidFill>
                  <a:schemeClr val="tx2"/>
                </a:solidFill>
                <a:latin typeface="+mn-lt"/>
                <a:ea typeface="+mn-ea"/>
                <a:cs typeface="+mn-cs"/>
              </a:defRPr>
            </a:lvl3pPr>
            <a:lvl4pPr marL="641350" marR="0" indent="-161925" algn="l" defTabSz="914400" rtl="0" eaLnBrk="1" fontAlgn="auto" latinLnBrk="0" hangingPunct="1">
              <a:lnSpc>
                <a:spcPct val="100000"/>
              </a:lnSpc>
              <a:spcBef>
                <a:spcPts val="200"/>
              </a:spcBef>
              <a:spcAft>
                <a:spcPts val="0"/>
              </a:spcAft>
              <a:buClr>
                <a:srgbClr val="606060"/>
              </a:buClr>
              <a:buSzTx/>
              <a:buFont typeface="Symbol" panose="05050102010706020507" pitchFamily="18" charset="2"/>
              <a:buChar char="-"/>
              <a:tabLst/>
              <a:defRPr sz="1600" kern="1200">
                <a:solidFill>
                  <a:schemeClr val="tx2"/>
                </a:solidFill>
                <a:latin typeface="+mn-lt"/>
                <a:ea typeface="+mn-ea"/>
                <a:cs typeface="+mn-cs"/>
              </a:defRPr>
            </a:lvl4pPr>
            <a:lvl5pPr marL="808038" marR="0" indent="-179388" algn="l" defTabSz="914400" rtl="0" eaLnBrk="1" fontAlgn="auto" latinLnBrk="0" hangingPunct="1">
              <a:lnSpc>
                <a:spcPct val="100000"/>
              </a:lnSpc>
              <a:spcBef>
                <a:spcPts val="200"/>
              </a:spcBef>
              <a:spcAft>
                <a:spcPts val="0"/>
              </a:spcAft>
              <a:buClr>
                <a:schemeClr val="accent1"/>
              </a:buClr>
              <a:buSzTx/>
              <a:buFont typeface="Symbol" pitchFamily="18" charset="2"/>
              <a:buChar char="-"/>
              <a:tabLst/>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2000" b="1" dirty="0" smtClean="0">
                <a:solidFill>
                  <a:schemeClr val="accent1"/>
                </a:solidFill>
              </a:rPr>
              <a:t>c</a:t>
            </a:r>
            <a:endParaRPr lang="de-DE" sz="900" b="1" dirty="0">
              <a:solidFill>
                <a:schemeClr val="accent1"/>
              </a:solidFill>
            </a:endParaRPr>
          </a:p>
        </p:txBody>
      </p:sp>
      <p:sp>
        <p:nvSpPr>
          <p:cNvPr id="29" name="Inhaltsplatzhalter 2"/>
          <p:cNvSpPr txBox="1">
            <a:spLocks/>
          </p:cNvSpPr>
          <p:nvPr>
            <p:custDataLst>
              <p:tags r:id="rId7"/>
            </p:custDataLst>
          </p:nvPr>
        </p:nvSpPr>
        <p:spPr>
          <a:xfrm>
            <a:off x="8524931" y="5215002"/>
            <a:ext cx="319897" cy="353943"/>
          </a:xfrm>
          <a:prstGeom prst="rect">
            <a:avLst/>
          </a:prstGeom>
        </p:spPr>
        <p:txBody>
          <a:bodyPr vert="horz" wrap="square" lIns="0" tIns="0" rIns="91440" bIns="45720" rtlCol="0">
            <a:spAutoFit/>
          </a:bodyPr>
          <a:lstStyle>
            <a:lvl1pPr marL="0" marR="0" indent="0" algn="l" defTabSz="914400" rtl="0" eaLnBrk="1" fontAlgn="auto" latinLnBrk="0" hangingPunct="1">
              <a:lnSpc>
                <a:spcPct val="100000"/>
              </a:lnSpc>
              <a:spcBef>
                <a:spcPts val="200"/>
              </a:spcBef>
              <a:spcAft>
                <a:spcPts val="0"/>
              </a:spcAft>
              <a:buClr>
                <a:srgbClr val="606060"/>
              </a:buClr>
              <a:buSzTx/>
              <a:buFont typeface="Wingdings" pitchFamily="2" charset="2"/>
              <a:buNone/>
              <a:tabLst/>
              <a:defRPr sz="1600" kern="1200">
                <a:solidFill>
                  <a:schemeClr val="tx2"/>
                </a:solidFill>
                <a:latin typeface="+mn-lt"/>
                <a:ea typeface="+mn-ea"/>
                <a:cs typeface="+mn-cs"/>
              </a:defRPr>
            </a:lvl1pPr>
            <a:lvl2pPr marL="266700" marR="0" indent="-266700" algn="l" defTabSz="914400" rtl="0" eaLnBrk="1" fontAlgn="auto" latinLnBrk="0" hangingPunct="1">
              <a:lnSpc>
                <a:spcPct val="100000"/>
              </a:lnSpc>
              <a:spcBef>
                <a:spcPts val="200"/>
              </a:spcBef>
              <a:spcAft>
                <a:spcPts val="0"/>
              </a:spcAft>
              <a:buClr>
                <a:schemeClr val="accent6"/>
              </a:buClr>
              <a:buSzTx/>
              <a:buFont typeface="Times New Roman" panose="02020603050405020304" pitchFamily="18" charset="0"/>
              <a:buChar char="─"/>
              <a:tabLst/>
              <a:defRPr sz="1600" kern="1200">
                <a:solidFill>
                  <a:schemeClr val="tx2"/>
                </a:solidFill>
                <a:latin typeface="+mn-lt"/>
                <a:ea typeface="+mn-ea"/>
                <a:cs typeface="+mn-cs"/>
              </a:defRPr>
            </a:lvl2pPr>
            <a:lvl3pPr marL="466725" marR="0" indent="-200025" algn="l" defTabSz="914400" rtl="0" eaLnBrk="1" fontAlgn="auto" latinLnBrk="0" hangingPunct="1">
              <a:lnSpc>
                <a:spcPct val="100000"/>
              </a:lnSpc>
              <a:spcBef>
                <a:spcPts val="200"/>
              </a:spcBef>
              <a:spcAft>
                <a:spcPts val="0"/>
              </a:spcAft>
              <a:buClr>
                <a:schemeClr val="accent4"/>
              </a:buClr>
              <a:buSzTx/>
              <a:buFont typeface="Symbol" panose="05050102010706020507" pitchFamily="18" charset="2"/>
              <a:buChar char="-"/>
              <a:tabLst/>
              <a:defRPr sz="1600" kern="1200">
                <a:solidFill>
                  <a:schemeClr val="tx2"/>
                </a:solidFill>
                <a:latin typeface="+mn-lt"/>
                <a:ea typeface="+mn-ea"/>
                <a:cs typeface="+mn-cs"/>
              </a:defRPr>
            </a:lvl3pPr>
            <a:lvl4pPr marL="641350" marR="0" indent="-161925" algn="l" defTabSz="914400" rtl="0" eaLnBrk="1" fontAlgn="auto" latinLnBrk="0" hangingPunct="1">
              <a:lnSpc>
                <a:spcPct val="100000"/>
              </a:lnSpc>
              <a:spcBef>
                <a:spcPts val="200"/>
              </a:spcBef>
              <a:spcAft>
                <a:spcPts val="0"/>
              </a:spcAft>
              <a:buClr>
                <a:srgbClr val="606060"/>
              </a:buClr>
              <a:buSzTx/>
              <a:buFont typeface="Symbol" panose="05050102010706020507" pitchFamily="18" charset="2"/>
              <a:buChar char="-"/>
              <a:tabLst/>
              <a:defRPr sz="1600" kern="1200">
                <a:solidFill>
                  <a:schemeClr val="tx2"/>
                </a:solidFill>
                <a:latin typeface="+mn-lt"/>
                <a:ea typeface="+mn-ea"/>
                <a:cs typeface="+mn-cs"/>
              </a:defRPr>
            </a:lvl4pPr>
            <a:lvl5pPr marL="808038" marR="0" indent="-179388" algn="l" defTabSz="914400" rtl="0" eaLnBrk="1" fontAlgn="auto" latinLnBrk="0" hangingPunct="1">
              <a:lnSpc>
                <a:spcPct val="100000"/>
              </a:lnSpc>
              <a:spcBef>
                <a:spcPts val="200"/>
              </a:spcBef>
              <a:spcAft>
                <a:spcPts val="0"/>
              </a:spcAft>
              <a:buClr>
                <a:schemeClr val="accent1"/>
              </a:buClr>
              <a:buSzTx/>
              <a:buFont typeface="Symbol" pitchFamily="18" charset="2"/>
              <a:buChar char="-"/>
              <a:tabLst/>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2000" b="1" dirty="0" smtClean="0">
                <a:solidFill>
                  <a:schemeClr val="accent1"/>
                </a:solidFill>
              </a:rPr>
              <a:t>h</a:t>
            </a:r>
            <a:endParaRPr lang="de-DE" sz="900" b="1" dirty="0">
              <a:solidFill>
                <a:schemeClr val="accent1"/>
              </a:solidFill>
            </a:endParaRPr>
          </a:p>
        </p:txBody>
      </p:sp>
      <p:sp>
        <p:nvSpPr>
          <p:cNvPr id="30" name="Inhaltsplatzhalter 2"/>
          <p:cNvSpPr txBox="1">
            <a:spLocks/>
          </p:cNvSpPr>
          <p:nvPr>
            <p:custDataLst>
              <p:tags r:id="rId8"/>
            </p:custDataLst>
          </p:nvPr>
        </p:nvSpPr>
        <p:spPr>
          <a:xfrm>
            <a:off x="8691169" y="5215002"/>
            <a:ext cx="319897" cy="353943"/>
          </a:xfrm>
          <a:prstGeom prst="rect">
            <a:avLst/>
          </a:prstGeom>
        </p:spPr>
        <p:txBody>
          <a:bodyPr vert="horz" wrap="square" lIns="0" tIns="0" rIns="91440" bIns="45720" rtlCol="0">
            <a:spAutoFit/>
          </a:bodyPr>
          <a:lstStyle>
            <a:lvl1pPr marL="0" marR="0" indent="0" algn="l" defTabSz="914400" rtl="0" eaLnBrk="1" fontAlgn="auto" latinLnBrk="0" hangingPunct="1">
              <a:lnSpc>
                <a:spcPct val="100000"/>
              </a:lnSpc>
              <a:spcBef>
                <a:spcPts val="200"/>
              </a:spcBef>
              <a:spcAft>
                <a:spcPts val="0"/>
              </a:spcAft>
              <a:buClr>
                <a:srgbClr val="606060"/>
              </a:buClr>
              <a:buSzTx/>
              <a:buFont typeface="Wingdings" pitchFamily="2" charset="2"/>
              <a:buNone/>
              <a:tabLst/>
              <a:defRPr sz="1600" kern="1200">
                <a:solidFill>
                  <a:schemeClr val="tx2"/>
                </a:solidFill>
                <a:latin typeface="+mn-lt"/>
                <a:ea typeface="+mn-ea"/>
                <a:cs typeface="+mn-cs"/>
              </a:defRPr>
            </a:lvl1pPr>
            <a:lvl2pPr marL="266700" marR="0" indent="-266700" algn="l" defTabSz="914400" rtl="0" eaLnBrk="1" fontAlgn="auto" latinLnBrk="0" hangingPunct="1">
              <a:lnSpc>
                <a:spcPct val="100000"/>
              </a:lnSpc>
              <a:spcBef>
                <a:spcPts val="200"/>
              </a:spcBef>
              <a:spcAft>
                <a:spcPts val="0"/>
              </a:spcAft>
              <a:buClr>
                <a:schemeClr val="accent6"/>
              </a:buClr>
              <a:buSzTx/>
              <a:buFont typeface="Times New Roman" panose="02020603050405020304" pitchFamily="18" charset="0"/>
              <a:buChar char="─"/>
              <a:tabLst/>
              <a:defRPr sz="1600" kern="1200">
                <a:solidFill>
                  <a:schemeClr val="tx2"/>
                </a:solidFill>
                <a:latin typeface="+mn-lt"/>
                <a:ea typeface="+mn-ea"/>
                <a:cs typeface="+mn-cs"/>
              </a:defRPr>
            </a:lvl2pPr>
            <a:lvl3pPr marL="466725" marR="0" indent="-200025" algn="l" defTabSz="914400" rtl="0" eaLnBrk="1" fontAlgn="auto" latinLnBrk="0" hangingPunct="1">
              <a:lnSpc>
                <a:spcPct val="100000"/>
              </a:lnSpc>
              <a:spcBef>
                <a:spcPts val="200"/>
              </a:spcBef>
              <a:spcAft>
                <a:spcPts val="0"/>
              </a:spcAft>
              <a:buClr>
                <a:schemeClr val="accent4"/>
              </a:buClr>
              <a:buSzTx/>
              <a:buFont typeface="Symbol" panose="05050102010706020507" pitchFamily="18" charset="2"/>
              <a:buChar char="-"/>
              <a:tabLst/>
              <a:defRPr sz="1600" kern="1200">
                <a:solidFill>
                  <a:schemeClr val="tx2"/>
                </a:solidFill>
                <a:latin typeface="+mn-lt"/>
                <a:ea typeface="+mn-ea"/>
                <a:cs typeface="+mn-cs"/>
              </a:defRPr>
            </a:lvl3pPr>
            <a:lvl4pPr marL="641350" marR="0" indent="-161925" algn="l" defTabSz="914400" rtl="0" eaLnBrk="1" fontAlgn="auto" latinLnBrk="0" hangingPunct="1">
              <a:lnSpc>
                <a:spcPct val="100000"/>
              </a:lnSpc>
              <a:spcBef>
                <a:spcPts val="200"/>
              </a:spcBef>
              <a:spcAft>
                <a:spcPts val="0"/>
              </a:spcAft>
              <a:buClr>
                <a:srgbClr val="606060"/>
              </a:buClr>
              <a:buSzTx/>
              <a:buFont typeface="Symbol" panose="05050102010706020507" pitchFamily="18" charset="2"/>
              <a:buChar char="-"/>
              <a:tabLst/>
              <a:defRPr sz="1600" kern="1200">
                <a:solidFill>
                  <a:schemeClr val="tx2"/>
                </a:solidFill>
                <a:latin typeface="+mn-lt"/>
                <a:ea typeface="+mn-ea"/>
                <a:cs typeface="+mn-cs"/>
              </a:defRPr>
            </a:lvl4pPr>
            <a:lvl5pPr marL="808038" marR="0" indent="-179388" algn="l" defTabSz="914400" rtl="0" eaLnBrk="1" fontAlgn="auto" latinLnBrk="0" hangingPunct="1">
              <a:lnSpc>
                <a:spcPct val="100000"/>
              </a:lnSpc>
              <a:spcBef>
                <a:spcPts val="200"/>
              </a:spcBef>
              <a:spcAft>
                <a:spcPts val="0"/>
              </a:spcAft>
              <a:buClr>
                <a:schemeClr val="accent1"/>
              </a:buClr>
              <a:buSzTx/>
              <a:buFont typeface="Symbol" pitchFamily="18" charset="2"/>
              <a:buChar char="-"/>
              <a:tabLst/>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2000" b="1" dirty="0" smtClean="0">
                <a:solidFill>
                  <a:schemeClr val="accent1"/>
                </a:solidFill>
              </a:rPr>
              <a:t>e</a:t>
            </a:r>
            <a:endParaRPr lang="de-DE" sz="900" b="1" dirty="0">
              <a:solidFill>
                <a:schemeClr val="accent1"/>
              </a:solidFill>
            </a:endParaRPr>
          </a:p>
        </p:txBody>
      </p:sp>
      <p:sp>
        <p:nvSpPr>
          <p:cNvPr id="31" name="Inhaltsplatzhalter 2"/>
          <p:cNvSpPr txBox="1">
            <a:spLocks/>
          </p:cNvSpPr>
          <p:nvPr>
            <p:custDataLst>
              <p:tags r:id="rId9"/>
            </p:custDataLst>
          </p:nvPr>
        </p:nvSpPr>
        <p:spPr>
          <a:xfrm>
            <a:off x="8838361" y="5215002"/>
            <a:ext cx="319897" cy="353943"/>
          </a:xfrm>
          <a:prstGeom prst="rect">
            <a:avLst/>
          </a:prstGeom>
        </p:spPr>
        <p:txBody>
          <a:bodyPr vert="horz" wrap="square" lIns="0" tIns="0" rIns="91440" bIns="45720" rtlCol="0">
            <a:spAutoFit/>
          </a:bodyPr>
          <a:lstStyle>
            <a:lvl1pPr marL="0" marR="0" indent="0" algn="l" defTabSz="914400" rtl="0" eaLnBrk="1" fontAlgn="auto" latinLnBrk="0" hangingPunct="1">
              <a:lnSpc>
                <a:spcPct val="100000"/>
              </a:lnSpc>
              <a:spcBef>
                <a:spcPts val="200"/>
              </a:spcBef>
              <a:spcAft>
                <a:spcPts val="0"/>
              </a:spcAft>
              <a:buClr>
                <a:srgbClr val="606060"/>
              </a:buClr>
              <a:buSzTx/>
              <a:buFont typeface="Wingdings" pitchFamily="2" charset="2"/>
              <a:buNone/>
              <a:tabLst/>
              <a:defRPr sz="1600" kern="1200">
                <a:solidFill>
                  <a:schemeClr val="tx2"/>
                </a:solidFill>
                <a:latin typeface="+mn-lt"/>
                <a:ea typeface="+mn-ea"/>
                <a:cs typeface="+mn-cs"/>
              </a:defRPr>
            </a:lvl1pPr>
            <a:lvl2pPr marL="266700" marR="0" indent="-266700" algn="l" defTabSz="914400" rtl="0" eaLnBrk="1" fontAlgn="auto" latinLnBrk="0" hangingPunct="1">
              <a:lnSpc>
                <a:spcPct val="100000"/>
              </a:lnSpc>
              <a:spcBef>
                <a:spcPts val="200"/>
              </a:spcBef>
              <a:spcAft>
                <a:spcPts val="0"/>
              </a:spcAft>
              <a:buClr>
                <a:schemeClr val="accent6"/>
              </a:buClr>
              <a:buSzTx/>
              <a:buFont typeface="Times New Roman" panose="02020603050405020304" pitchFamily="18" charset="0"/>
              <a:buChar char="─"/>
              <a:tabLst/>
              <a:defRPr sz="1600" kern="1200">
                <a:solidFill>
                  <a:schemeClr val="tx2"/>
                </a:solidFill>
                <a:latin typeface="+mn-lt"/>
                <a:ea typeface="+mn-ea"/>
                <a:cs typeface="+mn-cs"/>
              </a:defRPr>
            </a:lvl2pPr>
            <a:lvl3pPr marL="466725" marR="0" indent="-200025" algn="l" defTabSz="914400" rtl="0" eaLnBrk="1" fontAlgn="auto" latinLnBrk="0" hangingPunct="1">
              <a:lnSpc>
                <a:spcPct val="100000"/>
              </a:lnSpc>
              <a:spcBef>
                <a:spcPts val="200"/>
              </a:spcBef>
              <a:spcAft>
                <a:spcPts val="0"/>
              </a:spcAft>
              <a:buClr>
                <a:schemeClr val="accent4"/>
              </a:buClr>
              <a:buSzTx/>
              <a:buFont typeface="Symbol" panose="05050102010706020507" pitchFamily="18" charset="2"/>
              <a:buChar char="-"/>
              <a:tabLst/>
              <a:defRPr sz="1600" kern="1200">
                <a:solidFill>
                  <a:schemeClr val="tx2"/>
                </a:solidFill>
                <a:latin typeface="+mn-lt"/>
                <a:ea typeface="+mn-ea"/>
                <a:cs typeface="+mn-cs"/>
              </a:defRPr>
            </a:lvl3pPr>
            <a:lvl4pPr marL="641350" marR="0" indent="-161925" algn="l" defTabSz="914400" rtl="0" eaLnBrk="1" fontAlgn="auto" latinLnBrk="0" hangingPunct="1">
              <a:lnSpc>
                <a:spcPct val="100000"/>
              </a:lnSpc>
              <a:spcBef>
                <a:spcPts val="200"/>
              </a:spcBef>
              <a:spcAft>
                <a:spcPts val="0"/>
              </a:spcAft>
              <a:buClr>
                <a:srgbClr val="606060"/>
              </a:buClr>
              <a:buSzTx/>
              <a:buFont typeface="Symbol" panose="05050102010706020507" pitchFamily="18" charset="2"/>
              <a:buChar char="-"/>
              <a:tabLst/>
              <a:defRPr sz="1600" kern="1200">
                <a:solidFill>
                  <a:schemeClr val="tx2"/>
                </a:solidFill>
                <a:latin typeface="+mn-lt"/>
                <a:ea typeface="+mn-ea"/>
                <a:cs typeface="+mn-cs"/>
              </a:defRPr>
            </a:lvl4pPr>
            <a:lvl5pPr marL="808038" marR="0" indent="-179388" algn="l" defTabSz="914400" rtl="0" eaLnBrk="1" fontAlgn="auto" latinLnBrk="0" hangingPunct="1">
              <a:lnSpc>
                <a:spcPct val="100000"/>
              </a:lnSpc>
              <a:spcBef>
                <a:spcPts val="200"/>
              </a:spcBef>
              <a:spcAft>
                <a:spcPts val="0"/>
              </a:spcAft>
              <a:buClr>
                <a:schemeClr val="accent1"/>
              </a:buClr>
              <a:buSzTx/>
              <a:buFont typeface="Symbol" pitchFamily="18" charset="2"/>
              <a:buChar char="-"/>
              <a:tabLst/>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2000" b="1" dirty="0" smtClean="0">
                <a:solidFill>
                  <a:schemeClr val="accent1"/>
                </a:solidFill>
              </a:rPr>
              <a:t>r</a:t>
            </a:r>
            <a:endParaRPr lang="de-DE" sz="900" b="1" dirty="0">
              <a:solidFill>
                <a:schemeClr val="accent1"/>
              </a:solidFill>
            </a:endParaRPr>
          </a:p>
        </p:txBody>
      </p:sp>
      <p:sp>
        <p:nvSpPr>
          <p:cNvPr id="32" name="Inhaltsplatzhalter 2"/>
          <p:cNvSpPr txBox="1">
            <a:spLocks/>
          </p:cNvSpPr>
          <p:nvPr>
            <p:custDataLst>
              <p:tags r:id="rId10"/>
            </p:custDataLst>
          </p:nvPr>
        </p:nvSpPr>
        <p:spPr>
          <a:xfrm>
            <a:off x="7444608" y="5215002"/>
            <a:ext cx="319897" cy="353943"/>
          </a:xfrm>
          <a:prstGeom prst="rect">
            <a:avLst/>
          </a:prstGeom>
        </p:spPr>
        <p:txBody>
          <a:bodyPr vert="horz" wrap="square" lIns="0" tIns="0" rIns="91440" bIns="45720" rtlCol="0">
            <a:spAutoFit/>
          </a:bodyPr>
          <a:lstStyle>
            <a:lvl1pPr marL="0" marR="0" indent="0" algn="l" defTabSz="914400" rtl="0" eaLnBrk="1" fontAlgn="auto" latinLnBrk="0" hangingPunct="1">
              <a:lnSpc>
                <a:spcPct val="100000"/>
              </a:lnSpc>
              <a:spcBef>
                <a:spcPts val="200"/>
              </a:spcBef>
              <a:spcAft>
                <a:spcPts val="0"/>
              </a:spcAft>
              <a:buClr>
                <a:srgbClr val="606060"/>
              </a:buClr>
              <a:buSzTx/>
              <a:buFont typeface="Wingdings" pitchFamily="2" charset="2"/>
              <a:buNone/>
              <a:tabLst/>
              <a:defRPr sz="1600" kern="1200">
                <a:solidFill>
                  <a:schemeClr val="tx2"/>
                </a:solidFill>
                <a:latin typeface="+mn-lt"/>
                <a:ea typeface="+mn-ea"/>
                <a:cs typeface="+mn-cs"/>
              </a:defRPr>
            </a:lvl1pPr>
            <a:lvl2pPr marL="266700" marR="0" indent="-266700" algn="l" defTabSz="914400" rtl="0" eaLnBrk="1" fontAlgn="auto" latinLnBrk="0" hangingPunct="1">
              <a:lnSpc>
                <a:spcPct val="100000"/>
              </a:lnSpc>
              <a:spcBef>
                <a:spcPts val="200"/>
              </a:spcBef>
              <a:spcAft>
                <a:spcPts val="0"/>
              </a:spcAft>
              <a:buClr>
                <a:schemeClr val="accent6"/>
              </a:buClr>
              <a:buSzTx/>
              <a:buFont typeface="Times New Roman" panose="02020603050405020304" pitchFamily="18" charset="0"/>
              <a:buChar char="─"/>
              <a:tabLst/>
              <a:defRPr sz="1600" kern="1200">
                <a:solidFill>
                  <a:schemeClr val="tx2"/>
                </a:solidFill>
                <a:latin typeface="+mn-lt"/>
                <a:ea typeface="+mn-ea"/>
                <a:cs typeface="+mn-cs"/>
              </a:defRPr>
            </a:lvl2pPr>
            <a:lvl3pPr marL="466725" marR="0" indent="-200025" algn="l" defTabSz="914400" rtl="0" eaLnBrk="1" fontAlgn="auto" latinLnBrk="0" hangingPunct="1">
              <a:lnSpc>
                <a:spcPct val="100000"/>
              </a:lnSpc>
              <a:spcBef>
                <a:spcPts val="200"/>
              </a:spcBef>
              <a:spcAft>
                <a:spcPts val="0"/>
              </a:spcAft>
              <a:buClr>
                <a:schemeClr val="accent4"/>
              </a:buClr>
              <a:buSzTx/>
              <a:buFont typeface="Symbol" panose="05050102010706020507" pitchFamily="18" charset="2"/>
              <a:buChar char="-"/>
              <a:tabLst/>
              <a:defRPr sz="1600" kern="1200">
                <a:solidFill>
                  <a:schemeClr val="tx2"/>
                </a:solidFill>
                <a:latin typeface="+mn-lt"/>
                <a:ea typeface="+mn-ea"/>
                <a:cs typeface="+mn-cs"/>
              </a:defRPr>
            </a:lvl3pPr>
            <a:lvl4pPr marL="641350" marR="0" indent="-161925" algn="l" defTabSz="914400" rtl="0" eaLnBrk="1" fontAlgn="auto" latinLnBrk="0" hangingPunct="1">
              <a:lnSpc>
                <a:spcPct val="100000"/>
              </a:lnSpc>
              <a:spcBef>
                <a:spcPts val="200"/>
              </a:spcBef>
              <a:spcAft>
                <a:spcPts val="0"/>
              </a:spcAft>
              <a:buClr>
                <a:srgbClr val="606060"/>
              </a:buClr>
              <a:buSzTx/>
              <a:buFont typeface="Symbol" panose="05050102010706020507" pitchFamily="18" charset="2"/>
              <a:buChar char="-"/>
              <a:tabLst/>
              <a:defRPr sz="1600" kern="1200">
                <a:solidFill>
                  <a:schemeClr val="tx2"/>
                </a:solidFill>
                <a:latin typeface="+mn-lt"/>
                <a:ea typeface="+mn-ea"/>
                <a:cs typeface="+mn-cs"/>
              </a:defRPr>
            </a:lvl4pPr>
            <a:lvl5pPr marL="808038" marR="0" indent="-179388" algn="l" defTabSz="914400" rtl="0" eaLnBrk="1" fontAlgn="auto" latinLnBrk="0" hangingPunct="1">
              <a:lnSpc>
                <a:spcPct val="100000"/>
              </a:lnSpc>
              <a:spcBef>
                <a:spcPts val="200"/>
              </a:spcBef>
              <a:spcAft>
                <a:spcPts val="0"/>
              </a:spcAft>
              <a:buClr>
                <a:schemeClr val="accent1"/>
              </a:buClr>
              <a:buSzTx/>
              <a:buFont typeface="Symbol" pitchFamily="18" charset="2"/>
              <a:buChar char="-"/>
              <a:tabLst/>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2000" b="1" dirty="0" smtClean="0">
                <a:solidFill>
                  <a:schemeClr val="accent1"/>
                </a:solidFill>
              </a:rPr>
              <a:t>R</a:t>
            </a:r>
            <a:endParaRPr lang="de-DE" sz="900" b="1" dirty="0">
              <a:solidFill>
                <a:schemeClr val="accent1"/>
              </a:solidFill>
            </a:endParaRPr>
          </a:p>
        </p:txBody>
      </p:sp>
      <p:pic>
        <p:nvPicPr>
          <p:cNvPr id="33" name="Picture 4" descr="\\psf\Host\Volumes\Kerstin 2014\20141213\_Kerstin_141312\_form und glanz\Kunden\MPG_MPDL\18_Logo ESAC\220px-Open_Access_logo_PLoS_white.png"/>
          <p:cNvPicPr>
            <a:picLocks noChangeAspect="1" noChangeArrowheads="1"/>
          </p:cNvPicPr>
          <p:nvPr/>
        </p:nvPicPr>
        <p:blipFill>
          <a:blip r:embed="rId14" cstate="print">
            <a:clrChange>
              <a:clrFrom>
                <a:srgbClr val="FFFFFF"/>
              </a:clrFrom>
              <a:clrTo>
                <a:srgbClr val="FFFFFF">
                  <a:alpha val="0"/>
                </a:srgbClr>
              </a:clrTo>
            </a:clrChange>
            <a:grayscl/>
            <a:extLst>
              <a:ext uri="{28A0092B-C50C-407E-A947-70E740481C1C}">
                <a14:useLocalDpi xmlns:a14="http://schemas.microsoft.com/office/drawing/2010/main" val="0"/>
              </a:ext>
            </a:extLst>
          </a:blip>
          <a:srcRect/>
          <a:stretch>
            <a:fillRect/>
          </a:stretch>
        </p:blipFill>
        <p:spPr bwMode="auto">
          <a:xfrm>
            <a:off x="1301077" y="4195839"/>
            <a:ext cx="546170" cy="854012"/>
          </a:xfrm>
          <a:prstGeom prst="rect">
            <a:avLst/>
          </a:prstGeom>
          <a:noFill/>
          <a:extLst>
            <a:ext uri="{909E8E84-426E-40DD-AFC4-6F175D3DCCD1}">
              <a14:hiddenFill xmlns:a14="http://schemas.microsoft.com/office/drawing/2010/main">
                <a:solidFill>
                  <a:srgbClr val="FFFFFF"/>
                </a:solidFill>
              </a14:hiddenFill>
            </a:ext>
          </a:extLst>
        </p:spPr>
      </p:pic>
      <p:grpSp>
        <p:nvGrpSpPr>
          <p:cNvPr id="34" name="Gruppieren 95"/>
          <p:cNvGrpSpPr/>
          <p:nvPr/>
        </p:nvGrpSpPr>
        <p:grpSpPr>
          <a:xfrm>
            <a:off x="4646471" y="1592501"/>
            <a:ext cx="529678" cy="828429"/>
            <a:chOff x="4646471" y="1592501"/>
            <a:chExt cx="529678" cy="828429"/>
          </a:xfrm>
        </p:grpSpPr>
        <p:sp>
          <p:nvSpPr>
            <p:cNvPr id="35" name="Ellipse 94"/>
            <p:cNvSpPr/>
            <p:nvPr/>
          </p:nvSpPr>
          <p:spPr>
            <a:xfrm>
              <a:off x="4725671" y="1956185"/>
              <a:ext cx="381836" cy="39649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pic>
          <p:nvPicPr>
            <p:cNvPr id="36" name="Grafik 5"/>
            <p:cNvPicPr>
              <a:picLocks noChangeAspect="1"/>
            </p:cNvPicPr>
            <p:nvPr/>
          </p:nvPicPr>
          <p:blipFill>
            <a:blip r:embed="rId15"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646471" y="1592501"/>
              <a:ext cx="529678" cy="828429"/>
            </a:xfrm>
            <a:prstGeom prst="rect">
              <a:avLst/>
            </a:prstGeom>
          </p:spPr>
        </p:pic>
      </p:grpSp>
      <p:sp>
        <p:nvSpPr>
          <p:cNvPr id="37" name="Inhaltsplatzhalter 12"/>
          <p:cNvSpPr txBox="1">
            <a:spLocks/>
          </p:cNvSpPr>
          <p:nvPr/>
        </p:nvSpPr>
        <p:spPr>
          <a:xfrm>
            <a:off x="5077575" y="2378328"/>
            <a:ext cx="478649" cy="184666"/>
          </a:xfrm>
          <a:prstGeom prst="rect">
            <a:avLst/>
          </a:prstGeom>
        </p:spPr>
        <p:txBody>
          <a:bodyPr vert="horz" lIns="0" tIns="0" rIns="0" bIns="0" rtlCol="0">
            <a:spAutoFit/>
          </a:bodyPr>
          <a:lstStyle>
            <a:lvl1pPr marL="0" marR="0" indent="0" algn="l" defTabSz="914400" rtl="0" eaLnBrk="1" fontAlgn="auto" latinLnBrk="0" hangingPunct="1">
              <a:lnSpc>
                <a:spcPct val="100000"/>
              </a:lnSpc>
              <a:spcBef>
                <a:spcPts val="200"/>
              </a:spcBef>
              <a:spcAft>
                <a:spcPts val="0"/>
              </a:spcAft>
              <a:buClr>
                <a:srgbClr val="606060"/>
              </a:buClr>
              <a:buSzTx/>
              <a:buFont typeface="Wingdings" pitchFamily="2" charset="2"/>
              <a:buNone/>
              <a:tabLst/>
              <a:defRPr sz="1600" kern="1200">
                <a:solidFill>
                  <a:schemeClr val="tx2"/>
                </a:solidFill>
                <a:latin typeface="+mn-lt"/>
                <a:ea typeface="+mn-ea"/>
                <a:cs typeface="+mn-cs"/>
              </a:defRPr>
            </a:lvl1pPr>
            <a:lvl2pPr marL="266700" marR="0" indent="-266700" algn="l" defTabSz="914400" rtl="0" eaLnBrk="1" fontAlgn="auto" latinLnBrk="0" hangingPunct="1">
              <a:lnSpc>
                <a:spcPct val="100000"/>
              </a:lnSpc>
              <a:spcBef>
                <a:spcPts val="200"/>
              </a:spcBef>
              <a:spcAft>
                <a:spcPts val="0"/>
              </a:spcAft>
              <a:buClr>
                <a:schemeClr val="accent6"/>
              </a:buClr>
              <a:buSzTx/>
              <a:buFont typeface="Times New Roman" panose="02020603050405020304" pitchFamily="18" charset="0"/>
              <a:buChar char="─"/>
              <a:tabLst/>
              <a:defRPr sz="1600" kern="1200">
                <a:solidFill>
                  <a:schemeClr val="tx2"/>
                </a:solidFill>
                <a:latin typeface="+mn-lt"/>
                <a:ea typeface="+mn-ea"/>
                <a:cs typeface="+mn-cs"/>
              </a:defRPr>
            </a:lvl2pPr>
            <a:lvl3pPr marL="466725" marR="0" indent="-200025" algn="l" defTabSz="914400" rtl="0" eaLnBrk="1" fontAlgn="auto" latinLnBrk="0" hangingPunct="1">
              <a:lnSpc>
                <a:spcPct val="100000"/>
              </a:lnSpc>
              <a:spcBef>
                <a:spcPts val="200"/>
              </a:spcBef>
              <a:spcAft>
                <a:spcPts val="0"/>
              </a:spcAft>
              <a:buClr>
                <a:schemeClr val="accent4"/>
              </a:buClr>
              <a:buSzTx/>
              <a:buFont typeface="Symbol" panose="05050102010706020507" pitchFamily="18" charset="2"/>
              <a:buChar char="-"/>
              <a:tabLst/>
              <a:defRPr sz="1600" kern="1200">
                <a:solidFill>
                  <a:schemeClr val="tx2"/>
                </a:solidFill>
                <a:latin typeface="+mn-lt"/>
                <a:ea typeface="+mn-ea"/>
                <a:cs typeface="+mn-cs"/>
              </a:defRPr>
            </a:lvl3pPr>
            <a:lvl4pPr marL="641350" marR="0" indent="-161925" algn="l" defTabSz="914400" rtl="0" eaLnBrk="1" fontAlgn="auto" latinLnBrk="0" hangingPunct="1">
              <a:lnSpc>
                <a:spcPct val="100000"/>
              </a:lnSpc>
              <a:spcBef>
                <a:spcPts val="200"/>
              </a:spcBef>
              <a:spcAft>
                <a:spcPts val="0"/>
              </a:spcAft>
              <a:buClr>
                <a:srgbClr val="606060"/>
              </a:buClr>
              <a:buSzTx/>
              <a:buFont typeface="Symbol" panose="05050102010706020507" pitchFamily="18" charset="2"/>
              <a:buChar char="-"/>
              <a:tabLst/>
              <a:defRPr sz="1600" kern="1200">
                <a:solidFill>
                  <a:schemeClr val="tx2"/>
                </a:solidFill>
                <a:latin typeface="+mn-lt"/>
                <a:ea typeface="+mn-ea"/>
                <a:cs typeface="+mn-cs"/>
              </a:defRPr>
            </a:lvl4pPr>
            <a:lvl5pPr marL="808038" marR="0" indent="-179388" algn="l" defTabSz="914400" rtl="0" eaLnBrk="1" fontAlgn="auto" latinLnBrk="0" hangingPunct="1">
              <a:lnSpc>
                <a:spcPct val="100000"/>
              </a:lnSpc>
              <a:spcBef>
                <a:spcPts val="200"/>
              </a:spcBef>
              <a:spcAft>
                <a:spcPts val="0"/>
              </a:spcAft>
              <a:buClr>
                <a:schemeClr val="accent1"/>
              </a:buClr>
              <a:buSzTx/>
              <a:buFont typeface="Symbol" pitchFamily="18" charset="2"/>
              <a:buChar char="-"/>
              <a:tabLst/>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1200" dirty="0" smtClean="0"/>
              <a:t>PLOS</a:t>
            </a:r>
            <a:endParaRPr lang="de-DE" sz="1200" dirty="0"/>
          </a:p>
        </p:txBody>
      </p:sp>
      <p:sp>
        <p:nvSpPr>
          <p:cNvPr id="38" name="Inhaltsplatzhalter 12"/>
          <p:cNvSpPr txBox="1">
            <a:spLocks/>
          </p:cNvSpPr>
          <p:nvPr/>
        </p:nvSpPr>
        <p:spPr>
          <a:xfrm>
            <a:off x="4793401" y="2967595"/>
            <a:ext cx="478649" cy="184666"/>
          </a:xfrm>
          <a:prstGeom prst="rect">
            <a:avLst/>
          </a:prstGeom>
        </p:spPr>
        <p:txBody>
          <a:bodyPr vert="horz" lIns="0" tIns="0" rIns="0" bIns="0" rtlCol="0">
            <a:spAutoFit/>
          </a:bodyPr>
          <a:lstStyle>
            <a:lvl1pPr marL="0" marR="0" indent="0" algn="l" defTabSz="914400" rtl="0" eaLnBrk="1" fontAlgn="auto" latinLnBrk="0" hangingPunct="1">
              <a:lnSpc>
                <a:spcPct val="100000"/>
              </a:lnSpc>
              <a:spcBef>
                <a:spcPts val="200"/>
              </a:spcBef>
              <a:spcAft>
                <a:spcPts val="0"/>
              </a:spcAft>
              <a:buClr>
                <a:srgbClr val="606060"/>
              </a:buClr>
              <a:buSzTx/>
              <a:buFont typeface="Wingdings" pitchFamily="2" charset="2"/>
              <a:buNone/>
              <a:tabLst/>
              <a:defRPr sz="1600" kern="1200">
                <a:solidFill>
                  <a:schemeClr val="tx2"/>
                </a:solidFill>
                <a:latin typeface="+mn-lt"/>
                <a:ea typeface="+mn-ea"/>
                <a:cs typeface="+mn-cs"/>
              </a:defRPr>
            </a:lvl1pPr>
            <a:lvl2pPr marL="266700" marR="0" indent="-266700" algn="l" defTabSz="914400" rtl="0" eaLnBrk="1" fontAlgn="auto" latinLnBrk="0" hangingPunct="1">
              <a:lnSpc>
                <a:spcPct val="100000"/>
              </a:lnSpc>
              <a:spcBef>
                <a:spcPts val="200"/>
              </a:spcBef>
              <a:spcAft>
                <a:spcPts val="0"/>
              </a:spcAft>
              <a:buClr>
                <a:schemeClr val="accent6"/>
              </a:buClr>
              <a:buSzTx/>
              <a:buFont typeface="Times New Roman" panose="02020603050405020304" pitchFamily="18" charset="0"/>
              <a:buChar char="─"/>
              <a:tabLst/>
              <a:defRPr sz="1600" kern="1200">
                <a:solidFill>
                  <a:schemeClr val="tx2"/>
                </a:solidFill>
                <a:latin typeface="+mn-lt"/>
                <a:ea typeface="+mn-ea"/>
                <a:cs typeface="+mn-cs"/>
              </a:defRPr>
            </a:lvl2pPr>
            <a:lvl3pPr marL="466725" marR="0" indent="-200025" algn="l" defTabSz="914400" rtl="0" eaLnBrk="1" fontAlgn="auto" latinLnBrk="0" hangingPunct="1">
              <a:lnSpc>
                <a:spcPct val="100000"/>
              </a:lnSpc>
              <a:spcBef>
                <a:spcPts val="200"/>
              </a:spcBef>
              <a:spcAft>
                <a:spcPts val="0"/>
              </a:spcAft>
              <a:buClr>
                <a:schemeClr val="accent4"/>
              </a:buClr>
              <a:buSzTx/>
              <a:buFont typeface="Symbol" panose="05050102010706020507" pitchFamily="18" charset="2"/>
              <a:buChar char="-"/>
              <a:tabLst/>
              <a:defRPr sz="1600" kern="1200">
                <a:solidFill>
                  <a:schemeClr val="tx2"/>
                </a:solidFill>
                <a:latin typeface="+mn-lt"/>
                <a:ea typeface="+mn-ea"/>
                <a:cs typeface="+mn-cs"/>
              </a:defRPr>
            </a:lvl3pPr>
            <a:lvl4pPr marL="641350" marR="0" indent="-161925" algn="l" defTabSz="914400" rtl="0" eaLnBrk="1" fontAlgn="auto" latinLnBrk="0" hangingPunct="1">
              <a:lnSpc>
                <a:spcPct val="100000"/>
              </a:lnSpc>
              <a:spcBef>
                <a:spcPts val="200"/>
              </a:spcBef>
              <a:spcAft>
                <a:spcPts val="0"/>
              </a:spcAft>
              <a:buClr>
                <a:srgbClr val="606060"/>
              </a:buClr>
              <a:buSzTx/>
              <a:buFont typeface="Symbol" panose="05050102010706020507" pitchFamily="18" charset="2"/>
              <a:buChar char="-"/>
              <a:tabLst/>
              <a:defRPr sz="1600" kern="1200">
                <a:solidFill>
                  <a:schemeClr val="tx2"/>
                </a:solidFill>
                <a:latin typeface="+mn-lt"/>
                <a:ea typeface="+mn-ea"/>
                <a:cs typeface="+mn-cs"/>
              </a:defRPr>
            </a:lvl4pPr>
            <a:lvl5pPr marL="808038" marR="0" indent="-179388" algn="l" defTabSz="914400" rtl="0" eaLnBrk="1" fontAlgn="auto" latinLnBrk="0" hangingPunct="1">
              <a:lnSpc>
                <a:spcPct val="100000"/>
              </a:lnSpc>
              <a:spcBef>
                <a:spcPts val="200"/>
              </a:spcBef>
              <a:spcAft>
                <a:spcPts val="0"/>
              </a:spcAft>
              <a:buClr>
                <a:schemeClr val="accent1"/>
              </a:buClr>
              <a:buSzTx/>
              <a:buFont typeface="Symbol" pitchFamily="18" charset="2"/>
              <a:buChar char="-"/>
              <a:tabLst/>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1200" dirty="0" smtClean="0"/>
              <a:t>CELL</a:t>
            </a:r>
            <a:endParaRPr lang="de-DE" sz="1200" dirty="0"/>
          </a:p>
        </p:txBody>
      </p:sp>
    </p:spTree>
    <p:extLst>
      <p:ext uri="{BB962C8B-B14F-4D97-AF65-F5344CB8AC3E}">
        <p14:creationId xmlns:p14="http://schemas.microsoft.com/office/powerpoint/2010/main" val="172656525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10" presetClass="entr" presetSubtype="0" fill="hold" nodeType="withEffect">
                                  <p:stCondLst>
                                    <p:cond delay="0"/>
                                  </p:stCondLst>
                                  <p:childTnLst>
                                    <p:set>
                                      <p:cBhvr>
                                        <p:cTn id="9" dur="1" fill="hold">
                                          <p:stCondLst>
                                            <p:cond delay="0"/>
                                          </p:stCondLst>
                                        </p:cTn>
                                        <p:tgtEl>
                                          <p:spTgt spid="17"/>
                                        </p:tgtEl>
                                        <p:attrNameLst>
                                          <p:attrName>style.visibility</p:attrName>
                                        </p:attrNameLst>
                                      </p:cBhvr>
                                      <p:to>
                                        <p:strVal val="visible"/>
                                      </p:to>
                                    </p:set>
                                    <p:animEffect transition="in" filter="fade">
                                      <p:cBhvr>
                                        <p:cTn id="10" dur="500"/>
                                        <p:tgtEl>
                                          <p:spTgt spid="17"/>
                                        </p:tgtEl>
                                      </p:cBhvr>
                                    </p:animEffect>
                                  </p:childTnLst>
                                </p:cTn>
                              </p:par>
                              <p:par>
                                <p:cTn id="11" presetID="10" presetClass="entr" presetSubtype="0" fill="hold" nodeType="withEffect">
                                  <p:stCondLst>
                                    <p:cond delay="0"/>
                                  </p:stCondLst>
                                  <p:childTnLst>
                                    <p:set>
                                      <p:cBhvr>
                                        <p:cTn id="12" dur="1" fill="hold">
                                          <p:stCondLst>
                                            <p:cond delay="0"/>
                                          </p:stCondLst>
                                        </p:cTn>
                                        <p:tgtEl>
                                          <p:spTgt spid="20"/>
                                        </p:tgtEl>
                                        <p:attrNameLst>
                                          <p:attrName>style.visibility</p:attrName>
                                        </p:attrNameLst>
                                      </p:cBhvr>
                                      <p:to>
                                        <p:strVal val="visible"/>
                                      </p:to>
                                    </p:set>
                                    <p:animEffect transition="in" filter="fade">
                                      <p:cBhvr>
                                        <p:cTn id="13" dur="500"/>
                                        <p:tgtEl>
                                          <p:spTgt spid="20"/>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0"/>
                                        </p:tgtEl>
                                        <p:attrNameLst>
                                          <p:attrName>style.visibility</p:attrName>
                                        </p:attrNameLst>
                                      </p:cBhvr>
                                      <p:to>
                                        <p:strVal val="visible"/>
                                      </p:to>
                                    </p:set>
                                    <p:animEffect transition="in" filter="fade">
                                      <p:cBhvr>
                                        <p:cTn id="16" dur="500"/>
                                        <p:tgtEl>
                                          <p:spTgt spid="10"/>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8"/>
                                        </p:tgtEl>
                                        <p:attrNameLst>
                                          <p:attrName>style.visibility</p:attrName>
                                        </p:attrNameLst>
                                      </p:cBhvr>
                                      <p:to>
                                        <p:strVal val="visible"/>
                                      </p:to>
                                    </p:set>
                                    <p:animEffect transition="in" filter="fade">
                                      <p:cBhvr>
                                        <p:cTn id="19" dur="500"/>
                                        <p:tgtEl>
                                          <p:spTgt spid="1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21"/>
                                        </p:tgtEl>
                                        <p:attrNameLst>
                                          <p:attrName>style.visibility</p:attrName>
                                        </p:attrNameLst>
                                      </p:cBhvr>
                                      <p:to>
                                        <p:strVal val="visible"/>
                                      </p:to>
                                    </p:set>
                                    <p:animEffect transition="in" filter="fade">
                                      <p:cBhvr>
                                        <p:cTn id="22" dur="500"/>
                                        <p:tgtEl>
                                          <p:spTgt spid="21"/>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38"/>
                                        </p:tgtEl>
                                        <p:attrNameLst>
                                          <p:attrName>style.visibility</p:attrName>
                                        </p:attrNameLst>
                                      </p:cBhvr>
                                      <p:to>
                                        <p:strVal val="visible"/>
                                      </p:to>
                                    </p:set>
                                    <p:animEffect transition="in" filter="fade">
                                      <p:cBhvr>
                                        <p:cTn id="25" dur="500"/>
                                        <p:tgtEl>
                                          <p:spTgt spid="38"/>
                                        </p:tgtEl>
                                      </p:cBhvr>
                                    </p:animEffect>
                                  </p:childTnLst>
                                </p:cTn>
                              </p:par>
                              <p:par>
                                <p:cTn id="26" presetID="10" presetClass="entr" presetSubtype="0" fill="hold" nodeType="withEffect">
                                  <p:stCondLst>
                                    <p:cond delay="0"/>
                                  </p:stCondLst>
                                  <p:childTnLst>
                                    <p:set>
                                      <p:cBhvr>
                                        <p:cTn id="27" dur="1" fill="hold">
                                          <p:stCondLst>
                                            <p:cond delay="0"/>
                                          </p:stCondLst>
                                        </p:cTn>
                                        <p:tgtEl>
                                          <p:spTgt spid="11"/>
                                        </p:tgtEl>
                                        <p:attrNameLst>
                                          <p:attrName>style.visibility</p:attrName>
                                        </p:attrNameLst>
                                      </p:cBhvr>
                                      <p:to>
                                        <p:strVal val="visible"/>
                                      </p:to>
                                    </p:set>
                                    <p:animEffect transition="in" filter="fade">
                                      <p:cBhvr>
                                        <p:cTn id="28" dur="500"/>
                                        <p:tgtEl>
                                          <p:spTgt spid="11"/>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7"/>
                                        </p:tgtEl>
                                        <p:attrNameLst>
                                          <p:attrName>style.visibility</p:attrName>
                                        </p:attrNameLst>
                                      </p:cBhvr>
                                      <p:to>
                                        <p:strVal val="visible"/>
                                      </p:to>
                                    </p:set>
                                    <p:animEffect transition="in" filter="fade">
                                      <p:cBhvr>
                                        <p:cTn id="31" dur="500"/>
                                        <p:tgtEl>
                                          <p:spTgt spid="37"/>
                                        </p:tgtEl>
                                      </p:cBhvr>
                                    </p:animEffect>
                                  </p:childTnLst>
                                </p:cTn>
                              </p:par>
                              <p:par>
                                <p:cTn id="32" presetID="10" presetClass="entr" presetSubtype="0" fill="hold" nodeType="withEffect">
                                  <p:stCondLst>
                                    <p:cond delay="0"/>
                                  </p:stCondLst>
                                  <p:childTnLst>
                                    <p:set>
                                      <p:cBhvr>
                                        <p:cTn id="33" dur="1" fill="hold">
                                          <p:stCondLst>
                                            <p:cond delay="0"/>
                                          </p:stCondLst>
                                        </p:cTn>
                                        <p:tgtEl>
                                          <p:spTgt spid="13"/>
                                        </p:tgtEl>
                                        <p:attrNameLst>
                                          <p:attrName>style.visibility</p:attrName>
                                        </p:attrNameLst>
                                      </p:cBhvr>
                                      <p:to>
                                        <p:strVal val="visible"/>
                                      </p:to>
                                    </p:set>
                                    <p:animEffect transition="in" filter="fade">
                                      <p:cBhvr>
                                        <p:cTn id="34" dur="500"/>
                                        <p:tgtEl>
                                          <p:spTgt spid="13"/>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14"/>
                                        </p:tgtEl>
                                        <p:attrNameLst>
                                          <p:attrName>style.visibility</p:attrName>
                                        </p:attrNameLst>
                                      </p:cBhvr>
                                      <p:to>
                                        <p:strVal val="visible"/>
                                      </p:to>
                                    </p:set>
                                    <p:animEffect transition="in" filter="fade">
                                      <p:cBhvr>
                                        <p:cTn id="37" dur="500"/>
                                        <p:tgtEl>
                                          <p:spTgt spid="14"/>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16"/>
                                        </p:tgtEl>
                                        <p:attrNameLst>
                                          <p:attrName>style.visibility</p:attrName>
                                        </p:attrNameLst>
                                      </p:cBhvr>
                                      <p:to>
                                        <p:strVal val="visible"/>
                                      </p:to>
                                    </p:set>
                                    <p:animEffect transition="in" filter="fade">
                                      <p:cBhvr>
                                        <p:cTn id="40" dur="500"/>
                                        <p:tgtEl>
                                          <p:spTgt spid="16"/>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19"/>
                                        </p:tgtEl>
                                        <p:attrNameLst>
                                          <p:attrName>style.visibility</p:attrName>
                                        </p:attrNameLst>
                                      </p:cBhvr>
                                      <p:to>
                                        <p:strVal val="visible"/>
                                      </p:to>
                                    </p:set>
                                    <p:animEffect transition="in" filter="fade">
                                      <p:cBhvr>
                                        <p:cTn id="43" dur="500"/>
                                        <p:tgtEl>
                                          <p:spTgt spid="19"/>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22"/>
                                        </p:tgtEl>
                                        <p:attrNameLst>
                                          <p:attrName>style.visibility</p:attrName>
                                        </p:attrNameLst>
                                      </p:cBhvr>
                                      <p:to>
                                        <p:strVal val="visible"/>
                                      </p:to>
                                    </p:set>
                                    <p:animEffect transition="in" filter="fade">
                                      <p:cBhvr>
                                        <p:cTn id="46" dur="500"/>
                                        <p:tgtEl>
                                          <p:spTgt spid="22"/>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12"/>
                                        </p:tgtEl>
                                        <p:attrNameLst>
                                          <p:attrName>style.visibility</p:attrName>
                                        </p:attrNameLst>
                                      </p:cBhvr>
                                      <p:to>
                                        <p:strVal val="visible"/>
                                      </p:to>
                                    </p:set>
                                    <p:animEffect transition="in" filter="fade">
                                      <p:cBhvr>
                                        <p:cTn id="49" dur="500"/>
                                        <p:tgtEl>
                                          <p:spTgt spid="12"/>
                                        </p:tgtEl>
                                      </p:cBhvr>
                                    </p:animEffect>
                                  </p:childTnLst>
                                </p:cTn>
                              </p:par>
                            </p:childTnLst>
                          </p:cTn>
                        </p:par>
                      </p:childTnLst>
                    </p:cTn>
                  </p:par>
                  <p:par>
                    <p:cTn id="50" fill="hold">
                      <p:stCondLst>
                        <p:cond delay="indefinite"/>
                      </p:stCondLst>
                      <p:childTnLst>
                        <p:par>
                          <p:cTn id="51" fill="hold">
                            <p:stCondLst>
                              <p:cond delay="0"/>
                            </p:stCondLst>
                            <p:childTnLst>
                              <p:par>
                                <p:cTn id="52" presetID="0" presetClass="path" presetSubtype="0" accel="50000" decel="50000" fill="hold" nodeType="clickEffect">
                                  <p:stCondLst>
                                    <p:cond delay="0"/>
                                  </p:stCondLst>
                                  <p:childTnLst>
                                    <p:animMotion origin="layout" path="M 1.1136E-6 -2.14715E-6 C 0.06121 -0.10597 0.12258 -0.21194 0.17882 -0.27556 C 0.23506 -0.33942 0.28601 -0.36094 0.33712 -0.382 " pathEditMode="relative" rAng="0" ptsTypes="aaA">
                                      <p:cBhvr>
                                        <p:cTn id="53" dur="4000" fill="hold"/>
                                        <p:tgtEl>
                                          <p:spTgt spid="33"/>
                                        </p:tgtEl>
                                        <p:attrNameLst>
                                          <p:attrName>ppt_x</p:attrName>
                                          <p:attrName>ppt_y</p:attrName>
                                        </p:attrNameLst>
                                      </p:cBhvr>
                                      <p:rCtr x="16856" y="-19112"/>
                                    </p:animMotion>
                                  </p:childTnLst>
                                </p:cTn>
                              </p:par>
                              <p:par>
                                <p:cTn id="54" presetID="10" presetClass="exit" presetSubtype="0" fill="hold" nodeType="withEffect">
                                  <p:stCondLst>
                                    <p:cond delay="2900"/>
                                  </p:stCondLst>
                                  <p:childTnLst>
                                    <p:animEffect transition="out" filter="fade">
                                      <p:cBhvr>
                                        <p:cTn id="55" dur="1100"/>
                                        <p:tgtEl>
                                          <p:spTgt spid="33"/>
                                        </p:tgtEl>
                                      </p:cBhvr>
                                    </p:animEffect>
                                    <p:set>
                                      <p:cBhvr>
                                        <p:cTn id="56" dur="1" fill="hold">
                                          <p:stCondLst>
                                            <p:cond delay="1099"/>
                                          </p:stCondLst>
                                        </p:cTn>
                                        <p:tgtEl>
                                          <p:spTgt spid="33"/>
                                        </p:tgtEl>
                                        <p:attrNameLst>
                                          <p:attrName>style.visibility</p:attrName>
                                        </p:attrNameLst>
                                      </p:cBhvr>
                                      <p:to>
                                        <p:strVal val="hidden"/>
                                      </p:to>
                                    </p:set>
                                  </p:childTnLst>
                                </p:cTn>
                              </p:par>
                              <p:par>
                                <p:cTn id="57" presetID="10" presetClass="entr" presetSubtype="0" fill="hold" nodeType="withEffect">
                                  <p:stCondLst>
                                    <p:cond delay="3600"/>
                                  </p:stCondLst>
                                  <p:childTnLst>
                                    <p:set>
                                      <p:cBhvr>
                                        <p:cTn id="58" dur="1" fill="hold">
                                          <p:stCondLst>
                                            <p:cond delay="0"/>
                                          </p:stCondLst>
                                        </p:cTn>
                                        <p:tgtEl>
                                          <p:spTgt spid="34"/>
                                        </p:tgtEl>
                                        <p:attrNameLst>
                                          <p:attrName>style.visibility</p:attrName>
                                        </p:attrNameLst>
                                      </p:cBhvr>
                                      <p:to>
                                        <p:strVal val="visible"/>
                                      </p:to>
                                    </p:set>
                                    <p:animEffect transition="in" filter="fade">
                                      <p:cBhvr>
                                        <p:cTn id="59" dur="800"/>
                                        <p:tgtEl>
                                          <p:spTgt spid="34"/>
                                        </p:tgtEl>
                                      </p:cBhvr>
                                    </p:animEffect>
                                  </p:childTnLst>
                                </p:cTn>
                              </p:par>
                            </p:childTnLst>
                          </p:cTn>
                        </p:par>
                        <p:par>
                          <p:cTn id="60" fill="hold">
                            <p:stCondLst>
                              <p:cond delay="4400"/>
                            </p:stCondLst>
                            <p:childTnLst>
                              <p:par>
                                <p:cTn id="61" presetID="7" presetClass="emph" presetSubtype="2" fill="hold" nodeType="afterEffect">
                                  <p:stCondLst>
                                    <p:cond delay="0"/>
                                  </p:stCondLst>
                                  <p:childTnLst>
                                    <p:animClr clrSpc="rgb" dir="cw">
                                      <p:cBhvr>
                                        <p:cTn id="62" dur="2000" fill="hold"/>
                                        <p:tgtEl>
                                          <p:spTgt spid="17"/>
                                        </p:tgtEl>
                                        <p:attrNameLst>
                                          <p:attrName>stroke.color</p:attrName>
                                        </p:attrNameLst>
                                      </p:cBhvr>
                                      <p:to>
                                        <a:srgbClr val="F29A00"/>
                                      </p:to>
                                    </p:animClr>
                                    <p:set>
                                      <p:cBhvr>
                                        <p:cTn id="63" dur="2000" fill="hold"/>
                                        <p:tgtEl>
                                          <p:spTgt spid="17"/>
                                        </p:tgtEl>
                                        <p:attrNameLst>
                                          <p:attrName>stroke.on</p:attrName>
                                        </p:attrNameLst>
                                      </p:cBhvr>
                                      <p:to>
                                        <p:strVal val="true"/>
                                      </p:to>
                                    </p:set>
                                  </p:childTnLst>
                                </p:cTn>
                              </p:par>
                              <p:par>
                                <p:cTn id="64" presetID="7" presetClass="emph" presetSubtype="2" fill="hold" nodeType="withEffect">
                                  <p:stCondLst>
                                    <p:cond delay="0"/>
                                  </p:stCondLst>
                                  <p:childTnLst>
                                    <p:animClr clrSpc="rgb" dir="cw">
                                      <p:cBhvr>
                                        <p:cTn id="65" dur="2000" fill="hold"/>
                                        <p:tgtEl>
                                          <p:spTgt spid="20"/>
                                        </p:tgtEl>
                                        <p:attrNameLst>
                                          <p:attrName>stroke.color</p:attrName>
                                        </p:attrNameLst>
                                      </p:cBhvr>
                                      <p:to>
                                        <a:srgbClr val="F29A00"/>
                                      </p:to>
                                    </p:animClr>
                                    <p:set>
                                      <p:cBhvr>
                                        <p:cTn id="66" dur="2000" fill="hold"/>
                                        <p:tgtEl>
                                          <p:spTgt spid="20"/>
                                        </p:tgtEl>
                                        <p:attrNameLst>
                                          <p:attrName>stroke.on</p:attrName>
                                        </p:attrNameLst>
                                      </p:cBhvr>
                                      <p:to>
                                        <p:strVal val="true"/>
                                      </p:to>
                                    </p:set>
                                  </p:childTnLst>
                                </p:cTn>
                              </p:par>
                              <p:par>
                                <p:cTn id="67" presetID="7" presetClass="emph" presetSubtype="2" fill="hold" nodeType="withEffect">
                                  <p:stCondLst>
                                    <p:cond delay="0"/>
                                  </p:stCondLst>
                                  <p:childTnLst>
                                    <p:animClr clrSpc="rgb" dir="cw">
                                      <p:cBhvr>
                                        <p:cTn id="68" dur="2000" fill="hold"/>
                                        <p:tgtEl>
                                          <p:spTgt spid="18"/>
                                        </p:tgtEl>
                                        <p:attrNameLst>
                                          <p:attrName>stroke.color</p:attrName>
                                        </p:attrNameLst>
                                      </p:cBhvr>
                                      <p:to>
                                        <a:srgbClr val="F29A00"/>
                                      </p:to>
                                    </p:animClr>
                                    <p:set>
                                      <p:cBhvr>
                                        <p:cTn id="69" dur="2000" fill="hold"/>
                                        <p:tgtEl>
                                          <p:spTgt spid="18"/>
                                        </p:tgtEl>
                                        <p:attrNameLst>
                                          <p:attrName>stroke.on</p:attrName>
                                        </p:attrNameLst>
                                      </p:cBhvr>
                                      <p:to>
                                        <p:strVal val="true"/>
                                      </p:to>
                                    </p:set>
                                  </p:childTnLst>
                                </p:cTn>
                              </p:par>
                              <p:par>
                                <p:cTn id="70" presetID="7" presetClass="emph" presetSubtype="2" fill="hold" nodeType="withEffect">
                                  <p:stCondLst>
                                    <p:cond delay="0"/>
                                  </p:stCondLst>
                                  <p:childTnLst>
                                    <p:animClr clrSpc="rgb" dir="cw">
                                      <p:cBhvr>
                                        <p:cTn id="71" dur="2000" fill="hold"/>
                                        <p:tgtEl>
                                          <p:spTgt spid="21"/>
                                        </p:tgtEl>
                                        <p:attrNameLst>
                                          <p:attrName>stroke.color</p:attrName>
                                        </p:attrNameLst>
                                      </p:cBhvr>
                                      <p:to>
                                        <a:srgbClr val="F29A00"/>
                                      </p:to>
                                    </p:animClr>
                                    <p:set>
                                      <p:cBhvr>
                                        <p:cTn id="72" dur="2000" fill="hold"/>
                                        <p:tgtEl>
                                          <p:spTgt spid="21"/>
                                        </p:tgtEl>
                                        <p:attrNameLst>
                                          <p:attrName>stroke.on</p:attrName>
                                        </p:attrNameLst>
                                      </p:cBhvr>
                                      <p:to>
                                        <p:strVal val="true"/>
                                      </p:to>
                                    </p:set>
                                  </p:childTnLst>
                                </p:cTn>
                              </p:par>
                              <p:par>
                                <p:cTn id="73" presetID="7" presetClass="emph" presetSubtype="2" fill="hold" nodeType="withEffect">
                                  <p:stCondLst>
                                    <p:cond delay="0"/>
                                  </p:stCondLst>
                                  <p:childTnLst>
                                    <p:animClr clrSpc="rgb" dir="cw">
                                      <p:cBhvr>
                                        <p:cTn id="74" dur="2000" fill="hold"/>
                                        <p:tgtEl>
                                          <p:spTgt spid="11"/>
                                        </p:tgtEl>
                                        <p:attrNameLst>
                                          <p:attrName>stroke.color</p:attrName>
                                        </p:attrNameLst>
                                      </p:cBhvr>
                                      <p:to>
                                        <a:srgbClr val="F29A00"/>
                                      </p:to>
                                    </p:animClr>
                                    <p:set>
                                      <p:cBhvr>
                                        <p:cTn id="75" dur="2000" fill="hold"/>
                                        <p:tgtEl>
                                          <p:spTgt spid="11"/>
                                        </p:tgtEl>
                                        <p:attrNameLst>
                                          <p:attrName>stroke.on</p:attrName>
                                        </p:attrNameLst>
                                      </p:cBhvr>
                                      <p:to>
                                        <p:strVal val="true"/>
                                      </p:to>
                                    </p:set>
                                  </p:childTnLst>
                                </p:cTn>
                              </p:par>
                              <p:par>
                                <p:cTn id="76" presetID="7" presetClass="emph" presetSubtype="2" fill="hold" nodeType="withEffect">
                                  <p:stCondLst>
                                    <p:cond delay="0"/>
                                  </p:stCondLst>
                                  <p:childTnLst>
                                    <p:animClr clrSpc="rgb" dir="cw">
                                      <p:cBhvr>
                                        <p:cTn id="77" dur="2000" fill="hold"/>
                                        <p:tgtEl>
                                          <p:spTgt spid="12"/>
                                        </p:tgtEl>
                                        <p:attrNameLst>
                                          <p:attrName>stroke.color</p:attrName>
                                        </p:attrNameLst>
                                      </p:cBhvr>
                                      <p:to>
                                        <a:srgbClr val="F29A00"/>
                                      </p:to>
                                    </p:animClr>
                                    <p:set>
                                      <p:cBhvr>
                                        <p:cTn id="78" dur="2000" fill="hold"/>
                                        <p:tgtEl>
                                          <p:spTgt spid="12"/>
                                        </p:tgtEl>
                                        <p:attrNameLst>
                                          <p:attrName>stroke.on</p:attrName>
                                        </p:attrNameLst>
                                      </p:cBhvr>
                                      <p:to>
                                        <p:strVal val="true"/>
                                      </p:to>
                                    </p:set>
                                  </p:childTnLst>
                                </p:cTn>
                              </p:par>
                            </p:childTnLst>
                          </p:cTn>
                        </p:par>
                      </p:childTnLst>
                    </p:cTn>
                  </p:par>
                  <p:par>
                    <p:cTn id="79" fill="hold">
                      <p:stCondLst>
                        <p:cond delay="indefinite"/>
                      </p:stCondLst>
                      <p:childTnLst>
                        <p:par>
                          <p:cTn id="80" fill="hold">
                            <p:stCondLst>
                              <p:cond delay="0"/>
                            </p:stCondLst>
                            <p:childTnLst>
                              <p:par>
                                <p:cTn id="81" presetID="0" presetClass="path" presetSubtype="0" accel="50000" decel="50000" fill="hold" nodeType="clickEffect">
                                  <p:stCondLst>
                                    <p:cond delay="0"/>
                                  </p:stCondLst>
                                  <p:childTnLst>
                                    <p:animMotion origin="layout" path="M 0.00032 0.00046 C 0.02965 0.02128 0.12162 0.06177 0.17642 0.12517 C 0.23122 0.18857 0.29707 0.32809 0.3288 0.38153 " pathEditMode="relative" rAng="0" ptsTypes="aaa">
                                      <p:cBhvr>
                                        <p:cTn id="82" dur="2000" fill="hold"/>
                                        <p:tgtEl>
                                          <p:spTgt spid="34"/>
                                        </p:tgtEl>
                                        <p:attrNameLst>
                                          <p:attrName>ppt_x</p:attrName>
                                          <p:attrName>ppt_y</p:attrName>
                                        </p:attrNameLst>
                                      </p:cBhvr>
                                      <p:rCtr x="16424" y="19042"/>
                                    </p:animMotion>
                                  </p:childTnLst>
                                </p:cTn>
                              </p:par>
                              <p:par>
                                <p:cTn id="83" presetID="10" presetClass="exit" presetSubtype="0" fill="hold" nodeType="withEffect">
                                  <p:stCondLst>
                                    <p:cond delay="800"/>
                                  </p:stCondLst>
                                  <p:childTnLst>
                                    <p:animEffect transition="out" filter="fade">
                                      <p:cBhvr>
                                        <p:cTn id="84" dur="1100"/>
                                        <p:tgtEl>
                                          <p:spTgt spid="7"/>
                                        </p:tgtEl>
                                      </p:cBhvr>
                                    </p:animEffect>
                                    <p:set>
                                      <p:cBhvr>
                                        <p:cTn id="85" dur="1" fill="hold">
                                          <p:stCondLst>
                                            <p:cond delay="1099"/>
                                          </p:stCondLst>
                                        </p:cTn>
                                        <p:tgtEl>
                                          <p:spTgt spid="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2" grpId="0" animBg="1"/>
      <p:bldP spid="14" grpId="0" animBg="1"/>
      <p:bldP spid="16" grpId="0"/>
      <p:bldP spid="18" grpId="0" animBg="1"/>
      <p:bldP spid="19" grpId="0"/>
      <p:bldP spid="21" grpId="0" animBg="1"/>
      <p:bldP spid="22" grpId="0"/>
      <p:bldP spid="37" grpId="0"/>
      <p:bldP spid="38"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Gruppieren 15"/>
          <p:cNvGrpSpPr/>
          <p:nvPr/>
        </p:nvGrpSpPr>
        <p:grpSpPr>
          <a:xfrm>
            <a:off x="-1324303" y="1530465"/>
            <a:ext cx="6638384" cy="6049595"/>
            <a:chOff x="479271" y="2409612"/>
            <a:chExt cx="3512581" cy="3528903"/>
          </a:xfrm>
        </p:grpSpPr>
        <p:sp>
          <p:nvSpPr>
            <p:cNvPr id="15" name="Freihandform 14"/>
            <p:cNvSpPr/>
            <p:nvPr/>
          </p:nvSpPr>
          <p:spPr>
            <a:xfrm>
              <a:off x="1822495" y="2409612"/>
              <a:ext cx="2080448" cy="1107046"/>
            </a:xfrm>
            <a:custGeom>
              <a:avLst/>
              <a:gdLst>
                <a:gd name="connsiteX0" fmla="*/ 0 w 2157626"/>
                <a:gd name="connsiteY0" fmla="*/ 56756 h 1116198"/>
                <a:gd name="connsiteX1" fmla="*/ 0 w 2157626"/>
                <a:gd name="connsiteY1" fmla="*/ 56756 h 1116198"/>
                <a:gd name="connsiteX2" fmla="*/ 94593 w 2157626"/>
                <a:gd name="connsiteY2" fmla="*/ 31531 h 1116198"/>
                <a:gd name="connsiteX3" fmla="*/ 182880 w 2157626"/>
                <a:gd name="connsiteY3" fmla="*/ 25225 h 1116198"/>
                <a:gd name="connsiteX4" fmla="*/ 466660 w 2157626"/>
                <a:gd name="connsiteY4" fmla="*/ 18918 h 1116198"/>
                <a:gd name="connsiteX5" fmla="*/ 599090 w 2157626"/>
                <a:gd name="connsiteY5" fmla="*/ 12612 h 1116198"/>
                <a:gd name="connsiteX6" fmla="*/ 630621 w 2157626"/>
                <a:gd name="connsiteY6" fmla="*/ 6306 h 1116198"/>
                <a:gd name="connsiteX7" fmla="*/ 882869 w 2157626"/>
                <a:gd name="connsiteY7" fmla="*/ 0 h 1116198"/>
                <a:gd name="connsiteX8" fmla="*/ 1627002 w 2157626"/>
                <a:gd name="connsiteY8" fmla="*/ 12612 h 1116198"/>
                <a:gd name="connsiteX9" fmla="*/ 1702676 w 2157626"/>
                <a:gd name="connsiteY9" fmla="*/ 25225 h 1116198"/>
                <a:gd name="connsiteX10" fmla="*/ 1854025 w 2157626"/>
                <a:gd name="connsiteY10" fmla="*/ 31531 h 1116198"/>
                <a:gd name="connsiteX11" fmla="*/ 1942312 w 2157626"/>
                <a:gd name="connsiteY11" fmla="*/ 50449 h 1116198"/>
                <a:gd name="connsiteX12" fmla="*/ 2017987 w 2157626"/>
                <a:gd name="connsiteY12" fmla="*/ 63062 h 1116198"/>
                <a:gd name="connsiteX13" fmla="*/ 2118886 w 2157626"/>
                <a:gd name="connsiteY13" fmla="*/ 69368 h 1116198"/>
                <a:gd name="connsiteX14" fmla="*/ 2150417 w 2157626"/>
                <a:gd name="connsiteY14" fmla="*/ 94593 h 1116198"/>
                <a:gd name="connsiteX15" fmla="*/ 2156723 w 2157626"/>
                <a:gd name="connsiteY15" fmla="*/ 113511 h 1116198"/>
                <a:gd name="connsiteX16" fmla="*/ 2131498 w 2157626"/>
                <a:gd name="connsiteY16" fmla="*/ 132430 h 1116198"/>
                <a:gd name="connsiteX17" fmla="*/ 2062130 w 2157626"/>
                <a:gd name="connsiteY17" fmla="*/ 201798 h 1116198"/>
                <a:gd name="connsiteX18" fmla="*/ 1917087 w 2157626"/>
                <a:gd name="connsiteY18" fmla="*/ 447740 h 1116198"/>
                <a:gd name="connsiteX19" fmla="*/ 1885556 w 2157626"/>
                <a:gd name="connsiteY19" fmla="*/ 523415 h 1116198"/>
                <a:gd name="connsiteX20" fmla="*/ 1784657 w 2157626"/>
                <a:gd name="connsiteY20" fmla="*/ 807194 h 1116198"/>
                <a:gd name="connsiteX21" fmla="*/ 1778351 w 2157626"/>
                <a:gd name="connsiteY21" fmla="*/ 838725 h 1116198"/>
                <a:gd name="connsiteX22" fmla="*/ 1620696 w 2157626"/>
                <a:gd name="connsiteY22" fmla="*/ 1090974 h 1116198"/>
                <a:gd name="connsiteX23" fmla="*/ 1576552 w 2157626"/>
                <a:gd name="connsiteY23" fmla="*/ 1116198 h 1116198"/>
                <a:gd name="connsiteX24" fmla="*/ 1469347 w 2157626"/>
                <a:gd name="connsiteY24" fmla="*/ 1002687 h 1116198"/>
                <a:gd name="connsiteX25" fmla="*/ 794582 w 2157626"/>
                <a:gd name="connsiteY25" fmla="*/ 441434 h 1116198"/>
                <a:gd name="connsiteX26" fmla="*/ 252249 w 2157626"/>
                <a:gd name="connsiteY26" fmla="*/ 126124 h 1116198"/>
                <a:gd name="connsiteX27" fmla="*/ 214411 w 2157626"/>
                <a:gd name="connsiteY27" fmla="*/ 107205 h 1116198"/>
                <a:gd name="connsiteX28" fmla="*/ 163962 w 2157626"/>
                <a:gd name="connsiteY28" fmla="*/ 69368 h 1116198"/>
                <a:gd name="connsiteX29" fmla="*/ 75675 w 2157626"/>
                <a:gd name="connsiteY29" fmla="*/ 37837 h 1116198"/>
                <a:gd name="connsiteX30" fmla="*/ 56756 w 2157626"/>
                <a:gd name="connsiteY30" fmla="*/ 50449 h 1116198"/>
                <a:gd name="connsiteX31" fmla="*/ 63062 w 2157626"/>
                <a:gd name="connsiteY31" fmla="*/ 50449 h 1116198"/>
                <a:gd name="connsiteX0" fmla="*/ 0 w 2157626"/>
                <a:gd name="connsiteY0" fmla="*/ 56756 h 1116198"/>
                <a:gd name="connsiteX1" fmla="*/ 0 w 2157626"/>
                <a:gd name="connsiteY1" fmla="*/ 56756 h 1116198"/>
                <a:gd name="connsiteX2" fmla="*/ 94593 w 2157626"/>
                <a:gd name="connsiteY2" fmla="*/ 31531 h 1116198"/>
                <a:gd name="connsiteX3" fmla="*/ 182880 w 2157626"/>
                <a:gd name="connsiteY3" fmla="*/ 25225 h 1116198"/>
                <a:gd name="connsiteX4" fmla="*/ 466660 w 2157626"/>
                <a:gd name="connsiteY4" fmla="*/ 18918 h 1116198"/>
                <a:gd name="connsiteX5" fmla="*/ 599090 w 2157626"/>
                <a:gd name="connsiteY5" fmla="*/ 12612 h 1116198"/>
                <a:gd name="connsiteX6" fmla="*/ 630621 w 2157626"/>
                <a:gd name="connsiteY6" fmla="*/ 6306 h 1116198"/>
                <a:gd name="connsiteX7" fmla="*/ 882869 w 2157626"/>
                <a:gd name="connsiteY7" fmla="*/ 0 h 1116198"/>
                <a:gd name="connsiteX8" fmla="*/ 1702676 w 2157626"/>
                <a:gd name="connsiteY8" fmla="*/ 25225 h 1116198"/>
                <a:gd name="connsiteX9" fmla="*/ 1854025 w 2157626"/>
                <a:gd name="connsiteY9" fmla="*/ 31531 h 1116198"/>
                <a:gd name="connsiteX10" fmla="*/ 1942312 w 2157626"/>
                <a:gd name="connsiteY10" fmla="*/ 50449 h 1116198"/>
                <a:gd name="connsiteX11" fmla="*/ 2017987 w 2157626"/>
                <a:gd name="connsiteY11" fmla="*/ 63062 h 1116198"/>
                <a:gd name="connsiteX12" fmla="*/ 2118886 w 2157626"/>
                <a:gd name="connsiteY12" fmla="*/ 69368 h 1116198"/>
                <a:gd name="connsiteX13" fmla="*/ 2150417 w 2157626"/>
                <a:gd name="connsiteY13" fmla="*/ 94593 h 1116198"/>
                <a:gd name="connsiteX14" fmla="*/ 2156723 w 2157626"/>
                <a:gd name="connsiteY14" fmla="*/ 113511 h 1116198"/>
                <a:gd name="connsiteX15" fmla="*/ 2131498 w 2157626"/>
                <a:gd name="connsiteY15" fmla="*/ 132430 h 1116198"/>
                <a:gd name="connsiteX16" fmla="*/ 2062130 w 2157626"/>
                <a:gd name="connsiteY16" fmla="*/ 201798 h 1116198"/>
                <a:gd name="connsiteX17" fmla="*/ 1917087 w 2157626"/>
                <a:gd name="connsiteY17" fmla="*/ 447740 h 1116198"/>
                <a:gd name="connsiteX18" fmla="*/ 1885556 w 2157626"/>
                <a:gd name="connsiteY18" fmla="*/ 523415 h 1116198"/>
                <a:gd name="connsiteX19" fmla="*/ 1784657 w 2157626"/>
                <a:gd name="connsiteY19" fmla="*/ 807194 h 1116198"/>
                <a:gd name="connsiteX20" fmla="*/ 1778351 w 2157626"/>
                <a:gd name="connsiteY20" fmla="*/ 838725 h 1116198"/>
                <a:gd name="connsiteX21" fmla="*/ 1620696 w 2157626"/>
                <a:gd name="connsiteY21" fmla="*/ 1090974 h 1116198"/>
                <a:gd name="connsiteX22" fmla="*/ 1576552 w 2157626"/>
                <a:gd name="connsiteY22" fmla="*/ 1116198 h 1116198"/>
                <a:gd name="connsiteX23" fmla="*/ 1469347 w 2157626"/>
                <a:gd name="connsiteY23" fmla="*/ 1002687 h 1116198"/>
                <a:gd name="connsiteX24" fmla="*/ 794582 w 2157626"/>
                <a:gd name="connsiteY24" fmla="*/ 441434 h 1116198"/>
                <a:gd name="connsiteX25" fmla="*/ 252249 w 2157626"/>
                <a:gd name="connsiteY25" fmla="*/ 126124 h 1116198"/>
                <a:gd name="connsiteX26" fmla="*/ 214411 w 2157626"/>
                <a:gd name="connsiteY26" fmla="*/ 107205 h 1116198"/>
                <a:gd name="connsiteX27" fmla="*/ 163962 w 2157626"/>
                <a:gd name="connsiteY27" fmla="*/ 69368 h 1116198"/>
                <a:gd name="connsiteX28" fmla="*/ 75675 w 2157626"/>
                <a:gd name="connsiteY28" fmla="*/ 37837 h 1116198"/>
                <a:gd name="connsiteX29" fmla="*/ 56756 w 2157626"/>
                <a:gd name="connsiteY29" fmla="*/ 50449 h 1116198"/>
                <a:gd name="connsiteX30" fmla="*/ 63062 w 2157626"/>
                <a:gd name="connsiteY30" fmla="*/ 50449 h 1116198"/>
                <a:gd name="connsiteX0" fmla="*/ 0 w 2157626"/>
                <a:gd name="connsiteY0" fmla="*/ 56756 h 1116198"/>
                <a:gd name="connsiteX1" fmla="*/ 0 w 2157626"/>
                <a:gd name="connsiteY1" fmla="*/ 56756 h 1116198"/>
                <a:gd name="connsiteX2" fmla="*/ 94593 w 2157626"/>
                <a:gd name="connsiteY2" fmla="*/ 31531 h 1116198"/>
                <a:gd name="connsiteX3" fmla="*/ 182880 w 2157626"/>
                <a:gd name="connsiteY3" fmla="*/ 25225 h 1116198"/>
                <a:gd name="connsiteX4" fmla="*/ 466660 w 2157626"/>
                <a:gd name="connsiteY4" fmla="*/ 18918 h 1116198"/>
                <a:gd name="connsiteX5" fmla="*/ 599090 w 2157626"/>
                <a:gd name="connsiteY5" fmla="*/ 12612 h 1116198"/>
                <a:gd name="connsiteX6" fmla="*/ 630621 w 2157626"/>
                <a:gd name="connsiteY6" fmla="*/ 6306 h 1116198"/>
                <a:gd name="connsiteX7" fmla="*/ 882869 w 2157626"/>
                <a:gd name="connsiteY7" fmla="*/ 0 h 1116198"/>
                <a:gd name="connsiteX8" fmla="*/ 1854025 w 2157626"/>
                <a:gd name="connsiteY8" fmla="*/ 31531 h 1116198"/>
                <a:gd name="connsiteX9" fmla="*/ 1942312 w 2157626"/>
                <a:gd name="connsiteY9" fmla="*/ 50449 h 1116198"/>
                <a:gd name="connsiteX10" fmla="*/ 2017987 w 2157626"/>
                <a:gd name="connsiteY10" fmla="*/ 63062 h 1116198"/>
                <a:gd name="connsiteX11" fmla="*/ 2118886 w 2157626"/>
                <a:gd name="connsiteY11" fmla="*/ 69368 h 1116198"/>
                <a:gd name="connsiteX12" fmla="*/ 2150417 w 2157626"/>
                <a:gd name="connsiteY12" fmla="*/ 94593 h 1116198"/>
                <a:gd name="connsiteX13" fmla="*/ 2156723 w 2157626"/>
                <a:gd name="connsiteY13" fmla="*/ 113511 h 1116198"/>
                <a:gd name="connsiteX14" fmla="*/ 2131498 w 2157626"/>
                <a:gd name="connsiteY14" fmla="*/ 132430 h 1116198"/>
                <a:gd name="connsiteX15" fmla="*/ 2062130 w 2157626"/>
                <a:gd name="connsiteY15" fmla="*/ 201798 h 1116198"/>
                <a:gd name="connsiteX16" fmla="*/ 1917087 w 2157626"/>
                <a:gd name="connsiteY16" fmla="*/ 447740 h 1116198"/>
                <a:gd name="connsiteX17" fmla="*/ 1885556 w 2157626"/>
                <a:gd name="connsiteY17" fmla="*/ 523415 h 1116198"/>
                <a:gd name="connsiteX18" fmla="*/ 1784657 w 2157626"/>
                <a:gd name="connsiteY18" fmla="*/ 807194 h 1116198"/>
                <a:gd name="connsiteX19" fmla="*/ 1778351 w 2157626"/>
                <a:gd name="connsiteY19" fmla="*/ 838725 h 1116198"/>
                <a:gd name="connsiteX20" fmla="*/ 1620696 w 2157626"/>
                <a:gd name="connsiteY20" fmla="*/ 1090974 h 1116198"/>
                <a:gd name="connsiteX21" fmla="*/ 1576552 w 2157626"/>
                <a:gd name="connsiteY21" fmla="*/ 1116198 h 1116198"/>
                <a:gd name="connsiteX22" fmla="*/ 1469347 w 2157626"/>
                <a:gd name="connsiteY22" fmla="*/ 1002687 h 1116198"/>
                <a:gd name="connsiteX23" fmla="*/ 794582 w 2157626"/>
                <a:gd name="connsiteY23" fmla="*/ 441434 h 1116198"/>
                <a:gd name="connsiteX24" fmla="*/ 252249 w 2157626"/>
                <a:gd name="connsiteY24" fmla="*/ 126124 h 1116198"/>
                <a:gd name="connsiteX25" fmla="*/ 214411 w 2157626"/>
                <a:gd name="connsiteY25" fmla="*/ 107205 h 1116198"/>
                <a:gd name="connsiteX26" fmla="*/ 163962 w 2157626"/>
                <a:gd name="connsiteY26" fmla="*/ 69368 h 1116198"/>
                <a:gd name="connsiteX27" fmla="*/ 75675 w 2157626"/>
                <a:gd name="connsiteY27" fmla="*/ 37837 h 1116198"/>
                <a:gd name="connsiteX28" fmla="*/ 56756 w 2157626"/>
                <a:gd name="connsiteY28" fmla="*/ 50449 h 1116198"/>
                <a:gd name="connsiteX29" fmla="*/ 63062 w 2157626"/>
                <a:gd name="connsiteY29" fmla="*/ 50449 h 1116198"/>
                <a:gd name="connsiteX0" fmla="*/ 0 w 2157626"/>
                <a:gd name="connsiteY0" fmla="*/ 56756 h 1116198"/>
                <a:gd name="connsiteX1" fmla="*/ 0 w 2157626"/>
                <a:gd name="connsiteY1" fmla="*/ 56756 h 1116198"/>
                <a:gd name="connsiteX2" fmla="*/ 94593 w 2157626"/>
                <a:gd name="connsiteY2" fmla="*/ 31531 h 1116198"/>
                <a:gd name="connsiteX3" fmla="*/ 182880 w 2157626"/>
                <a:gd name="connsiteY3" fmla="*/ 25225 h 1116198"/>
                <a:gd name="connsiteX4" fmla="*/ 466660 w 2157626"/>
                <a:gd name="connsiteY4" fmla="*/ 18918 h 1116198"/>
                <a:gd name="connsiteX5" fmla="*/ 599090 w 2157626"/>
                <a:gd name="connsiteY5" fmla="*/ 12612 h 1116198"/>
                <a:gd name="connsiteX6" fmla="*/ 630621 w 2157626"/>
                <a:gd name="connsiteY6" fmla="*/ 6306 h 1116198"/>
                <a:gd name="connsiteX7" fmla="*/ 882869 w 2157626"/>
                <a:gd name="connsiteY7" fmla="*/ 0 h 1116198"/>
                <a:gd name="connsiteX8" fmla="*/ 1942312 w 2157626"/>
                <a:gd name="connsiteY8" fmla="*/ 50449 h 1116198"/>
                <a:gd name="connsiteX9" fmla="*/ 2017987 w 2157626"/>
                <a:gd name="connsiteY9" fmla="*/ 63062 h 1116198"/>
                <a:gd name="connsiteX10" fmla="*/ 2118886 w 2157626"/>
                <a:gd name="connsiteY10" fmla="*/ 69368 h 1116198"/>
                <a:gd name="connsiteX11" fmla="*/ 2150417 w 2157626"/>
                <a:gd name="connsiteY11" fmla="*/ 94593 h 1116198"/>
                <a:gd name="connsiteX12" fmla="*/ 2156723 w 2157626"/>
                <a:gd name="connsiteY12" fmla="*/ 113511 h 1116198"/>
                <a:gd name="connsiteX13" fmla="*/ 2131498 w 2157626"/>
                <a:gd name="connsiteY13" fmla="*/ 132430 h 1116198"/>
                <a:gd name="connsiteX14" fmla="*/ 2062130 w 2157626"/>
                <a:gd name="connsiteY14" fmla="*/ 201798 h 1116198"/>
                <a:gd name="connsiteX15" fmla="*/ 1917087 w 2157626"/>
                <a:gd name="connsiteY15" fmla="*/ 447740 h 1116198"/>
                <a:gd name="connsiteX16" fmla="*/ 1885556 w 2157626"/>
                <a:gd name="connsiteY16" fmla="*/ 523415 h 1116198"/>
                <a:gd name="connsiteX17" fmla="*/ 1784657 w 2157626"/>
                <a:gd name="connsiteY17" fmla="*/ 807194 h 1116198"/>
                <a:gd name="connsiteX18" fmla="*/ 1778351 w 2157626"/>
                <a:gd name="connsiteY18" fmla="*/ 838725 h 1116198"/>
                <a:gd name="connsiteX19" fmla="*/ 1620696 w 2157626"/>
                <a:gd name="connsiteY19" fmla="*/ 1090974 h 1116198"/>
                <a:gd name="connsiteX20" fmla="*/ 1576552 w 2157626"/>
                <a:gd name="connsiteY20" fmla="*/ 1116198 h 1116198"/>
                <a:gd name="connsiteX21" fmla="*/ 1469347 w 2157626"/>
                <a:gd name="connsiteY21" fmla="*/ 1002687 h 1116198"/>
                <a:gd name="connsiteX22" fmla="*/ 794582 w 2157626"/>
                <a:gd name="connsiteY22" fmla="*/ 441434 h 1116198"/>
                <a:gd name="connsiteX23" fmla="*/ 252249 w 2157626"/>
                <a:gd name="connsiteY23" fmla="*/ 126124 h 1116198"/>
                <a:gd name="connsiteX24" fmla="*/ 214411 w 2157626"/>
                <a:gd name="connsiteY24" fmla="*/ 107205 h 1116198"/>
                <a:gd name="connsiteX25" fmla="*/ 163962 w 2157626"/>
                <a:gd name="connsiteY25" fmla="*/ 69368 h 1116198"/>
                <a:gd name="connsiteX26" fmla="*/ 75675 w 2157626"/>
                <a:gd name="connsiteY26" fmla="*/ 37837 h 1116198"/>
                <a:gd name="connsiteX27" fmla="*/ 56756 w 2157626"/>
                <a:gd name="connsiteY27" fmla="*/ 50449 h 1116198"/>
                <a:gd name="connsiteX28" fmla="*/ 63062 w 2157626"/>
                <a:gd name="connsiteY28" fmla="*/ 50449 h 1116198"/>
                <a:gd name="connsiteX0" fmla="*/ 0 w 2157626"/>
                <a:gd name="connsiteY0" fmla="*/ 56756 h 1116198"/>
                <a:gd name="connsiteX1" fmla="*/ 0 w 2157626"/>
                <a:gd name="connsiteY1" fmla="*/ 56756 h 1116198"/>
                <a:gd name="connsiteX2" fmla="*/ 94593 w 2157626"/>
                <a:gd name="connsiteY2" fmla="*/ 31531 h 1116198"/>
                <a:gd name="connsiteX3" fmla="*/ 182880 w 2157626"/>
                <a:gd name="connsiteY3" fmla="*/ 25225 h 1116198"/>
                <a:gd name="connsiteX4" fmla="*/ 466660 w 2157626"/>
                <a:gd name="connsiteY4" fmla="*/ 18918 h 1116198"/>
                <a:gd name="connsiteX5" fmla="*/ 599090 w 2157626"/>
                <a:gd name="connsiteY5" fmla="*/ 12612 h 1116198"/>
                <a:gd name="connsiteX6" fmla="*/ 630621 w 2157626"/>
                <a:gd name="connsiteY6" fmla="*/ 6306 h 1116198"/>
                <a:gd name="connsiteX7" fmla="*/ 882869 w 2157626"/>
                <a:gd name="connsiteY7" fmla="*/ 0 h 1116198"/>
                <a:gd name="connsiteX8" fmla="*/ 2017987 w 2157626"/>
                <a:gd name="connsiteY8" fmla="*/ 63062 h 1116198"/>
                <a:gd name="connsiteX9" fmla="*/ 2118886 w 2157626"/>
                <a:gd name="connsiteY9" fmla="*/ 69368 h 1116198"/>
                <a:gd name="connsiteX10" fmla="*/ 2150417 w 2157626"/>
                <a:gd name="connsiteY10" fmla="*/ 94593 h 1116198"/>
                <a:gd name="connsiteX11" fmla="*/ 2156723 w 2157626"/>
                <a:gd name="connsiteY11" fmla="*/ 113511 h 1116198"/>
                <a:gd name="connsiteX12" fmla="*/ 2131498 w 2157626"/>
                <a:gd name="connsiteY12" fmla="*/ 132430 h 1116198"/>
                <a:gd name="connsiteX13" fmla="*/ 2062130 w 2157626"/>
                <a:gd name="connsiteY13" fmla="*/ 201798 h 1116198"/>
                <a:gd name="connsiteX14" fmla="*/ 1917087 w 2157626"/>
                <a:gd name="connsiteY14" fmla="*/ 447740 h 1116198"/>
                <a:gd name="connsiteX15" fmla="*/ 1885556 w 2157626"/>
                <a:gd name="connsiteY15" fmla="*/ 523415 h 1116198"/>
                <a:gd name="connsiteX16" fmla="*/ 1784657 w 2157626"/>
                <a:gd name="connsiteY16" fmla="*/ 807194 h 1116198"/>
                <a:gd name="connsiteX17" fmla="*/ 1778351 w 2157626"/>
                <a:gd name="connsiteY17" fmla="*/ 838725 h 1116198"/>
                <a:gd name="connsiteX18" fmla="*/ 1620696 w 2157626"/>
                <a:gd name="connsiteY18" fmla="*/ 1090974 h 1116198"/>
                <a:gd name="connsiteX19" fmla="*/ 1576552 w 2157626"/>
                <a:gd name="connsiteY19" fmla="*/ 1116198 h 1116198"/>
                <a:gd name="connsiteX20" fmla="*/ 1469347 w 2157626"/>
                <a:gd name="connsiteY20" fmla="*/ 1002687 h 1116198"/>
                <a:gd name="connsiteX21" fmla="*/ 794582 w 2157626"/>
                <a:gd name="connsiteY21" fmla="*/ 441434 h 1116198"/>
                <a:gd name="connsiteX22" fmla="*/ 252249 w 2157626"/>
                <a:gd name="connsiteY22" fmla="*/ 126124 h 1116198"/>
                <a:gd name="connsiteX23" fmla="*/ 214411 w 2157626"/>
                <a:gd name="connsiteY23" fmla="*/ 107205 h 1116198"/>
                <a:gd name="connsiteX24" fmla="*/ 163962 w 2157626"/>
                <a:gd name="connsiteY24" fmla="*/ 69368 h 1116198"/>
                <a:gd name="connsiteX25" fmla="*/ 75675 w 2157626"/>
                <a:gd name="connsiteY25" fmla="*/ 37837 h 1116198"/>
                <a:gd name="connsiteX26" fmla="*/ 56756 w 2157626"/>
                <a:gd name="connsiteY26" fmla="*/ 50449 h 1116198"/>
                <a:gd name="connsiteX27" fmla="*/ 63062 w 2157626"/>
                <a:gd name="connsiteY27" fmla="*/ 50449 h 1116198"/>
                <a:gd name="connsiteX0" fmla="*/ 0 w 2157626"/>
                <a:gd name="connsiteY0" fmla="*/ 56756 h 1116198"/>
                <a:gd name="connsiteX1" fmla="*/ 0 w 2157626"/>
                <a:gd name="connsiteY1" fmla="*/ 56756 h 1116198"/>
                <a:gd name="connsiteX2" fmla="*/ 94593 w 2157626"/>
                <a:gd name="connsiteY2" fmla="*/ 31531 h 1116198"/>
                <a:gd name="connsiteX3" fmla="*/ 182880 w 2157626"/>
                <a:gd name="connsiteY3" fmla="*/ 25225 h 1116198"/>
                <a:gd name="connsiteX4" fmla="*/ 466660 w 2157626"/>
                <a:gd name="connsiteY4" fmla="*/ 18918 h 1116198"/>
                <a:gd name="connsiteX5" fmla="*/ 599090 w 2157626"/>
                <a:gd name="connsiteY5" fmla="*/ 12612 h 1116198"/>
                <a:gd name="connsiteX6" fmla="*/ 630621 w 2157626"/>
                <a:gd name="connsiteY6" fmla="*/ 6306 h 1116198"/>
                <a:gd name="connsiteX7" fmla="*/ 882869 w 2157626"/>
                <a:gd name="connsiteY7" fmla="*/ 0 h 1116198"/>
                <a:gd name="connsiteX8" fmla="*/ 2118886 w 2157626"/>
                <a:gd name="connsiteY8" fmla="*/ 69368 h 1116198"/>
                <a:gd name="connsiteX9" fmla="*/ 2150417 w 2157626"/>
                <a:gd name="connsiteY9" fmla="*/ 94593 h 1116198"/>
                <a:gd name="connsiteX10" fmla="*/ 2156723 w 2157626"/>
                <a:gd name="connsiteY10" fmla="*/ 113511 h 1116198"/>
                <a:gd name="connsiteX11" fmla="*/ 2131498 w 2157626"/>
                <a:gd name="connsiteY11" fmla="*/ 132430 h 1116198"/>
                <a:gd name="connsiteX12" fmla="*/ 2062130 w 2157626"/>
                <a:gd name="connsiteY12" fmla="*/ 201798 h 1116198"/>
                <a:gd name="connsiteX13" fmla="*/ 1917087 w 2157626"/>
                <a:gd name="connsiteY13" fmla="*/ 447740 h 1116198"/>
                <a:gd name="connsiteX14" fmla="*/ 1885556 w 2157626"/>
                <a:gd name="connsiteY14" fmla="*/ 523415 h 1116198"/>
                <a:gd name="connsiteX15" fmla="*/ 1784657 w 2157626"/>
                <a:gd name="connsiteY15" fmla="*/ 807194 h 1116198"/>
                <a:gd name="connsiteX16" fmla="*/ 1778351 w 2157626"/>
                <a:gd name="connsiteY16" fmla="*/ 838725 h 1116198"/>
                <a:gd name="connsiteX17" fmla="*/ 1620696 w 2157626"/>
                <a:gd name="connsiteY17" fmla="*/ 1090974 h 1116198"/>
                <a:gd name="connsiteX18" fmla="*/ 1576552 w 2157626"/>
                <a:gd name="connsiteY18" fmla="*/ 1116198 h 1116198"/>
                <a:gd name="connsiteX19" fmla="*/ 1469347 w 2157626"/>
                <a:gd name="connsiteY19" fmla="*/ 1002687 h 1116198"/>
                <a:gd name="connsiteX20" fmla="*/ 794582 w 2157626"/>
                <a:gd name="connsiteY20" fmla="*/ 441434 h 1116198"/>
                <a:gd name="connsiteX21" fmla="*/ 252249 w 2157626"/>
                <a:gd name="connsiteY21" fmla="*/ 126124 h 1116198"/>
                <a:gd name="connsiteX22" fmla="*/ 214411 w 2157626"/>
                <a:gd name="connsiteY22" fmla="*/ 107205 h 1116198"/>
                <a:gd name="connsiteX23" fmla="*/ 163962 w 2157626"/>
                <a:gd name="connsiteY23" fmla="*/ 69368 h 1116198"/>
                <a:gd name="connsiteX24" fmla="*/ 75675 w 2157626"/>
                <a:gd name="connsiteY24" fmla="*/ 37837 h 1116198"/>
                <a:gd name="connsiteX25" fmla="*/ 56756 w 2157626"/>
                <a:gd name="connsiteY25" fmla="*/ 50449 h 1116198"/>
                <a:gd name="connsiteX26" fmla="*/ 63062 w 2157626"/>
                <a:gd name="connsiteY26" fmla="*/ 50449 h 1116198"/>
                <a:gd name="connsiteX0" fmla="*/ 0 w 2157626"/>
                <a:gd name="connsiteY0" fmla="*/ 56756 h 1116198"/>
                <a:gd name="connsiteX1" fmla="*/ 0 w 2157626"/>
                <a:gd name="connsiteY1" fmla="*/ 56756 h 1116198"/>
                <a:gd name="connsiteX2" fmla="*/ 94593 w 2157626"/>
                <a:gd name="connsiteY2" fmla="*/ 31531 h 1116198"/>
                <a:gd name="connsiteX3" fmla="*/ 182880 w 2157626"/>
                <a:gd name="connsiteY3" fmla="*/ 25225 h 1116198"/>
                <a:gd name="connsiteX4" fmla="*/ 466660 w 2157626"/>
                <a:gd name="connsiteY4" fmla="*/ 18918 h 1116198"/>
                <a:gd name="connsiteX5" fmla="*/ 599090 w 2157626"/>
                <a:gd name="connsiteY5" fmla="*/ 12612 h 1116198"/>
                <a:gd name="connsiteX6" fmla="*/ 630621 w 2157626"/>
                <a:gd name="connsiteY6" fmla="*/ 6306 h 1116198"/>
                <a:gd name="connsiteX7" fmla="*/ 882869 w 2157626"/>
                <a:gd name="connsiteY7" fmla="*/ 0 h 1116198"/>
                <a:gd name="connsiteX8" fmla="*/ 2150417 w 2157626"/>
                <a:gd name="connsiteY8" fmla="*/ 94593 h 1116198"/>
                <a:gd name="connsiteX9" fmla="*/ 2156723 w 2157626"/>
                <a:gd name="connsiteY9" fmla="*/ 113511 h 1116198"/>
                <a:gd name="connsiteX10" fmla="*/ 2131498 w 2157626"/>
                <a:gd name="connsiteY10" fmla="*/ 132430 h 1116198"/>
                <a:gd name="connsiteX11" fmla="*/ 2062130 w 2157626"/>
                <a:gd name="connsiteY11" fmla="*/ 201798 h 1116198"/>
                <a:gd name="connsiteX12" fmla="*/ 1917087 w 2157626"/>
                <a:gd name="connsiteY12" fmla="*/ 447740 h 1116198"/>
                <a:gd name="connsiteX13" fmla="*/ 1885556 w 2157626"/>
                <a:gd name="connsiteY13" fmla="*/ 523415 h 1116198"/>
                <a:gd name="connsiteX14" fmla="*/ 1784657 w 2157626"/>
                <a:gd name="connsiteY14" fmla="*/ 807194 h 1116198"/>
                <a:gd name="connsiteX15" fmla="*/ 1778351 w 2157626"/>
                <a:gd name="connsiteY15" fmla="*/ 838725 h 1116198"/>
                <a:gd name="connsiteX16" fmla="*/ 1620696 w 2157626"/>
                <a:gd name="connsiteY16" fmla="*/ 1090974 h 1116198"/>
                <a:gd name="connsiteX17" fmla="*/ 1576552 w 2157626"/>
                <a:gd name="connsiteY17" fmla="*/ 1116198 h 1116198"/>
                <a:gd name="connsiteX18" fmla="*/ 1469347 w 2157626"/>
                <a:gd name="connsiteY18" fmla="*/ 1002687 h 1116198"/>
                <a:gd name="connsiteX19" fmla="*/ 794582 w 2157626"/>
                <a:gd name="connsiteY19" fmla="*/ 441434 h 1116198"/>
                <a:gd name="connsiteX20" fmla="*/ 252249 w 2157626"/>
                <a:gd name="connsiteY20" fmla="*/ 126124 h 1116198"/>
                <a:gd name="connsiteX21" fmla="*/ 214411 w 2157626"/>
                <a:gd name="connsiteY21" fmla="*/ 107205 h 1116198"/>
                <a:gd name="connsiteX22" fmla="*/ 163962 w 2157626"/>
                <a:gd name="connsiteY22" fmla="*/ 69368 h 1116198"/>
                <a:gd name="connsiteX23" fmla="*/ 75675 w 2157626"/>
                <a:gd name="connsiteY23" fmla="*/ 37837 h 1116198"/>
                <a:gd name="connsiteX24" fmla="*/ 56756 w 2157626"/>
                <a:gd name="connsiteY24" fmla="*/ 50449 h 1116198"/>
                <a:gd name="connsiteX25" fmla="*/ 63062 w 2157626"/>
                <a:gd name="connsiteY25" fmla="*/ 50449 h 1116198"/>
                <a:gd name="connsiteX0" fmla="*/ 0 w 2265800"/>
                <a:gd name="connsiteY0" fmla="*/ 55353 h 1114795"/>
                <a:gd name="connsiteX1" fmla="*/ 0 w 2265800"/>
                <a:gd name="connsiteY1" fmla="*/ 55353 h 1114795"/>
                <a:gd name="connsiteX2" fmla="*/ 94593 w 2265800"/>
                <a:gd name="connsiteY2" fmla="*/ 30128 h 1114795"/>
                <a:gd name="connsiteX3" fmla="*/ 182880 w 2265800"/>
                <a:gd name="connsiteY3" fmla="*/ 23822 h 1114795"/>
                <a:gd name="connsiteX4" fmla="*/ 466660 w 2265800"/>
                <a:gd name="connsiteY4" fmla="*/ 17515 h 1114795"/>
                <a:gd name="connsiteX5" fmla="*/ 599090 w 2265800"/>
                <a:gd name="connsiteY5" fmla="*/ 11209 h 1114795"/>
                <a:gd name="connsiteX6" fmla="*/ 630621 w 2265800"/>
                <a:gd name="connsiteY6" fmla="*/ 4903 h 1114795"/>
                <a:gd name="connsiteX7" fmla="*/ 2150417 w 2265800"/>
                <a:gd name="connsiteY7" fmla="*/ 93190 h 1114795"/>
                <a:gd name="connsiteX8" fmla="*/ 2156723 w 2265800"/>
                <a:gd name="connsiteY8" fmla="*/ 112108 h 1114795"/>
                <a:gd name="connsiteX9" fmla="*/ 2131498 w 2265800"/>
                <a:gd name="connsiteY9" fmla="*/ 131027 h 1114795"/>
                <a:gd name="connsiteX10" fmla="*/ 2062130 w 2265800"/>
                <a:gd name="connsiteY10" fmla="*/ 200395 h 1114795"/>
                <a:gd name="connsiteX11" fmla="*/ 1917087 w 2265800"/>
                <a:gd name="connsiteY11" fmla="*/ 446337 h 1114795"/>
                <a:gd name="connsiteX12" fmla="*/ 1885556 w 2265800"/>
                <a:gd name="connsiteY12" fmla="*/ 522012 h 1114795"/>
                <a:gd name="connsiteX13" fmla="*/ 1784657 w 2265800"/>
                <a:gd name="connsiteY13" fmla="*/ 805791 h 1114795"/>
                <a:gd name="connsiteX14" fmla="*/ 1778351 w 2265800"/>
                <a:gd name="connsiteY14" fmla="*/ 837322 h 1114795"/>
                <a:gd name="connsiteX15" fmla="*/ 1620696 w 2265800"/>
                <a:gd name="connsiteY15" fmla="*/ 1089571 h 1114795"/>
                <a:gd name="connsiteX16" fmla="*/ 1576552 w 2265800"/>
                <a:gd name="connsiteY16" fmla="*/ 1114795 h 1114795"/>
                <a:gd name="connsiteX17" fmla="*/ 1469347 w 2265800"/>
                <a:gd name="connsiteY17" fmla="*/ 1001284 h 1114795"/>
                <a:gd name="connsiteX18" fmla="*/ 794582 w 2265800"/>
                <a:gd name="connsiteY18" fmla="*/ 440031 h 1114795"/>
                <a:gd name="connsiteX19" fmla="*/ 252249 w 2265800"/>
                <a:gd name="connsiteY19" fmla="*/ 124721 h 1114795"/>
                <a:gd name="connsiteX20" fmla="*/ 214411 w 2265800"/>
                <a:gd name="connsiteY20" fmla="*/ 105802 h 1114795"/>
                <a:gd name="connsiteX21" fmla="*/ 163962 w 2265800"/>
                <a:gd name="connsiteY21" fmla="*/ 67965 h 1114795"/>
                <a:gd name="connsiteX22" fmla="*/ 75675 w 2265800"/>
                <a:gd name="connsiteY22" fmla="*/ 36434 h 1114795"/>
                <a:gd name="connsiteX23" fmla="*/ 56756 w 2265800"/>
                <a:gd name="connsiteY23" fmla="*/ 49046 h 1114795"/>
                <a:gd name="connsiteX24" fmla="*/ 63062 w 2265800"/>
                <a:gd name="connsiteY24" fmla="*/ 49046 h 1114795"/>
                <a:gd name="connsiteX0" fmla="*/ 0 w 2268134"/>
                <a:gd name="connsiteY0" fmla="*/ 48794 h 1108236"/>
                <a:gd name="connsiteX1" fmla="*/ 0 w 2268134"/>
                <a:gd name="connsiteY1" fmla="*/ 48794 h 1108236"/>
                <a:gd name="connsiteX2" fmla="*/ 94593 w 2268134"/>
                <a:gd name="connsiteY2" fmla="*/ 23569 h 1108236"/>
                <a:gd name="connsiteX3" fmla="*/ 182880 w 2268134"/>
                <a:gd name="connsiteY3" fmla="*/ 17263 h 1108236"/>
                <a:gd name="connsiteX4" fmla="*/ 466660 w 2268134"/>
                <a:gd name="connsiteY4" fmla="*/ 10956 h 1108236"/>
                <a:gd name="connsiteX5" fmla="*/ 599090 w 2268134"/>
                <a:gd name="connsiteY5" fmla="*/ 4650 h 1108236"/>
                <a:gd name="connsiteX6" fmla="*/ 2150417 w 2268134"/>
                <a:gd name="connsiteY6" fmla="*/ 86631 h 1108236"/>
                <a:gd name="connsiteX7" fmla="*/ 2156723 w 2268134"/>
                <a:gd name="connsiteY7" fmla="*/ 105549 h 1108236"/>
                <a:gd name="connsiteX8" fmla="*/ 2131498 w 2268134"/>
                <a:gd name="connsiteY8" fmla="*/ 124468 h 1108236"/>
                <a:gd name="connsiteX9" fmla="*/ 2062130 w 2268134"/>
                <a:gd name="connsiteY9" fmla="*/ 193836 h 1108236"/>
                <a:gd name="connsiteX10" fmla="*/ 1917087 w 2268134"/>
                <a:gd name="connsiteY10" fmla="*/ 439778 h 1108236"/>
                <a:gd name="connsiteX11" fmla="*/ 1885556 w 2268134"/>
                <a:gd name="connsiteY11" fmla="*/ 515453 h 1108236"/>
                <a:gd name="connsiteX12" fmla="*/ 1784657 w 2268134"/>
                <a:gd name="connsiteY12" fmla="*/ 799232 h 1108236"/>
                <a:gd name="connsiteX13" fmla="*/ 1778351 w 2268134"/>
                <a:gd name="connsiteY13" fmla="*/ 830763 h 1108236"/>
                <a:gd name="connsiteX14" fmla="*/ 1620696 w 2268134"/>
                <a:gd name="connsiteY14" fmla="*/ 1083012 h 1108236"/>
                <a:gd name="connsiteX15" fmla="*/ 1576552 w 2268134"/>
                <a:gd name="connsiteY15" fmla="*/ 1108236 h 1108236"/>
                <a:gd name="connsiteX16" fmla="*/ 1469347 w 2268134"/>
                <a:gd name="connsiteY16" fmla="*/ 994725 h 1108236"/>
                <a:gd name="connsiteX17" fmla="*/ 794582 w 2268134"/>
                <a:gd name="connsiteY17" fmla="*/ 433472 h 1108236"/>
                <a:gd name="connsiteX18" fmla="*/ 252249 w 2268134"/>
                <a:gd name="connsiteY18" fmla="*/ 118162 h 1108236"/>
                <a:gd name="connsiteX19" fmla="*/ 214411 w 2268134"/>
                <a:gd name="connsiteY19" fmla="*/ 99243 h 1108236"/>
                <a:gd name="connsiteX20" fmla="*/ 163962 w 2268134"/>
                <a:gd name="connsiteY20" fmla="*/ 61406 h 1108236"/>
                <a:gd name="connsiteX21" fmla="*/ 75675 w 2268134"/>
                <a:gd name="connsiteY21" fmla="*/ 29875 h 1108236"/>
                <a:gd name="connsiteX22" fmla="*/ 56756 w 2268134"/>
                <a:gd name="connsiteY22" fmla="*/ 42487 h 1108236"/>
                <a:gd name="connsiteX23" fmla="*/ 63062 w 2268134"/>
                <a:gd name="connsiteY23" fmla="*/ 42487 h 1108236"/>
                <a:gd name="connsiteX0" fmla="*/ 0 w 2277941"/>
                <a:gd name="connsiteY0" fmla="*/ 37838 h 1097280"/>
                <a:gd name="connsiteX1" fmla="*/ 0 w 2277941"/>
                <a:gd name="connsiteY1" fmla="*/ 37838 h 1097280"/>
                <a:gd name="connsiteX2" fmla="*/ 94593 w 2277941"/>
                <a:gd name="connsiteY2" fmla="*/ 12613 h 1097280"/>
                <a:gd name="connsiteX3" fmla="*/ 182880 w 2277941"/>
                <a:gd name="connsiteY3" fmla="*/ 6307 h 1097280"/>
                <a:gd name="connsiteX4" fmla="*/ 466660 w 2277941"/>
                <a:gd name="connsiteY4" fmla="*/ 0 h 1097280"/>
                <a:gd name="connsiteX5" fmla="*/ 2150417 w 2277941"/>
                <a:gd name="connsiteY5" fmla="*/ 75675 h 1097280"/>
                <a:gd name="connsiteX6" fmla="*/ 2156723 w 2277941"/>
                <a:gd name="connsiteY6" fmla="*/ 94593 h 1097280"/>
                <a:gd name="connsiteX7" fmla="*/ 2131498 w 2277941"/>
                <a:gd name="connsiteY7" fmla="*/ 113512 h 1097280"/>
                <a:gd name="connsiteX8" fmla="*/ 2062130 w 2277941"/>
                <a:gd name="connsiteY8" fmla="*/ 182880 h 1097280"/>
                <a:gd name="connsiteX9" fmla="*/ 1917087 w 2277941"/>
                <a:gd name="connsiteY9" fmla="*/ 428822 h 1097280"/>
                <a:gd name="connsiteX10" fmla="*/ 1885556 w 2277941"/>
                <a:gd name="connsiteY10" fmla="*/ 504497 h 1097280"/>
                <a:gd name="connsiteX11" fmla="*/ 1784657 w 2277941"/>
                <a:gd name="connsiteY11" fmla="*/ 788276 h 1097280"/>
                <a:gd name="connsiteX12" fmla="*/ 1778351 w 2277941"/>
                <a:gd name="connsiteY12" fmla="*/ 819807 h 1097280"/>
                <a:gd name="connsiteX13" fmla="*/ 1620696 w 2277941"/>
                <a:gd name="connsiteY13" fmla="*/ 1072056 h 1097280"/>
                <a:gd name="connsiteX14" fmla="*/ 1576552 w 2277941"/>
                <a:gd name="connsiteY14" fmla="*/ 1097280 h 1097280"/>
                <a:gd name="connsiteX15" fmla="*/ 1469347 w 2277941"/>
                <a:gd name="connsiteY15" fmla="*/ 983769 h 1097280"/>
                <a:gd name="connsiteX16" fmla="*/ 794582 w 2277941"/>
                <a:gd name="connsiteY16" fmla="*/ 422516 h 1097280"/>
                <a:gd name="connsiteX17" fmla="*/ 252249 w 2277941"/>
                <a:gd name="connsiteY17" fmla="*/ 107206 h 1097280"/>
                <a:gd name="connsiteX18" fmla="*/ 214411 w 2277941"/>
                <a:gd name="connsiteY18" fmla="*/ 88287 h 1097280"/>
                <a:gd name="connsiteX19" fmla="*/ 163962 w 2277941"/>
                <a:gd name="connsiteY19" fmla="*/ 50450 h 1097280"/>
                <a:gd name="connsiteX20" fmla="*/ 75675 w 2277941"/>
                <a:gd name="connsiteY20" fmla="*/ 18919 h 1097280"/>
                <a:gd name="connsiteX21" fmla="*/ 56756 w 2277941"/>
                <a:gd name="connsiteY21" fmla="*/ 31531 h 1097280"/>
                <a:gd name="connsiteX22" fmla="*/ 63062 w 2277941"/>
                <a:gd name="connsiteY22" fmla="*/ 31531 h 1097280"/>
                <a:gd name="connsiteX0" fmla="*/ 0 w 2298956"/>
                <a:gd name="connsiteY0" fmla="*/ 35755 h 1095197"/>
                <a:gd name="connsiteX1" fmla="*/ 0 w 2298956"/>
                <a:gd name="connsiteY1" fmla="*/ 35755 h 1095197"/>
                <a:gd name="connsiteX2" fmla="*/ 94593 w 2298956"/>
                <a:gd name="connsiteY2" fmla="*/ 10530 h 1095197"/>
                <a:gd name="connsiteX3" fmla="*/ 182880 w 2298956"/>
                <a:gd name="connsiteY3" fmla="*/ 4224 h 1095197"/>
                <a:gd name="connsiteX4" fmla="*/ 2150417 w 2298956"/>
                <a:gd name="connsiteY4" fmla="*/ 73592 h 1095197"/>
                <a:gd name="connsiteX5" fmla="*/ 2156723 w 2298956"/>
                <a:gd name="connsiteY5" fmla="*/ 92510 h 1095197"/>
                <a:gd name="connsiteX6" fmla="*/ 2131498 w 2298956"/>
                <a:gd name="connsiteY6" fmla="*/ 111429 h 1095197"/>
                <a:gd name="connsiteX7" fmla="*/ 2062130 w 2298956"/>
                <a:gd name="connsiteY7" fmla="*/ 180797 h 1095197"/>
                <a:gd name="connsiteX8" fmla="*/ 1917087 w 2298956"/>
                <a:gd name="connsiteY8" fmla="*/ 426739 h 1095197"/>
                <a:gd name="connsiteX9" fmla="*/ 1885556 w 2298956"/>
                <a:gd name="connsiteY9" fmla="*/ 502414 h 1095197"/>
                <a:gd name="connsiteX10" fmla="*/ 1784657 w 2298956"/>
                <a:gd name="connsiteY10" fmla="*/ 786193 h 1095197"/>
                <a:gd name="connsiteX11" fmla="*/ 1778351 w 2298956"/>
                <a:gd name="connsiteY11" fmla="*/ 817724 h 1095197"/>
                <a:gd name="connsiteX12" fmla="*/ 1620696 w 2298956"/>
                <a:gd name="connsiteY12" fmla="*/ 1069973 h 1095197"/>
                <a:gd name="connsiteX13" fmla="*/ 1576552 w 2298956"/>
                <a:gd name="connsiteY13" fmla="*/ 1095197 h 1095197"/>
                <a:gd name="connsiteX14" fmla="*/ 1469347 w 2298956"/>
                <a:gd name="connsiteY14" fmla="*/ 981686 h 1095197"/>
                <a:gd name="connsiteX15" fmla="*/ 794582 w 2298956"/>
                <a:gd name="connsiteY15" fmla="*/ 420433 h 1095197"/>
                <a:gd name="connsiteX16" fmla="*/ 252249 w 2298956"/>
                <a:gd name="connsiteY16" fmla="*/ 105123 h 1095197"/>
                <a:gd name="connsiteX17" fmla="*/ 214411 w 2298956"/>
                <a:gd name="connsiteY17" fmla="*/ 86204 h 1095197"/>
                <a:gd name="connsiteX18" fmla="*/ 163962 w 2298956"/>
                <a:gd name="connsiteY18" fmla="*/ 48367 h 1095197"/>
                <a:gd name="connsiteX19" fmla="*/ 75675 w 2298956"/>
                <a:gd name="connsiteY19" fmla="*/ 16836 h 1095197"/>
                <a:gd name="connsiteX20" fmla="*/ 56756 w 2298956"/>
                <a:gd name="connsiteY20" fmla="*/ 29448 h 1095197"/>
                <a:gd name="connsiteX21" fmla="*/ 63062 w 2298956"/>
                <a:gd name="connsiteY21" fmla="*/ 29448 h 1095197"/>
                <a:gd name="connsiteX0" fmla="*/ 11516 w 2240901"/>
                <a:gd name="connsiteY0" fmla="*/ 46931 h 1106373"/>
                <a:gd name="connsiteX1" fmla="*/ 11516 w 2240901"/>
                <a:gd name="connsiteY1" fmla="*/ 46931 h 1106373"/>
                <a:gd name="connsiteX2" fmla="*/ 106109 w 2240901"/>
                <a:gd name="connsiteY2" fmla="*/ 21706 h 1106373"/>
                <a:gd name="connsiteX3" fmla="*/ 1134021 w 2240901"/>
                <a:gd name="connsiteY3" fmla="*/ 2787 h 1106373"/>
                <a:gd name="connsiteX4" fmla="*/ 2161933 w 2240901"/>
                <a:gd name="connsiteY4" fmla="*/ 84768 h 1106373"/>
                <a:gd name="connsiteX5" fmla="*/ 2168239 w 2240901"/>
                <a:gd name="connsiteY5" fmla="*/ 103686 h 1106373"/>
                <a:gd name="connsiteX6" fmla="*/ 2143014 w 2240901"/>
                <a:gd name="connsiteY6" fmla="*/ 122605 h 1106373"/>
                <a:gd name="connsiteX7" fmla="*/ 2073646 w 2240901"/>
                <a:gd name="connsiteY7" fmla="*/ 191973 h 1106373"/>
                <a:gd name="connsiteX8" fmla="*/ 1928603 w 2240901"/>
                <a:gd name="connsiteY8" fmla="*/ 437915 h 1106373"/>
                <a:gd name="connsiteX9" fmla="*/ 1897072 w 2240901"/>
                <a:gd name="connsiteY9" fmla="*/ 513590 h 1106373"/>
                <a:gd name="connsiteX10" fmla="*/ 1796173 w 2240901"/>
                <a:gd name="connsiteY10" fmla="*/ 797369 h 1106373"/>
                <a:gd name="connsiteX11" fmla="*/ 1789867 w 2240901"/>
                <a:gd name="connsiteY11" fmla="*/ 828900 h 1106373"/>
                <a:gd name="connsiteX12" fmla="*/ 1632212 w 2240901"/>
                <a:gd name="connsiteY12" fmla="*/ 1081149 h 1106373"/>
                <a:gd name="connsiteX13" fmla="*/ 1588068 w 2240901"/>
                <a:gd name="connsiteY13" fmla="*/ 1106373 h 1106373"/>
                <a:gd name="connsiteX14" fmla="*/ 1480863 w 2240901"/>
                <a:gd name="connsiteY14" fmla="*/ 992862 h 1106373"/>
                <a:gd name="connsiteX15" fmla="*/ 806098 w 2240901"/>
                <a:gd name="connsiteY15" fmla="*/ 431609 h 1106373"/>
                <a:gd name="connsiteX16" fmla="*/ 263765 w 2240901"/>
                <a:gd name="connsiteY16" fmla="*/ 116299 h 1106373"/>
                <a:gd name="connsiteX17" fmla="*/ 225927 w 2240901"/>
                <a:gd name="connsiteY17" fmla="*/ 97380 h 1106373"/>
                <a:gd name="connsiteX18" fmla="*/ 175478 w 2240901"/>
                <a:gd name="connsiteY18" fmla="*/ 59543 h 1106373"/>
                <a:gd name="connsiteX19" fmla="*/ 87191 w 2240901"/>
                <a:gd name="connsiteY19" fmla="*/ 28012 h 1106373"/>
                <a:gd name="connsiteX20" fmla="*/ 68272 w 2240901"/>
                <a:gd name="connsiteY20" fmla="*/ 40624 h 1106373"/>
                <a:gd name="connsiteX21" fmla="*/ 74578 w 2240901"/>
                <a:gd name="connsiteY21" fmla="*/ 40624 h 1106373"/>
                <a:gd name="connsiteX0" fmla="*/ 0 w 2229385"/>
                <a:gd name="connsiteY0" fmla="*/ 46931 h 1106373"/>
                <a:gd name="connsiteX1" fmla="*/ 94593 w 2229385"/>
                <a:gd name="connsiteY1" fmla="*/ 21706 h 1106373"/>
                <a:gd name="connsiteX2" fmla="*/ 1122505 w 2229385"/>
                <a:gd name="connsiteY2" fmla="*/ 2787 h 1106373"/>
                <a:gd name="connsiteX3" fmla="*/ 2150417 w 2229385"/>
                <a:gd name="connsiteY3" fmla="*/ 84768 h 1106373"/>
                <a:gd name="connsiteX4" fmla="*/ 2156723 w 2229385"/>
                <a:gd name="connsiteY4" fmla="*/ 103686 h 1106373"/>
                <a:gd name="connsiteX5" fmla="*/ 2131498 w 2229385"/>
                <a:gd name="connsiteY5" fmla="*/ 122605 h 1106373"/>
                <a:gd name="connsiteX6" fmla="*/ 2062130 w 2229385"/>
                <a:gd name="connsiteY6" fmla="*/ 191973 h 1106373"/>
                <a:gd name="connsiteX7" fmla="*/ 1917087 w 2229385"/>
                <a:gd name="connsiteY7" fmla="*/ 437915 h 1106373"/>
                <a:gd name="connsiteX8" fmla="*/ 1885556 w 2229385"/>
                <a:gd name="connsiteY8" fmla="*/ 513590 h 1106373"/>
                <a:gd name="connsiteX9" fmla="*/ 1784657 w 2229385"/>
                <a:gd name="connsiteY9" fmla="*/ 797369 h 1106373"/>
                <a:gd name="connsiteX10" fmla="*/ 1778351 w 2229385"/>
                <a:gd name="connsiteY10" fmla="*/ 828900 h 1106373"/>
                <a:gd name="connsiteX11" fmla="*/ 1620696 w 2229385"/>
                <a:gd name="connsiteY11" fmla="*/ 1081149 h 1106373"/>
                <a:gd name="connsiteX12" fmla="*/ 1576552 w 2229385"/>
                <a:gd name="connsiteY12" fmla="*/ 1106373 h 1106373"/>
                <a:gd name="connsiteX13" fmla="*/ 1469347 w 2229385"/>
                <a:gd name="connsiteY13" fmla="*/ 992862 h 1106373"/>
                <a:gd name="connsiteX14" fmla="*/ 794582 w 2229385"/>
                <a:gd name="connsiteY14" fmla="*/ 431609 h 1106373"/>
                <a:gd name="connsiteX15" fmla="*/ 252249 w 2229385"/>
                <a:gd name="connsiteY15" fmla="*/ 116299 h 1106373"/>
                <a:gd name="connsiteX16" fmla="*/ 214411 w 2229385"/>
                <a:gd name="connsiteY16" fmla="*/ 97380 h 1106373"/>
                <a:gd name="connsiteX17" fmla="*/ 163962 w 2229385"/>
                <a:gd name="connsiteY17" fmla="*/ 59543 h 1106373"/>
                <a:gd name="connsiteX18" fmla="*/ 75675 w 2229385"/>
                <a:gd name="connsiteY18" fmla="*/ 28012 h 1106373"/>
                <a:gd name="connsiteX19" fmla="*/ 56756 w 2229385"/>
                <a:gd name="connsiteY19" fmla="*/ 40624 h 1106373"/>
                <a:gd name="connsiteX20" fmla="*/ 63062 w 2229385"/>
                <a:gd name="connsiteY20" fmla="*/ 40624 h 1106373"/>
                <a:gd name="connsiteX0" fmla="*/ 0 w 2229385"/>
                <a:gd name="connsiteY0" fmla="*/ 46931 h 1106373"/>
                <a:gd name="connsiteX1" fmla="*/ 94593 w 2229385"/>
                <a:gd name="connsiteY1" fmla="*/ 21706 h 1106373"/>
                <a:gd name="connsiteX2" fmla="*/ 1122505 w 2229385"/>
                <a:gd name="connsiteY2" fmla="*/ 2787 h 1106373"/>
                <a:gd name="connsiteX3" fmla="*/ 2150417 w 2229385"/>
                <a:gd name="connsiteY3" fmla="*/ 84768 h 1106373"/>
                <a:gd name="connsiteX4" fmla="*/ 2156723 w 2229385"/>
                <a:gd name="connsiteY4" fmla="*/ 103686 h 1106373"/>
                <a:gd name="connsiteX5" fmla="*/ 2131498 w 2229385"/>
                <a:gd name="connsiteY5" fmla="*/ 122605 h 1106373"/>
                <a:gd name="connsiteX6" fmla="*/ 2062130 w 2229385"/>
                <a:gd name="connsiteY6" fmla="*/ 191973 h 1106373"/>
                <a:gd name="connsiteX7" fmla="*/ 1917087 w 2229385"/>
                <a:gd name="connsiteY7" fmla="*/ 437915 h 1106373"/>
                <a:gd name="connsiteX8" fmla="*/ 1885556 w 2229385"/>
                <a:gd name="connsiteY8" fmla="*/ 513590 h 1106373"/>
                <a:gd name="connsiteX9" fmla="*/ 1784657 w 2229385"/>
                <a:gd name="connsiteY9" fmla="*/ 797369 h 1106373"/>
                <a:gd name="connsiteX10" fmla="*/ 1778351 w 2229385"/>
                <a:gd name="connsiteY10" fmla="*/ 828900 h 1106373"/>
                <a:gd name="connsiteX11" fmla="*/ 1620696 w 2229385"/>
                <a:gd name="connsiteY11" fmla="*/ 1081149 h 1106373"/>
                <a:gd name="connsiteX12" fmla="*/ 1576552 w 2229385"/>
                <a:gd name="connsiteY12" fmla="*/ 1106373 h 1106373"/>
                <a:gd name="connsiteX13" fmla="*/ 1469347 w 2229385"/>
                <a:gd name="connsiteY13" fmla="*/ 992862 h 1106373"/>
                <a:gd name="connsiteX14" fmla="*/ 794582 w 2229385"/>
                <a:gd name="connsiteY14" fmla="*/ 431609 h 1106373"/>
                <a:gd name="connsiteX15" fmla="*/ 252249 w 2229385"/>
                <a:gd name="connsiteY15" fmla="*/ 116299 h 1106373"/>
                <a:gd name="connsiteX16" fmla="*/ 214411 w 2229385"/>
                <a:gd name="connsiteY16" fmla="*/ 97380 h 1106373"/>
                <a:gd name="connsiteX17" fmla="*/ 163962 w 2229385"/>
                <a:gd name="connsiteY17" fmla="*/ 59543 h 1106373"/>
                <a:gd name="connsiteX18" fmla="*/ 75675 w 2229385"/>
                <a:gd name="connsiteY18" fmla="*/ 28012 h 1106373"/>
                <a:gd name="connsiteX19" fmla="*/ 56756 w 2229385"/>
                <a:gd name="connsiteY19" fmla="*/ 40624 h 1106373"/>
                <a:gd name="connsiteX0" fmla="*/ 37837 w 2172629"/>
                <a:gd name="connsiteY0" fmla="*/ 21706 h 1106373"/>
                <a:gd name="connsiteX1" fmla="*/ 1065749 w 2172629"/>
                <a:gd name="connsiteY1" fmla="*/ 2787 h 1106373"/>
                <a:gd name="connsiteX2" fmla="*/ 2093661 w 2172629"/>
                <a:gd name="connsiteY2" fmla="*/ 84768 h 1106373"/>
                <a:gd name="connsiteX3" fmla="*/ 2099967 w 2172629"/>
                <a:gd name="connsiteY3" fmla="*/ 103686 h 1106373"/>
                <a:gd name="connsiteX4" fmla="*/ 2074742 w 2172629"/>
                <a:gd name="connsiteY4" fmla="*/ 122605 h 1106373"/>
                <a:gd name="connsiteX5" fmla="*/ 2005374 w 2172629"/>
                <a:gd name="connsiteY5" fmla="*/ 191973 h 1106373"/>
                <a:gd name="connsiteX6" fmla="*/ 1860331 w 2172629"/>
                <a:gd name="connsiteY6" fmla="*/ 437915 h 1106373"/>
                <a:gd name="connsiteX7" fmla="*/ 1828800 w 2172629"/>
                <a:gd name="connsiteY7" fmla="*/ 513590 h 1106373"/>
                <a:gd name="connsiteX8" fmla="*/ 1727901 w 2172629"/>
                <a:gd name="connsiteY8" fmla="*/ 797369 h 1106373"/>
                <a:gd name="connsiteX9" fmla="*/ 1721595 w 2172629"/>
                <a:gd name="connsiteY9" fmla="*/ 828900 h 1106373"/>
                <a:gd name="connsiteX10" fmla="*/ 1563940 w 2172629"/>
                <a:gd name="connsiteY10" fmla="*/ 1081149 h 1106373"/>
                <a:gd name="connsiteX11" fmla="*/ 1519796 w 2172629"/>
                <a:gd name="connsiteY11" fmla="*/ 1106373 h 1106373"/>
                <a:gd name="connsiteX12" fmla="*/ 1412591 w 2172629"/>
                <a:gd name="connsiteY12" fmla="*/ 992862 h 1106373"/>
                <a:gd name="connsiteX13" fmla="*/ 737826 w 2172629"/>
                <a:gd name="connsiteY13" fmla="*/ 431609 h 1106373"/>
                <a:gd name="connsiteX14" fmla="*/ 195493 w 2172629"/>
                <a:gd name="connsiteY14" fmla="*/ 116299 h 1106373"/>
                <a:gd name="connsiteX15" fmla="*/ 157655 w 2172629"/>
                <a:gd name="connsiteY15" fmla="*/ 97380 h 1106373"/>
                <a:gd name="connsiteX16" fmla="*/ 107206 w 2172629"/>
                <a:gd name="connsiteY16" fmla="*/ 59543 h 1106373"/>
                <a:gd name="connsiteX17" fmla="*/ 18919 w 2172629"/>
                <a:gd name="connsiteY17" fmla="*/ 28012 h 1106373"/>
                <a:gd name="connsiteX18" fmla="*/ 0 w 2172629"/>
                <a:gd name="connsiteY18" fmla="*/ 40624 h 1106373"/>
                <a:gd name="connsiteX0" fmla="*/ 18918 w 2153710"/>
                <a:gd name="connsiteY0" fmla="*/ 21706 h 1106373"/>
                <a:gd name="connsiteX1" fmla="*/ 1046830 w 2153710"/>
                <a:gd name="connsiteY1" fmla="*/ 2787 h 1106373"/>
                <a:gd name="connsiteX2" fmla="*/ 2074742 w 2153710"/>
                <a:gd name="connsiteY2" fmla="*/ 84768 h 1106373"/>
                <a:gd name="connsiteX3" fmla="*/ 2081048 w 2153710"/>
                <a:gd name="connsiteY3" fmla="*/ 103686 h 1106373"/>
                <a:gd name="connsiteX4" fmla="*/ 2055823 w 2153710"/>
                <a:gd name="connsiteY4" fmla="*/ 122605 h 1106373"/>
                <a:gd name="connsiteX5" fmla="*/ 1986455 w 2153710"/>
                <a:gd name="connsiteY5" fmla="*/ 191973 h 1106373"/>
                <a:gd name="connsiteX6" fmla="*/ 1841412 w 2153710"/>
                <a:gd name="connsiteY6" fmla="*/ 437915 h 1106373"/>
                <a:gd name="connsiteX7" fmla="*/ 1809881 w 2153710"/>
                <a:gd name="connsiteY7" fmla="*/ 513590 h 1106373"/>
                <a:gd name="connsiteX8" fmla="*/ 1708982 w 2153710"/>
                <a:gd name="connsiteY8" fmla="*/ 797369 h 1106373"/>
                <a:gd name="connsiteX9" fmla="*/ 1702676 w 2153710"/>
                <a:gd name="connsiteY9" fmla="*/ 828900 h 1106373"/>
                <a:gd name="connsiteX10" fmla="*/ 1545021 w 2153710"/>
                <a:gd name="connsiteY10" fmla="*/ 1081149 h 1106373"/>
                <a:gd name="connsiteX11" fmla="*/ 1500877 w 2153710"/>
                <a:gd name="connsiteY11" fmla="*/ 1106373 h 1106373"/>
                <a:gd name="connsiteX12" fmla="*/ 1393672 w 2153710"/>
                <a:gd name="connsiteY12" fmla="*/ 992862 h 1106373"/>
                <a:gd name="connsiteX13" fmla="*/ 718907 w 2153710"/>
                <a:gd name="connsiteY13" fmla="*/ 431609 h 1106373"/>
                <a:gd name="connsiteX14" fmla="*/ 176574 w 2153710"/>
                <a:gd name="connsiteY14" fmla="*/ 116299 h 1106373"/>
                <a:gd name="connsiteX15" fmla="*/ 138736 w 2153710"/>
                <a:gd name="connsiteY15" fmla="*/ 97380 h 1106373"/>
                <a:gd name="connsiteX16" fmla="*/ 88287 w 2153710"/>
                <a:gd name="connsiteY16" fmla="*/ 59543 h 1106373"/>
                <a:gd name="connsiteX17" fmla="*/ 0 w 2153710"/>
                <a:gd name="connsiteY17" fmla="*/ 28012 h 1106373"/>
                <a:gd name="connsiteX0" fmla="*/ 0 w 2134792"/>
                <a:gd name="connsiteY0" fmla="*/ 21706 h 1106373"/>
                <a:gd name="connsiteX1" fmla="*/ 1027912 w 2134792"/>
                <a:gd name="connsiteY1" fmla="*/ 2787 h 1106373"/>
                <a:gd name="connsiteX2" fmla="*/ 2055824 w 2134792"/>
                <a:gd name="connsiteY2" fmla="*/ 84768 h 1106373"/>
                <a:gd name="connsiteX3" fmla="*/ 2062130 w 2134792"/>
                <a:gd name="connsiteY3" fmla="*/ 103686 h 1106373"/>
                <a:gd name="connsiteX4" fmla="*/ 2036905 w 2134792"/>
                <a:gd name="connsiteY4" fmla="*/ 122605 h 1106373"/>
                <a:gd name="connsiteX5" fmla="*/ 1967537 w 2134792"/>
                <a:gd name="connsiteY5" fmla="*/ 191973 h 1106373"/>
                <a:gd name="connsiteX6" fmla="*/ 1822494 w 2134792"/>
                <a:gd name="connsiteY6" fmla="*/ 437915 h 1106373"/>
                <a:gd name="connsiteX7" fmla="*/ 1790963 w 2134792"/>
                <a:gd name="connsiteY7" fmla="*/ 513590 h 1106373"/>
                <a:gd name="connsiteX8" fmla="*/ 1690064 w 2134792"/>
                <a:gd name="connsiteY8" fmla="*/ 797369 h 1106373"/>
                <a:gd name="connsiteX9" fmla="*/ 1683758 w 2134792"/>
                <a:gd name="connsiteY9" fmla="*/ 828900 h 1106373"/>
                <a:gd name="connsiteX10" fmla="*/ 1526103 w 2134792"/>
                <a:gd name="connsiteY10" fmla="*/ 1081149 h 1106373"/>
                <a:gd name="connsiteX11" fmla="*/ 1481959 w 2134792"/>
                <a:gd name="connsiteY11" fmla="*/ 1106373 h 1106373"/>
                <a:gd name="connsiteX12" fmla="*/ 1374754 w 2134792"/>
                <a:gd name="connsiteY12" fmla="*/ 992862 h 1106373"/>
                <a:gd name="connsiteX13" fmla="*/ 699989 w 2134792"/>
                <a:gd name="connsiteY13" fmla="*/ 431609 h 1106373"/>
                <a:gd name="connsiteX14" fmla="*/ 157656 w 2134792"/>
                <a:gd name="connsiteY14" fmla="*/ 116299 h 1106373"/>
                <a:gd name="connsiteX15" fmla="*/ 119818 w 2134792"/>
                <a:gd name="connsiteY15" fmla="*/ 97380 h 1106373"/>
                <a:gd name="connsiteX16" fmla="*/ 69369 w 2134792"/>
                <a:gd name="connsiteY16" fmla="*/ 59543 h 1106373"/>
                <a:gd name="connsiteX0" fmla="*/ 958543 w 2065423"/>
                <a:gd name="connsiteY0" fmla="*/ 0 h 1103586"/>
                <a:gd name="connsiteX1" fmla="*/ 1986455 w 2065423"/>
                <a:gd name="connsiteY1" fmla="*/ 81981 h 1103586"/>
                <a:gd name="connsiteX2" fmla="*/ 1992761 w 2065423"/>
                <a:gd name="connsiteY2" fmla="*/ 100899 h 1103586"/>
                <a:gd name="connsiteX3" fmla="*/ 1967536 w 2065423"/>
                <a:gd name="connsiteY3" fmla="*/ 119818 h 1103586"/>
                <a:gd name="connsiteX4" fmla="*/ 1898168 w 2065423"/>
                <a:gd name="connsiteY4" fmla="*/ 189186 h 1103586"/>
                <a:gd name="connsiteX5" fmla="*/ 1753125 w 2065423"/>
                <a:gd name="connsiteY5" fmla="*/ 435128 h 1103586"/>
                <a:gd name="connsiteX6" fmla="*/ 1721594 w 2065423"/>
                <a:gd name="connsiteY6" fmla="*/ 510803 h 1103586"/>
                <a:gd name="connsiteX7" fmla="*/ 1620695 w 2065423"/>
                <a:gd name="connsiteY7" fmla="*/ 794582 h 1103586"/>
                <a:gd name="connsiteX8" fmla="*/ 1614389 w 2065423"/>
                <a:gd name="connsiteY8" fmla="*/ 826113 h 1103586"/>
                <a:gd name="connsiteX9" fmla="*/ 1456734 w 2065423"/>
                <a:gd name="connsiteY9" fmla="*/ 1078362 h 1103586"/>
                <a:gd name="connsiteX10" fmla="*/ 1412590 w 2065423"/>
                <a:gd name="connsiteY10" fmla="*/ 1103586 h 1103586"/>
                <a:gd name="connsiteX11" fmla="*/ 1305385 w 2065423"/>
                <a:gd name="connsiteY11" fmla="*/ 990075 h 1103586"/>
                <a:gd name="connsiteX12" fmla="*/ 630620 w 2065423"/>
                <a:gd name="connsiteY12" fmla="*/ 428822 h 1103586"/>
                <a:gd name="connsiteX13" fmla="*/ 88287 w 2065423"/>
                <a:gd name="connsiteY13" fmla="*/ 113512 h 1103586"/>
                <a:gd name="connsiteX14" fmla="*/ 50449 w 2065423"/>
                <a:gd name="connsiteY14" fmla="*/ 94593 h 1103586"/>
                <a:gd name="connsiteX15" fmla="*/ 0 w 2065423"/>
                <a:gd name="connsiteY15" fmla="*/ 56756 h 1103586"/>
                <a:gd name="connsiteX0" fmla="*/ 1027912 w 2134792"/>
                <a:gd name="connsiteY0" fmla="*/ 0 h 1103586"/>
                <a:gd name="connsiteX1" fmla="*/ 2055824 w 2134792"/>
                <a:gd name="connsiteY1" fmla="*/ 81981 h 1103586"/>
                <a:gd name="connsiteX2" fmla="*/ 2062130 w 2134792"/>
                <a:gd name="connsiteY2" fmla="*/ 100899 h 1103586"/>
                <a:gd name="connsiteX3" fmla="*/ 2036905 w 2134792"/>
                <a:gd name="connsiteY3" fmla="*/ 119818 h 1103586"/>
                <a:gd name="connsiteX4" fmla="*/ 1967537 w 2134792"/>
                <a:gd name="connsiteY4" fmla="*/ 189186 h 1103586"/>
                <a:gd name="connsiteX5" fmla="*/ 1822494 w 2134792"/>
                <a:gd name="connsiteY5" fmla="*/ 435128 h 1103586"/>
                <a:gd name="connsiteX6" fmla="*/ 1790963 w 2134792"/>
                <a:gd name="connsiteY6" fmla="*/ 510803 h 1103586"/>
                <a:gd name="connsiteX7" fmla="*/ 1690064 w 2134792"/>
                <a:gd name="connsiteY7" fmla="*/ 794582 h 1103586"/>
                <a:gd name="connsiteX8" fmla="*/ 1683758 w 2134792"/>
                <a:gd name="connsiteY8" fmla="*/ 826113 h 1103586"/>
                <a:gd name="connsiteX9" fmla="*/ 1526103 w 2134792"/>
                <a:gd name="connsiteY9" fmla="*/ 1078362 h 1103586"/>
                <a:gd name="connsiteX10" fmla="*/ 1481959 w 2134792"/>
                <a:gd name="connsiteY10" fmla="*/ 1103586 h 1103586"/>
                <a:gd name="connsiteX11" fmla="*/ 1374754 w 2134792"/>
                <a:gd name="connsiteY11" fmla="*/ 990075 h 1103586"/>
                <a:gd name="connsiteX12" fmla="*/ 699989 w 2134792"/>
                <a:gd name="connsiteY12" fmla="*/ 428822 h 1103586"/>
                <a:gd name="connsiteX13" fmla="*/ 157656 w 2134792"/>
                <a:gd name="connsiteY13" fmla="*/ 113512 h 1103586"/>
                <a:gd name="connsiteX14" fmla="*/ 119818 w 2134792"/>
                <a:gd name="connsiteY14" fmla="*/ 94593 h 1103586"/>
                <a:gd name="connsiteX15" fmla="*/ 0 w 2134792"/>
                <a:gd name="connsiteY15" fmla="*/ 94593 h 1103586"/>
                <a:gd name="connsiteX0" fmla="*/ 0 w 2800174"/>
                <a:gd name="connsiteY0" fmla="*/ 0 h 1154036"/>
                <a:gd name="connsiteX1" fmla="*/ 2604464 w 2800174"/>
                <a:gd name="connsiteY1" fmla="*/ 132431 h 1154036"/>
                <a:gd name="connsiteX2" fmla="*/ 2610770 w 2800174"/>
                <a:gd name="connsiteY2" fmla="*/ 151349 h 1154036"/>
                <a:gd name="connsiteX3" fmla="*/ 2585545 w 2800174"/>
                <a:gd name="connsiteY3" fmla="*/ 170268 h 1154036"/>
                <a:gd name="connsiteX4" fmla="*/ 2516177 w 2800174"/>
                <a:gd name="connsiteY4" fmla="*/ 239636 h 1154036"/>
                <a:gd name="connsiteX5" fmla="*/ 2371134 w 2800174"/>
                <a:gd name="connsiteY5" fmla="*/ 485578 h 1154036"/>
                <a:gd name="connsiteX6" fmla="*/ 2339603 w 2800174"/>
                <a:gd name="connsiteY6" fmla="*/ 561253 h 1154036"/>
                <a:gd name="connsiteX7" fmla="*/ 2238704 w 2800174"/>
                <a:gd name="connsiteY7" fmla="*/ 845032 h 1154036"/>
                <a:gd name="connsiteX8" fmla="*/ 2232398 w 2800174"/>
                <a:gd name="connsiteY8" fmla="*/ 876563 h 1154036"/>
                <a:gd name="connsiteX9" fmla="*/ 2074743 w 2800174"/>
                <a:gd name="connsiteY9" fmla="*/ 1128812 h 1154036"/>
                <a:gd name="connsiteX10" fmla="*/ 2030599 w 2800174"/>
                <a:gd name="connsiteY10" fmla="*/ 1154036 h 1154036"/>
                <a:gd name="connsiteX11" fmla="*/ 1923394 w 2800174"/>
                <a:gd name="connsiteY11" fmla="*/ 1040525 h 1154036"/>
                <a:gd name="connsiteX12" fmla="*/ 1248629 w 2800174"/>
                <a:gd name="connsiteY12" fmla="*/ 479272 h 1154036"/>
                <a:gd name="connsiteX13" fmla="*/ 706296 w 2800174"/>
                <a:gd name="connsiteY13" fmla="*/ 163962 h 1154036"/>
                <a:gd name="connsiteX14" fmla="*/ 668458 w 2800174"/>
                <a:gd name="connsiteY14" fmla="*/ 145043 h 1154036"/>
                <a:gd name="connsiteX15" fmla="*/ 548640 w 2800174"/>
                <a:gd name="connsiteY15" fmla="*/ 145043 h 1154036"/>
                <a:gd name="connsiteX0" fmla="*/ 296392 w 2188952"/>
                <a:gd name="connsiteY0" fmla="*/ 0 h 1109892"/>
                <a:gd name="connsiteX1" fmla="*/ 2055824 w 2188952"/>
                <a:gd name="connsiteY1" fmla="*/ 88287 h 1109892"/>
                <a:gd name="connsiteX2" fmla="*/ 2062130 w 2188952"/>
                <a:gd name="connsiteY2" fmla="*/ 107205 h 1109892"/>
                <a:gd name="connsiteX3" fmla="*/ 2036905 w 2188952"/>
                <a:gd name="connsiteY3" fmla="*/ 126124 h 1109892"/>
                <a:gd name="connsiteX4" fmla="*/ 1967537 w 2188952"/>
                <a:gd name="connsiteY4" fmla="*/ 195492 h 1109892"/>
                <a:gd name="connsiteX5" fmla="*/ 1822494 w 2188952"/>
                <a:gd name="connsiteY5" fmla="*/ 441434 h 1109892"/>
                <a:gd name="connsiteX6" fmla="*/ 1790963 w 2188952"/>
                <a:gd name="connsiteY6" fmla="*/ 517109 h 1109892"/>
                <a:gd name="connsiteX7" fmla="*/ 1690064 w 2188952"/>
                <a:gd name="connsiteY7" fmla="*/ 800888 h 1109892"/>
                <a:gd name="connsiteX8" fmla="*/ 1683758 w 2188952"/>
                <a:gd name="connsiteY8" fmla="*/ 832419 h 1109892"/>
                <a:gd name="connsiteX9" fmla="*/ 1526103 w 2188952"/>
                <a:gd name="connsiteY9" fmla="*/ 1084668 h 1109892"/>
                <a:gd name="connsiteX10" fmla="*/ 1481959 w 2188952"/>
                <a:gd name="connsiteY10" fmla="*/ 1109892 h 1109892"/>
                <a:gd name="connsiteX11" fmla="*/ 1374754 w 2188952"/>
                <a:gd name="connsiteY11" fmla="*/ 996381 h 1109892"/>
                <a:gd name="connsiteX12" fmla="*/ 699989 w 2188952"/>
                <a:gd name="connsiteY12" fmla="*/ 435128 h 1109892"/>
                <a:gd name="connsiteX13" fmla="*/ 157656 w 2188952"/>
                <a:gd name="connsiteY13" fmla="*/ 119818 h 1109892"/>
                <a:gd name="connsiteX14" fmla="*/ 119818 w 2188952"/>
                <a:gd name="connsiteY14" fmla="*/ 100899 h 1109892"/>
                <a:gd name="connsiteX15" fmla="*/ 0 w 2188952"/>
                <a:gd name="connsiteY15" fmla="*/ 100899 h 1109892"/>
                <a:gd name="connsiteX0" fmla="*/ 296392 w 2188952"/>
                <a:gd name="connsiteY0" fmla="*/ 0 h 1109892"/>
                <a:gd name="connsiteX1" fmla="*/ 2055824 w 2188952"/>
                <a:gd name="connsiteY1" fmla="*/ 88287 h 1109892"/>
                <a:gd name="connsiteX2" fmla="*/ 2062130 w 2188952"/>
                <a:gd name="connsiteY2" fmla="*/ 107205 h 1109892"/>
                <a:gd name="connsiteX3" fmla="*/ 2036905 w 2188952"/>
                <a:gd name="connsiteY3" fmla="*/ 126124 h 1109892"/>
                <a:gd name="connsiteX4" fmla="*/ 1967537 w 2188952"/>
                <a:gd name="connsiteY4" fmla="*/ 195492 h 1109892"/>
                <a:gd name="connsiteX5" fmla="*/ 1822494 w 2188952"/>
                <a:gd name="connsiteY5" fmla="*/ 441434 h 1109892"/>
                <a:gd name="connsiteX6" fmla="*/ 1790963 w 2188952"/>
                <a:gd name="connsiteY6" fmla="*/ 517109 h 1109892"/>
                <a:gd name="connsiteX7" fmla="*/ 1690064 w 2188952"/>
                <a:gd name="connsiteY7" fmla="*/ 800888 h 1109892"/>
                <a:gd name="connsiteX8" fmla="*/ 1683758 w 2188952"/>
                <a:gd name="connsiteY8" fmla="*/ 832419 h 1109892"/>
                <a:gd name="connsiteX9" fmla="*/ 1526103 w 2188952"/>
                <a:gd name="connsiteY9" fmla="*/ 1084668 h 1109892"/>
                <a:gd name="connsiteX10" fmla="*/ 1481959 w 2188952"/>
                <a:gd name="connsiteY10" fmla="*/ 1109892 h 1109892"/>
                <a:gd name="connsiteX11" fmla="*/ 1374754 w 2188952"/>
                <a:gd name="connsiteY11" fmla="*/ 996381 h 1109892"/>
                <a:gd name="connsiteX12" fmla="*/ 699989 w 2188952"/>
                <a:gd name="connsiteY12" fmla="*/ 435128 h 1109892"/>
                <a:gd name="connsiteX13" fmla="*/ 157656 w 2188952"/>
                <a:gd name="connsiteY13" fmla="*/ 119818 h 1109892"/>
                <a:gd name="connsiteX14" fmla="*/ 119818 w 2188952"/>
                <a:gd name="connsiteY14" fmla="*/ 100899 h 1109892"/>
                <a:gd name="connsiteX15" fmla="*/ 0 w 2188952"/>
                <a:gd name="connsiteY15" fmla="*/ 100899 h 1109892"/>
                <a:gd name="connsiteX0" fmla="*/ 296392 w 2188952"/>
                <a:gd name="connsiteY0" fmla="*/ 0 h 1116198"/>
                <a:gd name="connsiteX1" fmla="*/ 2055824 w 2188952"/>
                <a:gd name="connsiteY1" fmla="*/ 94593 h 1116198"/>
                <a:gd name="connsiteX2" fmla="*/ 2062130 w 2188952"/>
                <a:gd name="connsiteY2" fmla="*/ 113511 h 1116198"/>
                <a:gd name="connsiteX3" fmla="*/ 2036905 w 2188952"/>
                <a:gd name="connsiteY3" fmla="*/ 132430 h 1116198"/>
                <a:gd name="connsiteX4" fmla="*/ 1967537 w 2188952"/>
                <a:gd name="connsiteY4" fmla="*/ 201798 h 1116198"/>
                <a:gd name="connsiteX5" fmla="*/ 1822494 w 2188952"/>
                <a:gd name="connsiteY5" fmla="*/ 447740 h 1116198"/>
                <a:gd name="connsiteX6" fmla="*/ 1790963 w 2188952"/>
                <a:gd name="connsiteY6" fmla="*/ 523415 h 1116198"/>
                <a:gd name="connsiteX7" fmla="*/ 1690064 w 2188952"/>
                <a:gd name="connsiteY7" fmla="*/ 807194 h 1116198"/>
                <a:gd name="connsiteX8" fmla="*/ 1683758 w 2188952"/>
                <a:gd name="connsiteY8" fmla="*/ 838725 h 1116198"/>
                <a:gd name="connsiteX9" fmla="*/ 1526103 w 2188952"/>
                <a:gd name="connsiteY9" fmla="*/ 1090974 h 1116198"/>
                <a:gd name="connsiteX10" fmla="*/ 1481959 w 2188952"/>
                <a:gd name="connsiteY10" fmla="*/ 1116198 h 1116198"/>
                <a:gd name="connsiteX11" fmla="*/ 1374754 w 2188952"/>
                <a:gd name="connsiteY11" fmla="*/ 1002687 h 1116198"/>
                <a:gd name="connsiteX12" fmla="*/ 699989 w 2188952"/>
                <a:gd name="connsiteY12" fmla="*/ 441434 h 1116198"/>
                <a:gd name="connsiteX13" fmla="*/ 157656 w 2188952"/>
                <a:gd name="connsiteY13" fmla="*/ 126124 h 1116198"/>
                <a:gd name="connsiteX14" fmla="*/ 119818 w 2188952"/>
                <a:gd name="connsiteY14" fmla="*/ 107205 h 1116198"/>
                <a:gd name="connsiteX15" fmla="*/ 0 w 2188952"/>
                <a:gd name="connsiteY15" fmla="*/ 107205 h 1116198"/>
                <a:gd name="connsiteX0" fmla="*/ 296392 w 2191678"/>
                <a:gd name="connsiteY0" fmla="*/ 0 h 1116198"/>
                <a:gd name="connsiteX1" fmla="*/ 2055824 w 2191678"/>
                <a:gd name="connsiteY1" fmla="*/ 94593 h 1116198"/>
                <a:gd name="connsiteX2" fmla="*/ 2062130 w 2191678"/>
                <a:gd name="connsiteY2" fmla="*/ 113511 h 1116198"/>
                <a:gd name="connsiteX3" fmla="*/ 1967537 w 2191678"/>
                <a:gd name="connsiteY3" fmla="*/ 201798 h 1116198"/>
                <a:gd name="connsiteX4" fmla="*/ 1822494 w 2191678"/>
                <a:gd name="connsiteY4" fmla="*/ 447740 h 1116198"/>
                <a:gd name="connsiteX5" fmla="*/ 1790963 w 2191678"/>
                <a:gd name="connsiteY5" fmla="*/ 523415 h 1116198"/>
                <a:gd name="connsiteX6" fmla="*/ 1690064 w 2191678"/>
                <a:gd name="connsiteY6" fmla="*/ 807194 h 1116198"/>
                <a:gd name="connsiteX7" fmla="*/ 1683758 w 2191678"/>
                <a:gd name="connsiteY7" fmla="*/ 838725 h 1116198"/>
                <a:gd name="connsiteX8" fmla="*/ 1526103 w 2191678"/>
                <a:gd name="connsiteY8" fmla="*/ 1090974 h 1116198"/>
                <a:gd name="connsiteX9" fmla="*/ 1481959 w 2191678"/>
                <a:gd name="connsiteY9" fmla="*/ 1116198 h 1116198"/>
                <a:gd name="connsiteX10" fmla="*/ 1374754 w 2191678"/>
                <a:gd name="connsiteY10" fmla="*/ 1002687 h 1116198"/>
                <a:gd name="connsiteX11" fmla="*/ 699989 w 2191678"/>
                <a:gd name="connsiteY11" fmla="*/ 441434 h 1116198"/>
                <a:gd name="connsiteX12" fmla="*/ 157656 w 2191678"/>
                <a:gd name="connsiteY12" fmla="*/ 126124 h 1116198"/>
                <a:gd name="connsiteX13" fmla="*/ 119818 w 2191678"/>
                <a:gd name="connsiteY13" fmla="*/ 107205 h 1116198"/>
                <a:gd name="connsiteX14" fmla="*/ 0 w 2191678"/>
                <a:gd name="connsiteY14" fmla="*/ 107205 h 1116198"/>
                <a:gd name="connsiteX0" fmla="*/ 296392 w 2166982"/>
                <a:gd name="connsiteY0" fmla="*/ 0 h 1116198"/>
                <a:gd name="connsiteX1" fmla="*/ 2055824 w 2166982"/>
                <a:gd name="connsiteY1" fmla="*/ 94593 h 1116198"/>
                <a:gd name="connsiteX2" fmla="*/ 1967537 w 2166982"/>
                <a:gd name="connsiteY2" fmla="*/ 201798 h 1116198"/>
                <a:gd name="connsiteX3" fmla="*/ 1822494 w 2166982"/>
                <a:gd name="connsiteY3" fmla="*/ 447740 h 1116198"/>
                <a:gd name="connsiteX4" fmla="*/ 1790963 w 2166982"/>
                <a:gd name="connsiteY4" fmla="*/ 523415 h 1116198"/>
                <a:gd name="connsiteX5" fmla="*/ 1690064 w 2166982"/>
                <a:gd name="connsiteY5" fmla="*/ 807194 h 1116198"/>
                <a:gd name="connsiteX6" fmla="*/ 1683758 w 2166982"/>
                <a:gd name="connsiteY6" fmla="*/ 838725 h 1116198"/>
                <a:gd name="connsiteX7" fmla="*/ 1526103 w 2166982"/>
                <a:gd name="connsiteY7" fmla="*/ 1090974 h 1116198"/>
                <a:gd name="connsiteX8" fmla="*/ 1481959 w 2166982"/>
                <a:gd name="connsiteY8" fmla="*/ 1116198 h 1116198"/>
                <a:gd name="connsiteX9" fmla="*/ 1374754 w 2166982"/>
                <a:gd name="connsiteY9" fmla="*/ 1002687 h 1116198"/>
                <a:gd name="connsiteX10" fmla="*/ 699989 w 2166982"/>
                <a:gd name="connsiteY10" fmla="*/ 441434 h 1116198"/>
                <a:gd name="connsiteX11" fmla="*/ 157656 w 2166982"/>
                <a:gd name="connsiteY11" fmla="*/ 126124 h 1116198"/>
                <a:gd name="connsiteX12" fmla="*/ 119818 w 2166982"/>
                <a:gd name="connsiteY12" fmla="*/ 107205 h 1116198"/>
                <a:gd name="connsiteX13" fmla="*/ 0 w 2166982"/>
                <a:gd name="connsiteY13" fmla="*/ 107205 h 1116198"/>
                <a:gd name="connsiteX0" fmla="*/ 296392 w 2058734"/>
                <a:gd name="connsiteY0" fmla="*/ 0 h 1116198"/>
                <a:gd name="connsiteX1" fmla="*/ 1967537 w 2058734"/>
                <a:gd name="connsiteY1" fmla="*/ 201798 h 1116198"/>
                <a:gd name="connsiteX2" fmla="*/ 1822494 w 2058734"/>
                <a:gd name="connsiteY2" fmla="*/ 447740 h 1116198"/>
                <a:gd name="connsiteX3" fmla="*/ 1790963 w 2058734"/>
                <a:gd name="connsiteY3" fmla="*/ 523415 h 1116198"/>
                <a:gd name="connsiteX4" fmla="*/ 1690064 w 2058734"/>
                <a:gd name="connsiteY4" fmla="*/ 807194 h 1116198"/>
                <a:gd name="connsiteX5" fmla="*/ 1683758 w 2058734"/>
                <a:gd name="connsiteY5" fmla="*/ 838725 h 1116198"/>
                <a:gd name="connsiteX6" fmla="*/ 1526103 w 2058734"/>
                <a:gd name="connsiteY6" fmla="*/ 1090974 h 1116198"/>
                <a:gd name="connsiteX7" fmla="*/ 1481959 w 2058734"/>
                <a:gd name="connsiteY7" fmla="*/ 1116198 h 1116198"/>
                <a:gd name="connsiteX8" fmla="*/ 1374754 w 2058734"/>
                <a:gd name="connsiteY8" fmla="*/ 1002687 h 1116198"/>
                <a:gd name="connsiteX9" fmla="*/ 699989 w 2058734"/>
                <a:gd name="connsiteY9" fmla="*/ 441434 h 1116198"/>
                <a:gd name="connsiteX10" fmla="*/ 157656 w 2058734"/>
                <a:gd name="connsiteY10" fmla="*/ 126124 h 1116198"/>
                <a:gd name="connsiteX11" fmla="*/ 119818 w 2058734"/>
                <a:gd name="connsiteY11" fmla="*/ 107205 h 1116198"/>
                <a:gd name="connsiteX12" fmla="*/ 0 w 2058734"/>
                <a:gd name="connsiteY12" fmla="*/ 107205 h 1116198"/>
                <a:gd name="connsiteX0" fmla="*/ 296392 w 2078251"/>
                <a:gd name="connsiteY0" fmla="*/ 0 h 1116198"/>
                <a:gd name="connsiteX1" fmla="*/ 1992762 w 2078251"/>
                <a:gd name="connsiteY1" fmla="*/ 94593 h 1116198"/>
                <a:gd name="connsiteX2" fmla="*/ 1822494 w 2078251"/>
                <a:gd name="connsiteY2" fmla="*/ 447740 h 1116198"/>
                <a:gd name="connsiteX3" fmla="*/ 1790963 w 2078251"/>
                <a:gd name="connsiteY3" fmla="*/ 523415 h 1116198"/>
                <a:gd name="connsiteX4" fmla="*/ 1690064 w 2078251"/>
                <a:gd name="connsiteY4" fmla="*/ 807194 h 1116198"/>
                <a:gd name="connsiteX5" fmla="*/ 1683758 w 2078251"/>
                <a:gd name="connsiteY5" fmla="*/ 838725 h 1116198"/>
                <a:gd name="connsiteX6" fmla="*/ 1526103 w 2078251"/>
                <a:gd name="connsiteY6" fmla="*/ 1090974 h 1116198"/>
                <a:gd name="connsiteX7" fmla="*/ 1481959 w 2078251"/>
                <a:gd name="connsiteY7" fmla="*/ 1116198 h 1116198"/>
                <a:gd name="connsiteX8" fmla="*/ 1374754 w 2078251"/>
                <a:gd name="connsiteY8" fmla="*/ 1002687 h 1116198"/>
                <a:gd name="connsiteX9" fmla="*/ 699989 w 2078251"/>
                <a:gd name="connsiteY9" fmla="*/ 441434 h 1116198"/>
                <a:gd name="connsiteX10" fmla="*/ 157656 w 2078251"/>
                <a:gd name="connsiteY10" fmla="*/ 126124 h 1116198"/>
                <a:gd name="connsiteX11" fmla="*/ 119818 w 2078251"/>
                <a:gd name="connsiteY11" fmla="*/ 107205 h 1116198"/>
                <a:gd name="connsiteX12" fmla="*/ 0 w 2078251"/>
                <a:gd name="connsiteY12" fmla="*/ 107205 h 1116198"/>
                <a:gd name="connsiteX0" fmla="*/ 296392 w 2047223"/>
                <a:gd name="connsiteY0" fmla="*/ 0 h 1116198"/>
                <a:gd name="connsiteX1" fmla="*/ 1992762 w 2047223"/>
                <a:gd name="connsiteY1" fmla="*/ 94593 h 1116198"/>
                <a:gd name="connsiteX2" fmla="*/ 1822494 w 2047223"/>
                <a:gd name="connsiteY2" fmla="*/ 447740 h 1116198"/>
                <a:gd name="connsiteX3" fmla="*/ 1790963 w 2047223"/>
                <a:gd name="connsiteY3" fmla="*/ 523415 h 1116198"/>
                <a:gd name="connsiteX4" fmla="*/ 1690064 w 2047223"/>
                <a:gd name="connsiteY4" fmla="*/ 807194 h 1116198"/>
                <a:gd name="connsiteX5" fmla="*/ 1683758 w 2047223"/>
                <a:gd name="connsiteY5" fmla="*/ 838725 h 1116198"/>
                <a:gd name="connsiteX6" fmla="*/ 1526103 w 2047223"/>
                <a:gd name="connsiteY6" fmla="*/ 1090974 h 1116198"/>
                <a:gd name="connsiteX7" fmla="*/ 1481959 w 2047223"/>
                <a:gd name="connsiteY7" fmla="*/ 1116198 h 1116198"/>
                <a:gd name="connsiteX8" fmla="*/ 1374754 w 2047223"/>
                <a:gd name="connsiteY8" fmla="*/ 1002687 h 1116198"/>
                <a:gd name="connsiteX9" fmla="*/ 699989 w 2047223"/>
                <a:gd name="connsiteY9" fmla="*/ 441434 h 1116198"/>
                <a:gd name="connsiteX10" fmla="*/ 157656 w 2047223"/>
                <a:gd name="connsiteY10" fmla="*/ 126124 h 1116198"/>
                <a:gd name="connsiteX11" fmla="*/ 119818 w 2047223"/>
                <a:gd name="connsiteY11" fmla="*/ 107205 h 1116198"/>
                <a:gd name="connsiteX12" fmla="*/ 0 w 2047223"/>
                <a:gd name="connsiteY12" fmla="*/ 107205 h 1116198"/>
                <a:gd name="connsiteX0" fmla="*/ 296392 w 2048583"/>
                <a:gd name="connsiteY0" fmla="*/ 0 h 1116198"/>
                <a:gd name="connsiteX1" fmla="*/ 1992762 w 2048583"/>
                <a:gd name="connsiteY1" fmla="*/ 94593 h 1116198"/>
                <a:gd name="connsiteX2" fmla="*/ 1822494 w 2048583"/>
                <a:gd name="connsiteY2" fmla="*/ 447740 h 1116198"/>
                <a:gd name="connsiteX3" fmla="*/ 1790963 w 2048583"/>
                <a:gd name="connsiteY3" fmla="*/ 523415 h 1116198"/>
                <a:gd name="connsiteX4" fmla="*/ 1690064 w 2048583"/>
                <a:gd name="connsiteY4" fmla="*/ 807194 h 1116198"/>
                <a:gd name="connsiteX5" fmla="*/ 1683758 w 2048583"/>
                <a:gd name="connsiteY5" fmla="*/ 838725 h 1116198"/>
                <a:gd name="connsiteX6" fmla="*/ 1526103 w 2048583"/>
                <a:gd name="connsiteY6" fmla="*/ 1090974 h 1116198"/>
                <a:gd name="connsiteX7" fmla="*/ 1481959 w 2048583"/>
                <a:gd name="connsiteY7" fmla="*/ 1116198 h 1116198"/>
                <a:gd name="connsiteX8" fmla="*/ 1374754 w 2048583"/>
                <a:gd name="connsiteY8" fmla="*/ 1002687 h 1116198"/>
                <a:gd name="connsiteX9" fmla="*/ 699989 w 2048583"/>
                <a:gd name="connsiteY9" fmla="*/ 441434 h 1116198"/>
                <a:gd name="connsiteX10" fmla="*/ 157656 w 2048583"/>
                <a:gd name="connsiteY10" fmla="*/ 126124 h 1116198"/>
                <a:gd name="connsiteX11" fmla="*/ 119818 w 2048583"/>
                <a:gd name="connsiteY11" fmla="*/ 107205 h 1116198"/>
                <a:gd name="connsiteX12" fmla="*/ 0 w 2048583"/>
                <a:gd name="connsiteY12" fmla="*/ 107205 h 1116198"/>
                <a:gd name="connsiteX0" fmla="*/ 264861 w 2080448"/>
                <a:gd name="connsiteY0" fmla="*/ 0 h 1097279"/>
                <a:gd name="connsiteX1" fmla="*/ 1992762 w 2080448"/>
                <a:gd name="connsiteY1" fmla="*/ 75674 h 1097279"/>
                <a:gd name="connsiteX2" fmla="*/ 1822494 w 2080448"/>
                <a:gd name="connsiteY2" fmla="*/ 428821 h 1097279"/>
                <a:gd name="connsiteX3" fmla="*/ 1790963 w 2080448"/>
                <a:gd name="connsiteY3" fmla="*/ 504496 h 1097279"/>
                <a:gd name="connsiteX4" fmla="*/ 1690064 w 2080448"/>
                <a:gd name="connsiteY4" fmla="*/ 788275 h 1097279"/>
                <a:gd name="connsiteX5" fmla="*/ 1683758 w 2080448"/>
                <a:gd name="connsiteY5" fmla="*/ 819806 h 1097279"/>
                <a:gd name="connsiteX6" fmla="*/ 1526103 w 2080448"/>
                <a:gd name="connsiteY6" fmla="*/ 1072055 h 1097279"/>
                <a:gd name="connsiteX7" fmla="*/ 1481959 w 2080448"/>
                <a:gd name="connsiteY7" fmla="*/ 1097279 h 1097279"/>
                <a:gd name="connsiteX8" fmla="*/ 1374754 w 2080448"/>
                <a:gd name="connsiteY8" fmla="*/ 983768 h 1097279"/>
                <a:gd name="connsiteX9" fmla="*/ 699989 w 2080448"/>
                <a:gd name="connsiteY9" fmla="*/ 422515 h 1097279"/>
                <a:gd name="connsiteX10" fmla="*/ 157656 w 2080448"/>
                <a:gd name="connsiteY10" fmla="*/ 107205 h 1097279"/>
                <a:gd name="connsiteX11" fmla="*/ 119818 w 2080448"/>
                <a:gd name="connsiteY11" fmla="*/ 88286 h 1097279"/>
                <a:gd name="connsiteX12" fmla="*/ 0 w 2080448"/>
                <a:gd name="connsiteY12" fmla="*/ 88286 h 1097279"/>
                <a:gd name="connsiteX0" fmla="*/ 264861 w 2080448"/>
                <a:gd name="connsiteY0" fmla="*/ 9767 h 1107046"/>
                <a:gd name="connsiteX1" fmla="*/ 1992762 w 2080448"/>
                <a:gd name="connsiteY1" fmla="*/ 85441 h 1107046"/>
                <a:gd name="connsiteX2" fmla="*/ 1822494 w 2080448"/>
                <a:gd name="connsiteY2" fmla="*/ 438588 h 1107046"/>
                <a:gd name="connsiteX3" fmla="*/ 1790963 w 2080448"/>
                <a:gd name="connsiteY3" fmla="*/ 514263 h 1107046"/>
                <a:gd name="connsiteX4" fmla="*/ 1690064 w 2080448"/>
                <a:gd name="connsiteY4" fmla="*/ 798042 h 1107046"/>
                <a:gd name="connsiteX5" fmla="*/ 1683758 w 2080448"/>
                <a:gd name="connsiteY5" fmla="*/ 829573 h 1107046"/>
                <a:gd name="connsiteX6" fmla="*/ 1526103 w 2080448"/>
                <a:gd name="connsiteY6" fmla="*/ 1081822 h 1107046"/>
                <a:gd name="connsiteX7" fmla="*/ 1481959 w 2080448"/>
                <a:gd name="connsiteY7" fmla="*/ 1107046 h 1107046"/>
                <a:gd name="connsiteX8" fmla="*/ 1374754 w 2080448"/>
                <a:gd name="connsiteY8" fmla="*/ 993535 h 1107046"/>
                <a:gd name="connsiteX9" fmla="*/ 699989 w 2080448"/>
                <a:gd name="connsiteY9" fmla="*/ 432282 h 1107046"/>
                <a:gd name="connsiteX10" fmla="*/ 157656 w 2080448"/>
                <a:gd name="connsiteY10" fmla="*/ 116972 h 1107046"/>
                <a:gd name="connsiteX11" fmla="*/ 119818 w 2080448"/>
                <a:gd name="connsiteY11" fmla="*/ 98053 h 1107046"/>
                <a:gd name="connsiteX12" fmla="*/ 0 w 2080448"/>
                <a:gd name="connsiteY12" fmla="*/ 98053 h 1107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80448" h="1107046">
                  <a:moveTo>
                    <a:pt x="264861" y="9767"/>
                  </a:moveTo>
                  <a:cubicBezTo>
                    <a:pt x="1029226" y="-17561"/>
                    <a:pt x="1733157" y="13971"/>
                    <a:pt x="1992762" y="85441"/>
                  </a:cubicBezTo>
                  <a:cubicBezTo>
                    <a:pt x="2252367" y="156911"/>
                    <a:pt x="1856127" y="367118"/>
                    <a:pt x="1822494" y="438588"/>
                  </a:cubicBezTo>
                  <a:cubicBezTo>
                    <a:pt x="1788861" y="510058"/>
                    <a:pt x="1800410" y="488621"/>
                    <a:pt x="1790963" y="514263"/>
                  </a:cubicBezTo>
                  <a:cubicBezTo>
                    <a:pt x="1756256" y="608467"/>
                    <a:pt x="1722381" y="702991"/>
                    <a:pt x="1690064" y="798042"/>
                  </a:cubicBezTo>
                  <a:cubicBezTo>
                    <a:pt x="1686614" y="808190"/>
                    <a:pt x="1688740" y="820083"/>
                    <a:pt x="1683758" y="829573"/>
                  </a:cubicBezTo>
                  <a:cubicBezTo>
                    <a:pt x="1681024" y="834781"/>
                    <a:pt x="1594615" y="1030439"/>
                    <a:pt x="1526103" y="1081822"/>
                  </a:cubicBezTo>
                  <a:cubicBezTo>
                    <a:pt x="1512545" y="1091990"/>
                    <a:pt x="1496674" y="1098638"/>
                    <a:pt x="1481959" y="1107046"/>
                  </a:cubicBezTo>
                  <a:cubicBezTo>
                    <a:pt x="1446224" y="1069209"/>
                    <a:pt x="1412498" y="1029368"/>
                    <a:pt x="1374754" y="993535"/>
                  </a:cubicBezTo>
                  <a:cubicBezTo>
                    <a:pt x="1114441" y="746402"/>
                    <a:pt x="986349" y="611530"/>
                    <a:pt x="699989" y="432282"/>
                  </a:cubicBezTo>
                  <a:cubicBezTo>
                    <a:pt x="522740" y="321332"/>
                    <a:pt x="344690" y="210489"/>
                    <a:pt x="157656" y="116972"/>
                  </a:cubicBezTo>
                  <a:cubicBezTo>
                    <a:pt x="145043" y="110666"/>
                    <a:pt x="146094" y="101206"/>
                    <a:pt x="119818" y="98053"/>
                  </a:cubicBezTo>
                  <a:cubicBezTo>
                    <a:pt x="93542" y="94900"/>
                    <a:pt x="19517" y="105860"/>
                    <a:pt x="0" y="98053"/>
                  </a:cubicBezTo>
                </a:path>
              </a:pathLst>
            </a:cu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Freihandform 13"/>
            <p:cNvSpPr/>
            <p:nvPr/>
          </p:nvSpPr>
          <p:spPr>
            <a:xfrm>
              <a:off x="479271" y="2417761"/>
              <a:ext cx="3512581" cy="3520754"/>
            </a:xfrm>
            <a:custGeom>
              <a:avLst/>
              <a:gdLst>
                <a:gd name="connsiteX0" fmla="*/ 1021606 w 3558511"/>
                <a:gd name="connsiteY0" fmla="*/ 290086 h 3323371"/>
                <a:gd name="connsiteX1" fmla="*/ 1021606 w 3558511"/>
                <a:gd name="connsiteY1" fmla="*/ 290086 h 3323371"/>
                <a:gd name="connsiteX2" fmla="*/ 1027912 w 3558511"/>
                <a:gd name="connsiteY2" fmla="*/ 1027912 h 3323371"/>
                <a:gd name="connsiteX3" fmla="*/ 1015300 w 3558511"/>
                <a:gd name="connsiteY3" fmla="*/ 1128811 h 3323371"/>
                <a:gd name="connsiteX4" fmla="*/ 882869 w 3558511"/>
                <a:gd name="connsiteY4" fmla="*/ 1696370 h 3323371"/>
                <a:gd name="connsiteX5" fmla="*/ 618009 w 3558511"/>
                <a:gd name="connsiteY5" fmla="*/ 2345909 h 3323371"/>
                <a:gd name="connsiteX6" fmla="*/ 554947 w 3558511"/>
                <a:gd name="connsiteY6" fmla="*/ 2484646 h 3323371"/>
                <a:gd name="connsiteX7" fmla="*/ 18919 w 3558511"/>
                <a:gd name="connsiteY7" fmla="*/ 3241391 h 3323371"/>
                <a:gd name="connsiteX8" fmla="*/ 0 w 3558511"/>
                <a:gd name="connsiteY8" fmla="*/ 3254003 h 3323371"/>
                <a:gd name="connsiteX9" fmla="*/ 176574 w 3558511"/>
                <a:gd name="connsiteY9" fmla="*/ 3279228 h 3323371"/>
                <a:gd name="connsiteX10" fmla="*/ 1040524 w 3558511"/>
                <a:gd name="connsiteY10" fmla="*/ 3310759 h 3323371"/>
                <a:gd name="connsiteX11" fmla="*/ 2011680 w 3558511"/>
                <a:gd name="connsiteY11" fmla="*/ 3317065 h 3323371"/>
                <a:gd name="connsiteX12" fmla="*/ 2787344 w 3558511"/>
                <a:gd name="connsiteY12" fmla="*/ 3323371 h 3323371"/>
                <a:gd name="connsiteX13" fmla="*/ 2837793 w 3558511"/>
                <a:gd name="connsiteY13" fmla="*/ 3317065 h 3323371"/>
                <a:gd name="connsiteX14" fmla="*/ 2869324 w 3558511"/>
                <a:gd name="connsiteY14" fmla="*/ 3291840 h 3323371"/>
                <a:gd name="connsiteX15" fmla="*/ 2976530 w 3558511"/>
                <a:gd name="connsiteY15" fmla="*/ 3172022 h 3323371"/>
                <a:gd name="connsiteX16" fmla="*/ 3247697 w 3558511"/>
                <a:gd name="connsiteY16" fmla="*/ 2635995 h 3323371"/>
                <a:gd name="connsiteX17" fmla="*/ 3392740 w 3558511"/>
                <a:gd name="connsiteY17" fmla="*/ 2245010 h 3323371"/>
                <a:gd name="connsiteX18" fmla="*/ 3499945 w 3558511"/>
                <a:gd name="connsiteY18" fmla="*/ 1809882 h 3323371"/>
                <a:gd name="connsiteX19" fmla="*/ 3531476 w 3558511"/>
                <a:gd name="connsiteY19" fmla="*/ 245942 h 3323371"/>
                <a:gd name="connsiteX20" fmla="*/ 3499945 w 3558511"/>
                <a:gd name="connsiteY20" fmla="*/ 94593 h 3323371"/>
                <a:gd name="connsiteX21" fmla="*/ 3481027 w 3558511"/>
                <a:gd name="connsiteY21" fmla="*/ 37838 h 3323371"/>
                <a:gd name="connsiteX22" fmla="*/ 3436883 w 3558511"/>
                <a:gd name="connsiteY22" fmla="*/ 12613 h 3323371"/>
                <a:gd name="connsiteX23" fmla="*/ 3354902 w 3558511"/>
                <a:gd name="connsiteY23" fmla="*/ 0 h 3323371"/>
                <a:gd name="connsiteX24" fmla="*/ 3235084 w 3558511"/>
                <a:gd name="connsiteY24" fmla="*/ 6307 h 3323371"/>
                <a:gd name="connsiteX25" fmla="*/ 3165716 w 3558511"/>
                <a:gd name="connsiteY25" fmla="*/ 18919 h 3323371"/>
                <a:gd name="connsiteX26" fmla="*/ 2995449 w 3558511"/>
                <a:gd name="connsiteY26" fmla="*/ 138737 h 3323371"/>
                <a:gd name="connsiteX27" fmla="*/ 2888243 w 3558511"/>
                <a:gd name="connsiteY27" fmla="*/ 245942 h 3323371"/>
                <a:gd name="connsiteX28" fmla="*/ 2806262 w 3558511"/>
                <a:gd name="connsiteY28" fmla="*/ 346842 h 3323371"/>
                <a:gd name="connsiteX29" fmla="*/ 2812569 w 3558511"/>
                <a:gd name="connsiteY29" fmla="*/ 309004 h 3323371"/>
                <a:gd name="connsiteX30" fmla="*/ 2799956 w 3558511"/>
                <a:gd name="connsiteY30" fmla="*/ 163962 h 3323371"/>
                <a:gd name="connsiteX31" fmla="*/ 2793650 w 3558511"/>
                <a:gd name="connsiteY31" fmla="*/ 145043 h 3323371"/>
                <a:gd name="connsiteX32" fmla="*/ 2768425 w 3558511"/>
                <a:gd name="connsiteY32" fmla="*/ 107206 h 3323371"/>
                <a:gd name="connsiteX33" fmla="*/ 2717976 w 3558511"/>
                <a:gd name="connsiteY33" fmla="*/ 56756 h 3323371"/>
                <a:gd name="connsiteX34" fmla="*/ 2572933 w 3558511"/>
                <a:gd name="connsiteY34" fmla="*/ 18919 h 3323371"/>
                <a:gd name="connsiteX35" fmla="*/ 983769 w 3558511"/>
                <a:gd name="connsiteY35" fmla="*/ 31531 h 3323371"/>
                <a:gd name="connsiteX36" fmla="*/ 939625 w 3558511"/>
                <a:gd name="connsiteY36" fmla="*/ 69369 h 3323371"/>
                <a:gd name="connsiteX37" fmla="*/ 945931 w 3558511"/>
                <a:gd name="connsiteY37" fmla="*/ 88287 h 3323371"/>
                <a:gd name="connsiteX38" fmla="*/ 958544 w 3558511"/>
                <a:gd name="connsiteY38" fmla="*/ 119818 h 3323371"/>
                <a:gd name="connsiteX39" fmla="*/ 983769 w 3558511"/>
                <a:gd name="connsiteY39" fmla="*/ 208105 h 3323371"/>
                <a:gd name="connsiteX40" fmla="*/ 1021606 w 3558511"/>
                <a:gd name="connsiteY40" fmla="*/ 290086 h 3323371"/>
                <a:gd name="connsiteX0" fmla="*/ 983769 w 3558511"/>
                <a:gd name="connsiteY0" fmla="*/ 208105 h 3323371"/>
                <a:gd name="connsiteX1" fmla="*/ 1021606 w 3558511"/>
                <a:gd name="connsiteY1" fmla="*/ 290086 h 3323371"/>
                <a:gd name="connsiteX2" fmla="*/ 1027912 w 3558511"/>
                <a:gd name="connsiteY2" fmla="*/ 1027912 h 3323371"/>
                <a:gd name="connsiteX3" fmla="*/ 1015300 w 3558511"/>
                <a:gd name="connsiteY3" fmla="*/ 1128811 h 3323371"/>
                <a:gd name="connsiteX4" fmla="*/ 882869 w 3558511"/>
                <a:gd name="connsiteY4" fmla="*/ 1696370 h 3323371"/>
                <a:gd name="connsiteX5" fmla="*/ 618009 w 3558511"/>
                <a:gd name="connsiteY5" fmla="*/ 2345909 h 3323371"/>
                <a:gd name="connsiteX6" fmla="*/ 554947 w 3558511"/>
                <a:gd name="connsiteY6" fmla="*/ 2484646 h 3323371"/>
                <a:gd name="connsiteX7" fmla="*/ 18919 w 3558511"/>
                <a:gd name="connsiteY7" fmla="*/ 3241391 h 3323371"/>
                <a:gd name="connsiteX8" fmla="*/ 0 w 3558511"/>
                <a:gd name="connsiteY8" fmla="*/ 3254003 h 3323371"/>
                <a:gd name="connsiteX9" fmla="*/ 176574 w 3558511"/>
                <a:gd name="connsiteY9" fmla="*/ 3279228 h 3323371"/>
                <a:gd name="connsiteX10" fmla="*/ 1040524 w 3558511"/>
                <a:gd name="connsiteY10" fmla="*/ 3310759 h 3323371"/>
                <a:gd name="connsiteX11" fmla="*/ 2011680 w 3558511"/>
                <a:gd name="connsiteY11" fmla="*/ 3317065 h 3323371"/>
                <a:gd name="connsiteX12" fmla="*/ 2787344 w 3558511"/>
                <a:gd name="connsiteY12" fmla="*/ 3323371 h 3323371"/>
                <a:gd name="connsiteX13" fmla="*/ 2837793 w 3558511"/>
                <a:gd name="connsiteY13" fmla="*/ 3317065 h 3323371"/>
                <a:gd name="connsiteX14" fmla="*/ 2869324 w 3558511"/>
                <a:gd name="connsiteY14" fmla="*/ 3291840 h 3323371"/>
                <a:gd name="connsiteX15" fmla="*/ 2976530 w 3558511"/>
                <a:gd name="connsiteY15" fmla="*/ 3172022 h 3323371"/>
                <a:gd name="connsiteX16" fmla="*/ 3247697 w 3558511"/>
                <a:gd name="connsiteY16" fmla="*/ 2635995 h 3323371"/>
                <a:gd name="connsiteX17" fmla="*/ 3392740 w 3558511"/>
                <a:gd name="connsiteY17" fmla="*/ 2245010 h 3323371"/>
                <a:gd name="connsiteX18" fmla="*/ 3499945 w 3558511"/>
                <a:gd name="connsiteY18" fmla="*/ 1809882 h 3323371"/>
                <a:gd name="connsiteX19" fmla="*/ 3531476 w 3558511"/>
                <a:gd name="connsiteY19" fmla="*/ 245942 h 3323371"/>
                <a:gd name="connsiteX20" fmla="*/ 3499945 w 3558511"/>
                <a:gd name="connsiteY20" fmla="*/ 94593 h 3323371"/>
                <a:gd name="connsiteX21" fmla="*/ 3481027 w 3558511"/>
                <a:gd name="connsiteY21" fmla="*/ 37838 h 3323371"/>
                <a:gd name="connsiteX22" fmla="*/ 3436883 w 3558511"/>
                <a:gd name="connsiteY22" fmla="*/ 12613 h 3323371"/>
                <a:gd name="connsiteX23" fmla="*/ 3354902 w 3558511"/>
                <a:gd name="connsiteY23" fmla="*/ 0 h 3323371"/>
                <a:gd name="connsiteX24" fmla="*/ 3235084 w 3558511"/>
                <a:gd name="connsiteY24" fmla="*/ 6307 h 3323371"/>
                <a:gd name="connsiteX25" fmla="*/ 3165716 w 3558511"/>
                <a:gd name="connsiteY25" fmla="*/ 18919 h 3323371"/>
                <a:gd name="connsiteX26" fmla="*/ 2995449 w 3558511"/>
                <a:gd name="connsiteY26" fmla="*/ 138737 h 3323371"/>
                <a:gd name="connsiteX27" fmla="*/ 2888243 w 3558511"/>
                <a:gd name="connsiteY27" fmla="*/ 245942 h 3323371"/>
                <a:gd name="connsiteX28" fmla="*/ 2806262 w 3558511"/>
                <a:gd name="connsiteY28" fmla="*/ 346842 h 3323371"/>
                <a:gd name="connsiteX29" fmla="*/ 2812569 w 3558511"/>
                <a:gd name="connsiteY29" fmla="*/ 309004 h 3323371"/>
                <a:gd name="connsiteX30" fmla="*/ 2799956 w 3558511"/>
                <a:gd name="connsiteY30" fmla="*/ 163962 h 3323371"/>
                <a:gd name="connsiteX31" fmla="*/ 2793650 w 3558511"/>
                <a:gd name="connsiteY31" fmla="*/ 145043 h 3323371"/>
                <a:gd name="connsiteX32" fmla="*/ 2768425 w 3558511"/>
                <a:gd name="connsiteY32" fmla="*/ 107206 h 3323371"/>
                <a:gd name="connsiteX33" fmla="*/ 2717976 w 3558511"/>
                <a:gd name="connsiteY33" fmla="*/ 56756 h 3323371"/>
                <a:gd name="connsiteX34" fmla="*/ 2572933 w 3558511"/>
                <a:gd name="connsiteY34" fmla="*/ 18919 h 3323371"/>
                <a:gd name="connsiteX35" fmla="*/ 983769 w 3558511"/>
                <a:gd name="connsiteY35" fmla="*/ 31531 h 3323371"/>
                <a:gd name="connsiteX36" fmla="*/ 939625 w 3558511"/>
                <a:gd name="connsiteY36" fmla="*/ 69369 h 3323371"/>
                <a:gd name="connsiteX37" fmla="*/ 945931 w 3558511"/>
                <a:gd name="connsiteY37" fmla="*/ 88287 h 3323371"/>
                <a:gd name="connsiteX38" fmla="*/ 958544 w 3558511"/>
                <a:gd name="connsiteY38" fmla="*/ 119818 h 3323371"/>
                <a:gd name="connsiteX39" fmla="*/ 983769 w 3558511"/>
                <a:gd name="connsiteY39" fmla="*/ 208105 h 3323371"/>
                <a:gd name="connsiteX0" fmla="*/ 983769 w 3558511"/>
                <a:gd name="connsiteY0" fmla="*/ 208105 h 3323371"/>
                <a:gd name="connsiteX1" fmla="*/ 1027912 w 3558511"/>
                <a:gd name="connsiteY1" fmla="*/ 1027912 h 3323371"/>
                <a:gd name="connsiteX2" fmla="*/ 1015300 w 3558511"/>
                <a:gd name="connsiteY2" fmla="*/ 1128811 h 3323371"/>
                <a:gd name="connsiteX3" fmla="*/ 882869 w 3558511"/>
                <a:gd name="connsiteY3" fmla="*/ 1696370 h 3323371"/>
                <a:gd name="connsiteX4" fmla="*/ 618009 w 3558511"/>
                <a:gd name="connsiteY4" fmla="*/ 2345909 h 3323371"/>
                <a:gd name="connsiteX5" fmla="*/ 554947 w 3558511"/>
                <a:gd name="connsiteY5" fmla="*/ 2484646 h 3323371"/>
                <a:gd name="connsiteX6" fmla="*/ 18919 w 3558511"/>
                <a:gd name="connsiteY6" fmla="*/ 3241391 h 3323371"/>
                <a:gd name="connsiteX7" fmla="*/ 0 w 3558511"/>
                <a:gd name="connsiteY7" fmla="*/ 3254003 h 3323371"/>
                <a:gd name="connsiteX8" fmla="*/ 176574 w 3558511"/>
                <a:gd name="connsiteY8" fmla="*/ 3279228 h 3323371"/>
                <a:gd name="connsiteX9" fmla="*/ 1040524 w 3558511"/>
                <a:gd name="connsiteY9" fmla="*/ 3310759 h 3323371"/>
                <a:gd name="connsiteX10" fmla="*/ 2011680 w 3558511"/>
                <a:gd name="connsiteY10" fmla="*/ 3317065 h 3323371"/>
                <a:gd name="connsiteX11" fmla="*/ 2787344 w 3558511"/>
                <a:gd name="connsiteY11" fmla="*/ 3323371 h 3323371"/>
                <a:gd name="connsiteX12" fmla="*/ 2837793 w 3558511"/>
                <a:gd name="connsiteY12" fmla="*/ 3317065 h 3323371"/>
                <a:gd name="connsiteX13" fmla="*/ 2869324 w 3558511"/>
                <a:gd name="connsiteY13" fmla="*/ 3291840 h 3323371"/>
                <a:gd name="connsiteX14" fmla="*/ 2976530 w 3558511"/>
                <a:gd name="connsiteY14" fmla="*/ 3172022 h 3323371"/>
                <a:gd name="connsiteX15" fmla="*/ 3247697 w 3558511"/>
                <a:gd name="connsiteY15" fmla="*/ 2635995 h 3323371"/>
                <a:gd name="connsiteX16" fmla="*/ 3392740 w 3558511"/>
                <a:gd name="connsiteY16" fmla="*/ 2245010 h 3323371"/>
                <a:gd name="connsiteX17" fmla="*/ 3499945 w 3558511"/>
                <a:gd name="connsiteY17" fmla="*/ 1809882 h 3323371"/>
                <a:gd name="connsiteX18" fmla="*/ 3531476 w 3558511"/>
                <a:gd name="connsiteY18" fmla="*/ 245942 h 3323371"/>
                <a:gd name="connsiteX19" fmla="*/ 3499945 w 3558511"/>
                <a:gd name="connsiteY19" fmla="*/ 94593 h 3323371"/>
                <a:gd name="connsiteX20" fmla="*/ 3481027 w 3558511"/>
                <a:gd name="connsiteY20" fmla="*/ 37838 h 3323371"/>
                <a:gd name="connsiteX21" fmla="*/ 3436883 w 3558511"/>
                <a:gd name="connsiteY21" fmla="*/ 12613 h 3323371"/>
                <a:gd name="connsiteX22" fmla="*/ 3354902 w 3558511"/>
                <a:gd name="connsiteY22" fmla="*/ 0 h 3323371"/>
                <a:gd name="connsiteX23" fmla="*/ 3235084 w 3558511"/>
                <a:gd name="connsiteY23" fmla="*/ 6307 h 3323371"/>
                <a:gd name="connsiteX24" fmla="*/ 3165716 w 3558511"/>
                <a:gd name="connsiteY24" fmla="*/ 18919 h 3323371"/>
                <a:gd name="connsiteX25" fmla="*/ 2995449 w 3558511"/>
                <a:gd name="connsiteY25" fmla="*/ 138737 h 3323371"/>
                <a:gd name="connsiteX26" fmla="*/ 2888243 w 3558511"/>
                <a:gd name="connsiteY26" fmla="*/ 245942 h 3323371"/>
                <a:gd name="connsiteX27" fmla="*/ 2806262 w 3558511"/>
                <a:gd name="connsiteY27" fmla="*/ 346842 h 3323371"/>
                <a:gd name="connsiteX28" fmla="*/ 2812569 w 3558511"/>
                <a:gd name="connsiteY28" fmla="*/ 309004 h 3323371"/>
                <a:gd name="connsiteX29" fmla="*/ 2799956 w 3558511"/>
                <a:gd name="connsiteY29" fmla="*/ 163962 h 3323371"/>
                <a:gd name="connsiteX30" fmla="*/ 2793650 w 3558511"/>
                <a:gd name="connsiteY30" fmla="*/ 145043 h 3323371"/>
                <a:gd name="connsiteX31" fmla="*/ 2768425 w 3558511"/>
                <a:gd name="connsiteY31" fmla="*/ 107206 h 3323371"/>
                <a:gd name="connsiteX32" fmla="*/ 2717976 w 3558511"/>
                <a:gd name="connsiteY32" fmla="*/ 56756 h 3323371"/>
                <a:gd name="connsiteX33" fmla="*/ 2572933 w 3558511"/>
                <a:gd name="connsiteY33" fmla="*/ 18919 h 3323371"/>
                <a:gd name="connsiteX34" fmla="*/ 983769 w 3558511"/>
                <a:gd name="connsiteY34" fmla="*/ 31531 h 3323371"/>
                <a:gd name="connsiteX35" fmla="*/ 939625 w 3558511"/>
                <a:gd name="connsiteY35" fmla="*/ 69369 h 3323371"/>
                <a:gd name="connsiteX36" fmla="*/ 945931 w 3558511"/>
                <a:gd name="connsiteY36" fmla="*/ 88287 h 3323371"/>
                <a:gd name="connsiteX37" fmla="*/ 958544 w 3558511"/>
                <a:gd name="connsiteY37" fmla="*/ 119818 h 3323371"/>
                <a:gd name="connsiteX38" fmla="*/ 983769 w 3558511"/>
                <a:gd name="connsiteY38" fmla="*/ 208105 h 3323371"/>
                <a:gd name="connsiteX0" fmla="*/ 958544 w 3558511"/>
                <a:gd name="connsiteY0" fmla="*/ 119818 h 3323371"/>
                <a:gd name="connsiteX1" fmla="*/ 1027912 w 3558511"/>
                <a:gd name="connsiteY1" fmla="*/ 1027912 h 3323371"/>
                <a:gd name="connsiteX2" fmla="*/ 1015300 w 3558511"/>
                <a:gd name="connsiteY2" fmla="*/ 1128811 h 3323371"/>
                <a:gd name="connsiteX3" fmla="*/ 882869 w 3558511"/>
                <a:gd name="connsiteY3" fmla="*/ 1696370 h 3323371"/>
                <a:gd name="connsiteX4" fmla="*/ 618009 w 3558511"/>
                <a:gd name="connsiteY4" fmla="*/ 2345909 h 3323371"/>
                <a:gd name="connsiteX5" fmla="*/ 554947 w 3558511"/>
                <a:gd name="connsiteY5" fmla="*/ 2484646 h 3323371"/>
                <a:gd name="connsiteX6" fmla="*/ 18919 w 3558511"/>
                <a:gd name="connsiteY6" fmla="*/ 3241391 h 3323371"/>
                <a:gd name="connsiteX7" fmla="*/ 0 w 3558511"/>
                <a:gd name="connsiteY7" fmla="*/ 3254003 h 3323371"/>
                <a:gd name="connsiteX8" fmla="*/ 176574 w 3558511"/>
                <a:gd name="connsiteY8" fmla="*/ 3279228 h 3323371"/>
                <a:gd name="connsiteX9" fmla="*/ 1040524 w 3558511"/>
                <a:gd name="connsiteY9" fmla="*/ 3310759 h 3323371"/>
                <a:gd name="connsiteX10" fmla="*/ 2011680 w 3558511"/>
                <a:gd name="connsiteY10" fmla="*/ 3317065 h 3323371"/>
                <a:gd name="connsiteX11" fmla="*/ 2787344 w 3558511"/>
                <a:gd name="connsiteY11" fmla="*/ 3323371 h 3323371"/>
                <a:gd name="connsiteX12" fmla="*/ 2837793 w 3558511"/>
                <a:gd name="connsiteY12" fmla="*/ 3317065 h 3323371"/>
                <a:gd name="connsiteX13" fmla="*/ 2869324 w 3558511"/>
                <a:gd name="connsiteY13" fmla="*/ 3291840 h 3323371"/>
                <a:gd name="connsiteX14" fmla="*/ 2976530 w 3558511"/>
                <a:gd name="connsiteY14" fmla="*/ 3172022 h 3323371"/>
                <a:gd name="connsiteX15" fmla="*/ 3247697 w 3558511"/>
                <a:gd name="connsiteY15" fmla="*/ 2635995 h 3323371"/>
                <a:gd name="connsiteX16" fmla="*/ 3392740 w 3558511"/>
                <a:gd name="connsiteY16" fmla="*/ 2245010 h 3323371"/>
                <a:gd name="connsiteX17" fmla="*/ 3499945 w 3558511"/>
                <a:gd name="connsiteY17" fmla="*/ 1809882 h 3323371"/>
                <a:gd name="connsiteX18" fmla="*/ 3531476 w 3558511"/>
                <a:gd name="connsiteY18" fmla="*/ 245942 h 3323371"/>
                <a:gd name="connsiteX19" fmla="*/ 3499945 w 3558511"/>
                <a:gd name="connsiteY19" fmla="*/ 94593 h 3323371"/>
                <a:gd name="connsiteX20" fmla="*/ 3481027 w 3558511"/>
                <a:gd name="connsiteY20" fmla="*/ 37838 h 3323371"/>
                <a:gd name="connsiteX21" fmla="*/ 3436883 w 3558511"/>
                <a:gd name="connsiteY21" fmla="*/ 12613 h 3323371"/>
                <a:gd name="connsiteX22" fmla="*/ 3354902 w 3558511"/>
                <a:gd name="connsiteY22" fmla="*/ 0 h 3323371"/>
                <a:gd name="connsiteX23" fmla="*/ 3235084 w 3558511"/>
                <a:gd name="connsiteY23" fmla="*/ 6307 h 3323371"/>
                <a:gd name="connsiteX24" fmla="*/ 3165716 w 3558511"/>
                <a:gd name="connsiteY24" fmla="*/ 18919 h 3323371"/>
                <a:gd name="connsiteX25" fmla="*/ 2995449 w 3558511"/>
                <a:gd name="connsiteY25" fmla="*/ 138737 h 3323371"/>
                <a:gd name="connsiteX26" fmla="*/ 2888243 w 3558511"/>
                <a:gd name="connsiteY26" fmla="*/ 245942 h 3323371"/>
                <a:gd name="connsiteX27" fmla="*/ 2806262 w 3558511"/>
                <a:gd name="connsiteY27" fmla="*/ 346842 h 3323371"/>
                <a:gd name="connsiteX28" fmla="*/ 2812569 w 3558511"/>
                <a:gd name="connsiteY28" fmla="*/ 309004 h 3323371"/>
                <a:gd name="connsiteX29" fmla="*/ 2799956 w 3558511"/>
                <a:gd name="connsiteY29" fmla="*/ 163962 h 3323371"/>
                <a:gd name="connsiteX30" fmla="*/ 2793650 w 3558511"/>
                <a:gd name="connsiteY30" fmla="*/ 145043 h 3323371"/>
                <a:gd name="connsiteX31" fmla="*/ 2768425 w 3558511"/>
                <a:gd name="connsiteY31" fmla="*/ 107206 h 3323371"/>
                <a:gd name="connsiteX32" fmla="*/ 2717976 w 3558511"/>
                <a:gd name="connsiteY32" fmla="*/ 56756 h 3323371"/>
                <a:gd name="connsiteX33" fmla="*/ 2572933 w 3558511"/>
                <a:gd name="connsiteY33" fmla="*/ 18919 h 3323371"/>
                <a:gd name="connsiteX34" fmla="*/ 983769 w 3558511"/>
                <a:gd name="connsiteY34" fmla="*/ 31531 h 3323371"/>
                <a:gd name="connsiteX35" fmla="*/ 939625 w 3558511"/>
                <a:gd name="connsiteY35" fmla="*/ 69369 h 3323371"/>
                <a:gd name="connsiteX36" fmla="*/ 945931 w 3558511"/>
                <a:gd name="connsiteY36" fmla="*/ 88287 h 3323371"/>
                <a:gd name="connsiteX37" fmla="*/ 958544 w 3558511"/>
                <a:gd name="connsiteY37" fmla="*/ 119818 h 3323371"/>
                <a:gd name="connsiteX0" fmla="*/ 958544 w 3558511"/>
                <a:gd name="connsiteY0" fmla="*/ 119818 h 3323371"/>
                <a:gd name="connsiteX1" fmla="*/ 1015300 w 3558511"/>
                <a:gd name="connsiteY1" fmla="*/ 1128811 h 3323371"/>
                <a:gd name="connsiteX2" fmla="*/ 882869 w 3558511"/>
                <a:gd name="connsiteY2" fmla="*/ 1696370 h 3323371"/>
                <a:gd name="connsiteX3" fmla="*/ 618009 w 3558511"/>
                <a:gd name="connsiteY3" fmla="*/ 2345909 h 3323371"/>
                <a:gd name="connsiteX4" fmla="*/ 554947 w 3558511"/>
                <a:gd name="connsiteY4" fmla="*/ 2484646 h 3323371"/>
                <a:gd name="connsiteX5" fmla="*/ 18919 w 3558511"/>
                <a:gd name="connsiteY5" fmla="*/ 3241391 h 3323371"/>
                <a:gd name="connsiteX6" fmla="*/ 0 w 3558511"/>
                <a:gd name="connsiteY6" fmla="*/ 3254003 h 3323371"/>
                <a:gd name="connsiteX7" fmla="*/ 176574 w 3558511"/>
                <a:gd name="connsiteY7" fmla="*/ 3279228 h 3323371"/>
                <a:gd name="connsiteX8" fmla="*/ 1040524 w 3558511"/>
                <a:gd name="connsiteY8" fmla="*/ 3310759 h 3323371"/>
                <a:gd name="connsiteX9" fmla="*/ 2011680 w 3558511"/>
                <a:gd name="connsiteY9" fmla="*/ 3317065 h 3323371"/>
                <a:gd name="connsiteX10" fmla="*/ 2787344 w 3558511"/>
                <a:gd name="connsiteY10" fmla="*/ 3323371 h 3323371"/>
                <a:gd name="connsiteX11" fmla="*/ 2837793 w 3558511"/>
                <a:gd name="connsiteY11" fmla="*/ 3317065 h 3323371"/>
                <a:gd name="connsiteX12" fmla="*/ 2869324 w 3558511"/>
                <a:gd name="connsiteY12" fmla="*/ 3291840 h 3323371"/>
                <a:gd name="connsiteX13" fmla="*/ 2976530 w 3558511"/>
                <a:gd name="connsiteY13" fmla="*/ 3172022 h 3323371"/>
                <a:gd name="connsiteX14" fmla="*/ 3247697 w 3558511"/>
                <a:gd name="connsiteY14" fmla="*/ 2635995 h 3323371"/>
                <a:gd name="connsiteX15" fmla="*/ 3392740 w 3558511"/>
                <a:gd name="connsiteY15" fmla="*/ 2245010 h 3323371"/>
                <a:gd name="connsiteX16" fmla="*/ 3499945 w 3558511"/>
                <a:gd name="connsiteY16" fmla="*/ 1809882 h 3323371"/>
                <a:gd name="connsiteX17" fmla="*/ 3531476 w 3558511"/>
                <a:gd name="connsiteY17" fmla="*/ 245942 h 3323371"/>
                <a:gd name="connsiteX18" fmla="*/ 3499945 w 3558511"/>
                <a:gd name="connsiteY18" fmla="*/ 94593 h 3323371"/>
                <a:gd name="connsiteX19" fmla="*/ 3481027 w 3558511"/>
                <a:gd name="connsiteY19" fmla="*/ 37838 h 3323371"/>
                <a:gd name="connsiteX20" fmla="*/ 3436883 w 3558511"/>
                <a:gd name="connsiteY20" fmla="*/ 12613 h 3323371"/>
                <a:gd name="connsiteX21" fmla="*/ 3354902 w 3558511"/>
                <a:gd name="connsiteY21" fmla="*/ 0 h 3323371"/>
                <a:gd name="connsiteX22" fmla="*/ 3235084 w 3558511"/>
                <a:gd name="connsiteY22" fmla="*/ 6307 h 3323371"/>
                <a:gd name="connsiteX23" fmla="*/ 3165716 w 3558511"/>
                <a:gd name="connsiteY23" fmla="*/ 18919 h 3323371"/>
                <a:gd name="connsiteX24" fmla="*/ 2995449 w 3558511"/>
                <a:gd name="connsiteY24" fmla="*/ 138737 h 3323371"/>
                <a:gd name="connsiteX25" fmla="*/ 2888243 w 3558511"/>
                <a:gd name="connsiteY25" fmla="*/ 245942 h 3323371"/>
                <a:gd name="connsiteX26" fmla="*/ 2806262 w 3558511"/>
                <a:gd name="connsiteY26" fmla="*/ 346842 h 3323371"/>
                <a:gd name="connsiteX27" fmla="*/ 2812569 w 3558511"/>
                <a:gd name="connsiteY27" fmla="*/ 309004 h 3323371"/>
                <a:gd name="connsiteX28" fmla="*/ 2799956 w 3558511"/>
                <a:gd name="connsiteY28" fmla="*/ 163962 h 3323371"/>
                <a:gd name="connsiteX29" fmla="*/ 2793650 w 3558511"/>
                <a:gd name="connsiteY29" fmla="*/ 145043 h 3323371"/>
                <a:gd name="connsiteX30" fmla="*/ 2768425 w 3558511"/>
                <a:gd name="connsiteY30" fmla="*/ 107206 h 3323371"/>
                <a:gd name="connsiteX31" fmla="*/ 2717976 w 3558511"/>
                <a:gd name="connsiteY31" fmla="*/ 56756 h 3323371"/>
                <a:gd name="connsiteX32" fmla="*/ 2572933 w 3558511"/>
                <a:gd name="connsiteY32" fmla="*/ 18919 h 3323371"/>
                <a:gd name="connsiteX33" fmla="*/ 983769 w 3558511"/>
                <a:gd name="connsiteY33" fmla="*/ 31531 h 3323371"/>
                <a:gd name="connsiteX34" fmla="*/ 939625 w 3558511"/>
                <a:gd name="connsiteY34" fmla="*/ 69369 h 3323371"/>
                <a:gd name="connsiteX35" fmla="*/ 945931 w 3558511"/>
                <a:gd name="connsiteY35" fmla="*/ 88287 h 3323371"/>
                <a:gd name="connsiteX36" fmla="*/ 958544 w 3558511"/>
                <a:gd name="connsiteY36" fmla="*/ 119818 h 3323371"/>
                <a:gd name="connsiteX0" fmla="*/ 958544 w 3558511"/>
                <a:gd name="connsiteY0" fmla="*/ 119818 h 3323371"/>
                <a:gd name="connsiteX1" fmla="*/ 882869 w 3558511"/>
                <a:gd name="connsiteY1" fmla="*/ 1696370 h 3323371"/>
                <a:gd name="connsiteX2" fmla="*/ 618009 w 3558511"/>
                <a:gd name="connsiteY2" fmla="*/ 2345909 h 3323371"/>
                <a:gd name="connsiteX3" fmla="*/ 554947 w 3558511"/>
                <a:gd name="connsiteY3" fmla="*/ 2484646 h 3323371"/>
                <a:gd name="connsiteX4" fmla="*/ 18919 w 3558511"/>
                <a:gd name="connsiteY4" fmla="*/ 3241391 h 3323371"/>
                <a:gd name="connsiteX5" fmla="*/ 0 w 3558511"/>
                <a:gd name="connsiteY5" fmla="*/ 3254003 h 3323371"/>
                <a:gd name="connsiteX6" fmla="*/ 176574 w 3558511"/>
                <a:gd name="connsiteY6" fmla="*/ 3279228 h 3323371"/>
                <a:gd name="connsiteX7" fmla="*/ 1040524 w 3558511"/>
                <a:gd name="connsiteY7" fmla="*/ 3310759 h 3323371"/>
                <a:gd name="connsiteX8" fmla="*/ 2011680 w 3558511"/>
                <a:gd name="connsiteY8" fmla="*/ 3317065 h 3323371"/>
                <a:gd name="connsiteX9" fmla="*/ 2787344 w 3558511"/>
                <a:gd name="connsiteY9" fmla="*/ 3323371 h 3323371"/>
                <a:gd name="connsiteX10" fmla="*/ 2837793 w 3558511"/>
                <a:gd name="connsiteY10" fmla="*/ 3317065 h 3323371"/>
                <a:gd name="connsiteX11" fmla="*/ 2869324 w 3558511"/>
                <a:gd name="connsiteY11" fmla="*/ 3291840 h 3323371"/>
                <a:gd name="connsiteX12" fmla="*/ 2976530 w 3558511"/>
                <a:gd name="connsiteY12" fmla="*/ 3172022 h 3323371"/>
                <a:gd name="connsiteX13" fmla="*/ 3247697 w 3558511"/>
                <a:gd name="connsiteY13" fmla="*/ 2635995 h 3323371"/>
                <a:gd name="connsiteX14" fmla="*/ 3392740 w 3558511"/>
                <a:gd name="connsiteY14" fmla="*/ 2245010 h 3323371"/>
                <a:gd name="connsiteX15" fmla="*/ 3499945 w 3558511"/>
                <a:gd name="connsiteY15" fmla="*/ 1809882 h 3323371"/>
                <a:gd name="connsiteX16" fmla="*/ 3531476 w 3558511"/>
                <a:gd name="connsiteY16" fmla="*/ 245942 h 3323371"/>
                <a:gd name="connsiteX17" fmla="*/ 3499945 w 3558511"/>
                <a:gd name="connsiteY17" fmla="*/ 94593 h 3323371"/>
                <a:gd name="connsiteX18" fmla="*/ 3481027 w 3558511"/>
                <a:gd name="connsiteY18" fmla="*/ 37838 h 3323371"/>
                <a:gd name="connsiteX19" fmla="*/ 3436883 w 3558511"/>
                <a:gd name="connsiteY19" fmla="*/ 12613 h 3323371"/>
                <a:gd name="connsiteX20" fmla="*/ 3354902 w 3558511"/>
                <a:gd name="connsiteY20" fmla="*/ 0 h 3323371"/>
                <a:gd name="connsiteX21" fmla="*/ 3235084 w 3558511"/>
                <a:gd name="connsiteY21" fmla="*/ 6307 h 3323371"/>
                <a:gd name="connsiteX22" fmla="*/ 3165716 w 3558511"/>
                <a:gd name="connsiteY22" fmla="*/ 18919 h 3323371"/>
                <a:gd name="connsiteX23" fmla="*/ 2995449 w 3558511"/>
                <a:gd name="connsiteY23" fmla="*/ 138737 h 3323371"/>
                <a:gd name="connsiteX24" fmla="*/ 2888243 w 3558511"/>
                <a:gd name="connsiteY24" fmla="*/ 245942 h 3323371"/>
                <a:gd name="connsiteX25" fmla="*/ 2806262 w 3558511"/>
                <a:gd name="connsiteY25" fmla="*/ 346842 h 3323371"/>
                <a:gd name="connsiteX26" fmla="*/ 2812569 w 3558511"/>
                <a:gd name="connsiteY26" fmla="*/ 309004 h 3323371"/>
                <a:gd name="connsiteX27" fmla="*/ 2799956 w 3558511"/>
                <a:gd name="connsiteY27" fmla="*/ 163962 h 3323371"/>
                <a:gd name="connsiteX28" fmla="*/ 2793650 w 3558511"/>
                <a:gd name="connsiteY28" fmla="*/ 145043 h 3323371"/>
                <a:gd name="connsiteX29" fmla="*/ 2768425 w 3558511"/>
                <a:gd name="connsiteY29" fmla="*/ 107206 h 3323371"/>
                <a:gd name="connsiteX30" fmla="*/ 2717976 w 3558511"/>
                <a:gd name="connsiteY30" fmla="*/ 56756 h 3323371"/>
                <a:gd name="connsiteX31" fmla="*/ 2572933 w 3558511"/>
                <a:gd name="connsiteY31" fmla="*/ 18919 h 3323371"/>
                <a:gd name="connsiteX32" fmla="*/ 983769 w 3558511"/>
                <a:gd name="connsiteY32" fmla="*/ 31531 h 3323371"/>
                <a:gd name="connsiteX33" fmla="*/ 939625 w 3558511"/>
                <a:gd name="connsiteY33" fmla="*/ 69369 h 3323371"/>
                <a:gd name="connsiteX34" fmla="*/ 945931 w 3558511"/>
                <a:gd name="connsiteY34" fmla="*/ 88287 h 3323371"/>
                <a:gd name="connsiteX35" fmla="*/ 958544 w 3558511"/>
                <a:gd name="connsiteY35" fmla="*/ 119818 h 3323371"/>
                <a:gd name="connsiteX0" fmla="*/ 958544 w 3558511"/>
                <a:gd name="connsiteY0" fmla="*/ 119818 h 3323371"/>
                <a:gd name="connsiteX1" fmla="*/ 882869 w 3558511"/>
                <a:gd name="connsiteY1" fmla="*/ 1696370 h 3323371"/>
                <a:gd name="connsiteX2" fmla="*/ 554947 w 3558511"/>
                <a:gd name="connsiteY2" fmla="*/ 2484646 h 3323371"/>
                <a:gd name="connsiteX3" fmla="*/ 18919 w 3558511"/>
                <a:gd name="connsiteY3" fmla="*/ 3241391 h 3323371"/>
                <a:gd name="connsiteX4" fmla="*/ 0 w 3558511"/>
                <a:gd name="connsiteY4" fmla="*/ 3254003 h 3323371"/>
                <a:gd name="connsiteX5" fmla="*/ 176574 w 3558511"/>
                <a:gd name="connsiteY5" fmla="*/ 3279228 h 3323371"/>
                <a:gd name="connsiteX6" fmla="*/ 1040524 w 3558511"/>
                <a:gd name="connsiteY6" fmla="*/ 3310759 h 3323371"/>
                <a:gd name="connsiteX7" fmla="*/ 2011680 w 3558511"/>
                <a:gd name="connsiteY7" fmla="*/ 3317065 h 3323371"/>
                <a:gd name="connsiteX8" fmla="*/ 2787344 w 3558511"/>
                <a:gd name="connsiteY8" fmla="*/ 3323371 h 3323371"/>
                <a:gd name="connsiteX9" fmla="*/ 2837793 w 3558511"/>
                <a:gd name="connsiteY9" fmla="*/ 3317065 h 3323371"/>
                <a:gd name="connsiteX10" fmla="*/ 2869324 w 3558511"/>
                <a:gd name="connsiteY10" fmla="*/ 3291840 h 3323371"/>
                <a:gd name="connsiteX11" fmla="*/ 2976530 w 3558511"/>
                <a:gd name="connsiteY11" fmla="*/ 3172022 h 3323371"/>
                <a:gd name="connsiteX12" fmla="*/ 3247697 w 3558511"/>
                <a:gd name="connsiteY12" fmla="*/ 2635995 h 3323371"/>
                <a:gd name="connsiteX13" fmla="*/ 3392740 w 3558511"/>
                <a:gd name="connsiteY13" fmla="*/ 2245010 h 3323371"/>
                <a:gd name="connsiteX14" fmla="*/ 3499945 w 3558511"/>
                <a:gd name="connsiteY14" fmla="*/ 1809882 h 3323371"/>
                <a:gd name="connsiteX15" fmla="*/ 3531476 w 3558511"/>
                <a:gd name="connsiteY15" fmla="*/ 245942 h 3323371"/>
                <a:gd name="connsiteX16" fmla="*/ 3499945 w 3558511"/>
                <a:gd name="connsiteY16" fmla="*/ 94593 h 3323371"/>
                <a:gd name="connsiteX17" fmla="*/ 3481027 w 3558511"/>
                <a:gd name="connsiteY17" fmla="*/ 37838 h 3323371"/>
                <a:gd name="connsiteX18" fmla="*/ 3436883 w 3558511"/>
                <a:gd name="connsiteY18" fmla="*/ 12613 h 3323371"/>
                <a:gd name="connsiteX19" fmla="*/ 3354902 w 3558511"/>
                <a:gd name="connsiteY19" fmla="*/ 0 h 3323371"/>
                <a:gd name="connsiteX20" fmla="*/ 3235084 w 3558511"/>
                <a:gd name="connsiteY20" fmla="*/ 6307 h 3323371"/>
                <a:gd name="connsiteX21" fmla="*/ 3165716 w 3558511"/>
                <a:gd name="connsiteY21" fmla="*/ 18919 h 3323371"/>
                <a:gd name="connsiteX22" fmla="*/ 2995449 w 3558511"/>
                <a:gd name="connsiteY22" fmla="*/ 138737 h 3323371"/>
                <a:gd name="connsiteX23" fmla="*/ 2888243 w 3558511"/>
                <a:gd name="connsiteY23" fmla="*/ 245942 h 3323371"/>
                <a:gd name="connsiteX24" fmla="*/ 2806262 w 3558511"/>
                <a:gd name="connsiteY24" fmla="*/ 346842 h 3323371"/>
                <a:gd name="connsiteX25" fmla="*/ 2812569 w 3558511"/>
                <a:gd name="connsiteY25" fmla="*/ 309004 h 3323371"/>
                <a:gd name="connsiteX26" fmla="*/ 2799956 w 3558511"/>
                <a:gd name="connsiteY26" fmla="*/ 163962 h 3323371"/>
                <a:gd name="connsiteX27" fmla="*/ 2793650 w 3558511"/>
                <a:gd name="connsiteY27" fmla="*/ 145043 h 3323371"/>
                <a:gd name="connsiteX28" fmla="*/ 2768425 w 3558511"/>
                <a:gd name="connsiteY28" fmla="*/ 107206 h 3323371"/>
                <a:gd name="connsiteX29" fmla="*/ 2717976 w 3558511"/>
                <a:gd name="connsiteY29" fmla="*/ 56756 h 3323371"/>
                <a:gd name="connsiteX30" fmla="*/ 2572933 w 3558511"/>
                <a:gd name="connsiteY30" fmla="*/ 18919 h 3323371"/>
                <a:gd name="connsiteX31" fmla="*/ 983769 w 3558511"/>
                <a:gd name="connsiteY31" fmla="*/ 31531 h 3323371"/>
                <a:gd name="connsiteX32" fmla="*/ 939625 w 3558511"/>
                <a:gd name="connsiteY32" fmla="*/ 69369 h 3323371"/>
                <a:gd name="connsiteX33" fmla="*/ 945931 w 3558511"/>
                <a:gd name="connsiteY33" fmla="*/ 88287 h 3323371"/>
                <a:gd name="connsiteX34" fmla="*/ 958544 w 3558511"/>
                <a:gd name="connsiteY34" fmla="*/ 119818 h 3323371"/>
                <a:gd name="connsiteX0" fmla="*/ 958544 w 3558511"/>
                <a:gd name="connsiteY0" fmla="*/ 119818 h 3323371"/>
                <a:gd name="connsiteX1" fmla="*/ 882869 w 3558511"/>
                <a:gd name="connsiteY1" fmla="*/ 1696370 h 3323371"/>
                <a:gd name="connsiteX2" fmla="*/ 554947 w 3558511"/>
                <a:gd name="connsiteY2" fmla="*/ 2484646 h 3323371"/>
                <a:gd name="connsiteX3" fmla="*/ 554946 w 3558511"/>
                <a:gd name="connsiteY3" fmla="*/ 2509597 h 3323371"/>
                <a:gd name="connsiteX4" fmla="*/ 18919 w 3558511"/>
                <a:gd name="connsiteY4" fmla="*/ 3241391 h 3323371"/>
                <a:gd name="connsiteX5" fmla="*/ 0 w 3558511"/>
                <a:gd name="connsiteY5" fmla="*/ 3254003 h 3323371"/>
                <a:gd name="connsiteX6" fmla="*/ 176574 w 3558511"/>
                <a:gd name="connsiteY6" fmla="*/ 3279228 h 3323371"/>
                <a:gd name="connsiteX7" fmla="*/ 1040524 w 3558511"/>
                <a:gd name="connsiteY7" fmla="*/ 3310759 h 3323371"/>
                <a:gd name="connsiteX8" fmla="*/ 2011680 w 3558511"/>
                <a:gd name="connsiteY8" fmla="*/ 3317065 h 3323371"/>
                <a:gd name="connsiteX9" fmla="*/ 2787344 w 3558511"/>
                <a:gd name="connsiteY9" fmla="*/ 3323371 h 3323371"/>
                <a:gd name="connsiteX10" fmla="*/ 2837793 w 3558511"/>
                <a:gd name="connsiteY10" fmla="*/ 3317065 h 3323371"/>
                <a:gd name="connsiteX11" fmla="*/ 2869324 w 3558511"/>
                <a:gd name="connsiteY11" fmla="*/ 3291840 h 3323371"/>
                <a:gd name="connsiteX12" fmla="*/ 2976530 w 3558511"/>
                <a:gd name="connsiteY12" fmla="*/ 3172022 h 3323371"/>
                <a:gd name="connsiteX13" fmla="*/ 3247697 w 3558511"/>
                <a:gd name="connsiteY13" fmla="*/ 2635995 h 3323371"/>
                <a:gd name="connsiteX14" fmla="*/ 3392740 w 3558511"/>
                <a:gd name="connsiteY14" fmla="*/ 2245010 h 3323371"/>
                <a:gd name="connsiteX15" fmla="*/ 3499945 w 3558511"/>
                <a:gd name="connsiteY15" fmla="*/ 1809882 h 3323371"/>
                <a:gd name="connsiteX16" fmla="*/ 3531476 w 3558511"/>
                <a:gd name="connsiteY16" fmla="*/ 245942 h 3323371"/>
                <a:gd name="connsiteX17" fmla="*/ 3499945 w 3558511"/>
                <a:gd name="connsiteY17" fmla="*/ 94593 h 3323371"/>
                <a:gd name="connsiteX18" fmla="*/ 3481027 w 3558511"/>
                <a:gd name="connsiteY18" fmla="*/ 37838 h 3323371"/>
                <a:gd name="connsiteX19" fmla="*/ 3436883 w 3558511"/>
                <a:gd name="connsiteY19" fmla="*/ 12613 h 3323371"/>
                <a:gd name="connsiteX20" fmla="*/ 3354902 w 3558511"/>
                <a:gd name="connsiteY20" fmla="*/ 0 h 3323371"/>
                <a:gd name="connsiteX21" fmla="*/ 3235084 w 3558511"/>
                <a:gd name="connsiteY21" fmla="*/ 6307 h 3323371"/>
                <a:gd name="connsiteX22" fmla="*/ 3165716 w 3558511"/>
                <a:gd name="connsiteY22" fmla="*/ 18919 h 3323371"/>
                <a:gd name="connsiteX23" fmla="*/ 2995449 w 3558511"/>
                <a:gd name="connsiteY23" fmla="*/ 138737 h 3323371"/>
                <a:gd name="connsiteX24" fmla="*/ 2888243 w 3558511"/>
                <a:gd name="connsiteY24" fmla="*/ 245942 h 3323371"/>
                <a:gd name="connsiteX25" fmla="*/ 2806262 w 3558511"/>
                <a:gd name="connsiteY25" fmla="*/ 346842 h 3323371"/>
                <a:gd name="connsiteX26" fmla="*/ 2812569 w 3558511"/>
                <a:gd name="connsiteY26" fmla="*/ 309004 h 3323371"/>
                <a:gd name="connsiteX27" fmla="*/ 2799956 w 3558511"/>
                <a:gd name="connsiteY27" fmla="*/ 163962 h 3323371"/>
                <a:gd name="connsiteX28" fmla="*/ 2793650 w 3558511"/>
                <a:gd name="connsiteY28" fmla="*/ 145043 h 3323371"/>
                <a:gd name="connsiteX29" fmla="*/ 2768425 w 3558511"/>
                <a:gd name="connsiteY29" fmla="*/ 107206 h 3323371"/>
                <a:gd name="connsiteX30" fmla="*/ 2717976 w 3558511"/>
                <a:gd name="connsiteY30" fmla="*/ 56756 h 3323371"/>
                <a:gd name="connsiteX31" fmla="*/ 2572933 w 3558511"/>
                <a:gd name="connsiteY31" fmla="*/ 18919 h 3323371"/>
                <a:gd name="connsiteX32" fmla="*/ 983769 w 3558511"/>
                <a:gd name="connsiteY32" fmla="*/ 31531 h 3323371"/>
                <a:gd name="connsiteX33" fmla="*/ 939625 w 3558511"/>
                <a:gd name="connsiteY33" fmla="*/ 69369 h 3323371"/>
                <a:gd name="connsiteX34" fmla="*/ 945931 w 3558511"/>
                <a:gd name="connsiteY34" fmla="*/ 88287 h 3323371"/>
                <a:gd name="connsiteX35" fmla="*/ 958544 w 3558511"/>
                <a:gd name="connsiteY35" fmla="*/ 119818 h 3323371"/>
                <a:gd name="connsiteX0" fmla="*/ 984595 w 3584562"/>
                <a:gd name="connsiteY0" fmla="*/ 119818 h 3323371"/>
                <a:gd name="connsiteX1" fmla="*/ 908920 w 3584562"/>
                <a:gd name="connsiteY1" fmla="*/ 1696370 h 3323371"/>
                <a:gd name="connsiteX2" fmla="*/ 580998 w 3584562"/>
                <a:gd name="connsiteY2" fmla="*/ 2484646 h 3323371"/>
                <a:gd name="connsiteX3" fmla="*/ 44970 w 3584562"/>
                <a:gd name="connsiteY3" fmla="*/ 3241391 h 3323371"/>
                <a:gd name="connsiteX4" fmla="*/ 26051 w 3584562"/>
                <a:gd name="connsiteY4" fmla="*/ 3254003 h 3323371"/>
                <a:gd name="connsiteX5" fmla="*/ 202625 w 3584562"/>
                <a:gd name="connsiteY5" fmla="*/ 3279228 h 3323371"/>
                <a:gd name="connsiteX6" fmla="*/ 1066575 w 3584562"/>
                <a:gd name="connsiteY6" fmla="*/ 3310759 h 3323371"/>
                <a:gd name="connsiteX7" fmla="*/ 2037731 w 3584562"/>
                <a:gd name="connsiteY7" fmla="*/ 3317065 h 3323371"/>
                <a:gd name="connsiteX8" fmla="*/ 2813395 w 3584562"/>
                <a:gd name="connsiteY8" fmla="*/ 3323371 h 3323371"/>
                <a:gd name="connsiteX9" fmla="*/ 2863844 w 3584562"/>
                <a:gd name="connsiteY9" fmla="*/ 3317065 h 3323371"/>
                <a:gd name="connsiteX10" fmla="*/ 2895375 w 3584562"/>
                <a:gd name="connsiteY10" fmla="*/ 3291840 h 3323371"/>
                <a:gd name="connsiteX11" fmla="*/ 3002581 w 3584562"/>
                <a:gd name="connsiteY11" fmla="*/ 3172022 h 3323371"/>
                <a:gd name="connsiteX12" fmla="*/ 3273748 w 3584562"/>
                <a:gd name="connsiteY12" fmla="*/ 2635995 h 3323371"/>
                <a:gd name="connsiteX13" fmla="*/ 3418791 w 3584562"/>
                <a:gd name="connsiteY13" fmla="*/ 2245010 h 3323371"/>
                <a:gd name="connsiteX14" fmla="*/ 3525996 w 3584562"/>
                <a:gd name="connsiteY14" fmla="*/ 1809882 h 3323371"/>
                <a:gd name="connsiteX15" fmla="*/ 3557527 w 3584562"/>
                <a:gd name="connsiteY15" fmla="*/ 245942 h 3323371"/>
                <a:gd name="connsiteX16" fmla="*/ 3525996 w 3584562"/>
                <a:gd name="connsiteY16" fmla="*/ 94593 h 3323371"/>
                <a:gd name="connsiteX17" fmla="*/ 3507078 w 3584562"/>
                <a:gd name="connsiteY17" fmla="*/ 37838 h 3323371"/>
                <a:gd name="connsiteX18" fmla="*/ 3462934 w 3584562"/>
                <a:gd name="connsiteY18" fmla="*/ 12613 h 3323371"/>
                <a:gd name="connsiteX19" fmla="*/ 3380953 w 3584562"/>
                <a:gd name="connsiteY19" fmla="*/ 0 h 3323371"/>
                <a:gd name="connsiteX20" fmla="*/ 3261135 w 3584562"/>
                <a:gd name="connsiteY20" fmla="*/ 6307 h 3323371"/>
                <a:gd name="connsiteX21" fmla="*/ 3191767 w 3584562"/>
                <a:gd name="connsiteY21" fmla="*/ 18919 h 3323371"/>
                <a:gd name="connsiteX22" fmla="*/ 3021500 w 3584562"/>
                <a:gd name="connsiteY22" fmla="*/ 138737 h 3323371"/>
                <a:gd name="connsiteX23" fmla="*/ 2914294 w 3584562"/>
                <a:gd name="connsiteY23" fmla="*/ 245942 h 3323371"/>
                <a:gd name="connsiteX24" fmla="*/ 2832313 w 3584562"/>
                <a:gd name="connsiteY24" fmla="*/ 346842 h 3323371"/>
                <a:gd name="connsiteX25" fmla="*/ 2838620 w 3584562"/>
                <a:gd name="connsiteY25" fmla="*/ 309004 h 3323371"/>
                <a:gd name="connsiteX26" fmla="*/ 2826007 w 3584562"/>
                <a:gd name="connsiteY26" fmla="*/ 163962 h 3323371"/>
                <a:gd name="connsiteX27" fmla="*/ 2819701 w 3584562"/>
                <a:gd name="connsiteY27" fmla="*/ 145043 h 3323371"/>
                <a:gd name="connsiteX28" fmla="*/ 2794476 w 3584562"/>
                <a:gd name="connsiteY28" fmla="*/ 107206 h 3323371"/>
                <a:gd name="connsiteX29" fmla="*/ 2744027 w 3584562"/>
                <a:gd name="connsiteY29" fmla="*/ 56756 h 3323371"/>
                <a:gd name="connsiteX30" fmla="*/ 2598984 w 3584562"/>
                <a:gd name="connsiteY30" fmla="*/ 18919 h 3323371"/>
                <a:gd name="connsiteX31" fmla="*/ 1009820 w 3584562"/>
                <a:gd name="connsiteY31" fmla="*/ 31531 h 3323371"/>
                <a:gd name="connsiteX32" fmla="*/ 965676 w 3584562"/>
                <a:gd name="connsiteY32" fmla="*/ 69369 h 3323371"/>
                <a:gd name="connsiteX33" fmla="*/ 971982 w 3584562"/>
                <a:gd name="connsiteY33" fmla="*/ 88287 h 3323371"/>
                <a:gd name="connsiteX34" fmla="*/ 984595 w 3584562"/>
                <a:gd name="connsiteY34" fmla="*/ 119818 h 3323371"/>
                <a:gd name="connsiteX0" fmla="*/ 1008743 w 3608710"/>
                <a:gd name="connsiteY0" fmla="*/ 119818 h 3359159"/>
                <a:gd name="connsiteX1" fmla="*/ 933068 w 3608710"/>
                <a:gd name="connsiteY1" fmla="*/ 1696370 h 3359159"/>
                <a:gd name="connsiteX2" fmla="*/ 69118 w 3608710"/>
                <a:gd name="connsiteY2" fmla="*/ 3241391 h 3359159"/>
                <a:gd name="connsiteX3" fmla="*/ 50199 w 3608710"/>
                <a:gd name="connsiteY3" fmla="*/ 3254003 h 3359159"/>
                <a:gd name="connsiteX4" fmla="*/ 226773 w 3608710"/>
                <a:gd name="connsiteY4" fmla="*/ 3279228 h 3359159"/>
                <a:gd name="connsiteX5" fmla="*/ 1090723 w 3608710"/>
                <a:gd name="connsiteY5" fmla="*/ 3310759 h 3359159"/>
                <a:gd name="connsiteX6" fmla="*/ 2061879 w 3608710"/>
                <a:gd name="connsiteY6" fmla="*/ 3317065 h 3359159"/>
                <a:gd name="connsiteX7" fmla="*/ 2837543 w 3608710"/>
                <a:gd name="connsiteY7" fmla="*/ 3323371 h 3359159"/>
                <a:gd name="connsiteX8" fmla="*/ 2887992 w 3608710"/>
                <a:gd name="connsiteY8" fmla="*/ 3317065 h 3359159"/>
                <a:gd name="connsiteX9" fmla="*/ 2919523 w 3608710"/>
                <a:gd name="connsiteY9" fmla="*/ 3291840 h 3359159"/>
                <a:gd name="connsiteX10" fmla="*/ 3026729 w 3608710"/>
                <a:gd name="connsiteY10" fmla="*/ 3172022 h 3359159"/>
                <a:gd name="connsiteX11" fmla="*/ 3297896 w 3608710"/>
                <a:gd name="connsiteY11" fmla="*/ 2635995 h 3359159"/>
                <a:gd name="connsiteX12" fmla="*/ 3442939 w 3608710"/>
                <a:gd name="connsiteY12" fmla="*/ 2245010 h 3359159"/>
                <a:gd name="connsiteX13" fmla="*/ 3550144 w 3608710"/>
                <a:gd name="connsiteY13" fmla="*/ 1809882 h 3359159"/>
                <a:gd name="connsiteX14" fmla="*/ 3581675 w 3608710"/>
                <a:gd name="connsiteY14" fmla="*/ 245942 h 3359159"/>
                <a:gd name="connsiteX15" fmla="*/ 3550144 w 3608710"/>
                <a:gd name="connsiteY15" fmla="*/ 94593 h 3359159"/>
                <a:gd name="connsiteX16" fmla="*/ 3531226 w 3608710"/>
                <a:gd name="connsiteY16" fmla="*/ 37838 h 3359159"/>
                <a:gd name="connsiteX17" fmla="*/ 3487082 w 3608710"/>
                <a:gd name="connsiteY17" fmla="*/ 12613 h 3359159"/>
                <a:gd name="connsiteX18" fmla="*/ 3405101 w 3608710"/>
                <a:gd name="connsiteY18" fmla="*/ 0 h 3359159"/>
                <a:gd name="connsiteX19" fmla="*/ 3285283 w 3608710"/>
                <a:gd name="connsiteY19" fmla="*/ 6307 h 3359159"/>
                <a:gd name="connsiteX20" fmla="*/ 3215915 w 3608710"/>
                <a:gd name="connsiteY20" fmla="*/ 18919 h 3359159"/>
                <a:gd name="connsiteX21" fmla="*/ 3045648 w 3608710"/>
                <a:gd name="connsiteY21" fmla="*/ 138737 h 3359159"/>
                <a:gd name="connsiteX22" fmla="*/ 2938442 w 3608710"/>
                <a:gd name="connsiteY22" fmla="*/ 245942 h 3359159"/>
                <a:gd name="connsiteX23" fmla="*/ 2856461 w 3608710"/>
                <a:gd name="connsiteY23" fmla="*/ 346842 h 3359159"/>
                <a:gd name="connsiteX24" fmla="*/ 2862768 w 3608710"/>
                <a:gd name="connsiteY24" fmla="*/ 309004 h 3359159"/>
                <a:gd name="connsiteX25" fmla="*/ 2850155 w 3608710"/>
                <a:gd name="connsiteY25" fmla="*/ 163962 h 3359159"/>
                <a:gd name="connsiteX26" fmla="*/ 2843849 w 3608710"/>
                <a:gd name="connsiteY26" fmla="*/ 145043 h 3359159"/>
                <a:gd name="connsiteX27" fmla="*/ 2818624 w 3608710"/>
                <a:gd name="connsiteY27" fmla="*/ 107206 h 3359159"/>
                <a:gd name="connsiteX28" fmla="*/ 2768175 w 3608710"/>
                <a:gd name="connsiteY28" fmla="*/ 56756 h 3359159"/>
                <a:gd name="connsiteX29" fmla="*/ 2623132 w 3608710"/>
                <a:gd name="connsiteY29" fmla="*/ 18919 h 3359159"/>
                <a:gd name="connsiteX30" fmla="*/ 1033968 w 3608710"/>
                <a:gd name="connsiteY30" fmla="*/ 31531 h 3359159"/>
                <a:gd name="connsiteX31" fmla="*/ 989824 w 3608710"/>
                <a:gd name="connsiteY31" fmla="*/ 69369 h 3359159"/>
                <a:gd name="connsiteX32" fmla="*/ 996130 w 3608710"/>
                <a:gd name="connsiteY32" fmla="*/ 88287 h 3359159"/>
                <a:gd name="connsiteX33" fmla="*/ 1008743 w 3608710"/>
                <a:gd name="connsiteY33" fmla="*/ 119818 h 3359159"/>
                <a:gd name="connsiteX0" fmla="*/ 989679 w 3589646"/>
                <a:gd name="connsiteY0" fmla="*/ 119818 h 3366395"/>
                <a:gd name="connsiteX1" fmla="*/ 914004 w 3589646"/>
                <a:gd name="connsiteY1" fmla="*/ 1696370 h 3366395"/>
                <a:gd name="connsiteX2" fmla="*/ 50054 w 3589646"/>
                <a:gd name="connsiteY2" fmla="*/ 3241391 h 3366395"/>
                <a:gd name="connsiteX3" fmla="*/ 207709 w 3589646"/>
                <a:gd name="connsiteY3" fmla="*/ 3279228 h 3366395"/>
                <a:gd name="connsiteX4" fmla="*/ 1071659 w 3589646"/>
                <a:gd name="connsiteY4" fmla="*/ 3310759 h 3366395"/>
                <a:gd name="connsiteX5" fmla="*/ 2042815 w 3589646"/>
                <a:gd name="connsiteY5" fmla="*/ 3317065 h 3366395"/>
                <a:gd name="connsiteX6" fmla="*/ 2818479 w 3589646"/>
                <a:gd name="connsiteY6" fmla="*/ 3323371 h 3366395"/>
                <a:gd name="connsiteX7" fmla="*/ 2868928 w 3589646"/>
                <a:gd name="connsiteY7" fmla="*/ 3317065 h 3366395"/>
                <a:gd name="connsiteX8" fmla="*/ 2900459 w 3589646"/>
                <a:gd name="connsiteY8" fmla="*/ 3291840 h 3366395"/>
                <a:gd name="connsiteX9" fmla="*/ 3007665 w 3589646"/>
                <a:gd name="connsiteY9" fmla="*/ 3172022 h 3366395"/>
                <a:gd name="connsiteX10" fmla="*/ 3278832 w 3589646"/>
                <a:gd name="connsiteY10" fmla="*/ 2635995 h 3366395"/>
                <a:gd name="connsiteX11" fmla="*/ 3423875 w 3589646"/>
                <a:gd name="connsiteY11" fmla="*/ 2245010 h 3366395"/>
                <a:gd name="connsiteX12" fmla="*/ 3531080 w 3589646"/>
                <a:gd name="connsiteY12" fmla="*/ 1809882 h 3366395"/>
                <a:gd name="connsiteX13" fmla="*/ 3562611 w 3589646"/>
                <a:gd name="connsiteY13" fmla="*/ 245942 h 3366395"/>
                <a:gd name="connsiteX14" fmla="*/ 3531080 w 3589646"/>
                <a:gd name="connsiteY14" fmla="*/ 94593 h 3366395"/>
                <a:gd name="connsiteX15" fmla="*/ 3512162 w 3589646"/>
                <a:gd name="connsiteY15" fmla="*/ 37838 h 3366395"/>
                <a:gd name="connsiteX16" fmla="*/ 3468018 w 3589646"/>
                <a:gd name="connsiteY16" fmla="*/ 12613 h 3366395"/>
                <a:gd name="connsiteX17" fmla="*/ 3386037 w 3589646"/>
                <a:gd name="connsiteY17" fmla="*/ 0 h 3366395"/>
                <a:gd name="connsiteX18" fmla="*/ 3266219 w 3589646"/>
                <a:gd name="connsiteY18" fmla="*/ 6307 h 3366395"/>
                <a:gd name="connsiteX19" fmla="*/ 3196851 w 3589646"/>
                <a:gd name="connsiteY19" fmla="*/ 18919 h 3366395"/>
                <a:gd name="connsiteX20" fmla="*/ 3026584 w 3589646"/>
                <a:gd name="connsiteY20" fmla="*/ 138737 h 3366395"/>
                <a:gd name="connsiteX21" fmla="*/ 2919378 w 3589646"/>
                <a:gd name="connsiteY21" fmla="*/ 245942 h 3366395"/>
                <a:gd name="connsiteX22" fmla="*/ 2837397 w 3589646"/>
                <a:gd name="connsiteY22" fmla="*/ 346842 h 3366395"/>
                <a:gd name="connsiteX23" fmla="*/ 2843704 w 3589646"/>
                <a:gd name="connsiteY23" fmla="*/ 309004 h 3366395"/>
                <a:gd name="connsiteX24" fmla="*/ 2831091 w 3589646"/>
                <a:gd name="connsiteY24" fmla="*/ 163962 h 3366395"/>
                <a:gd name="connsiteX25" fmla="*/ 2824785 w 3589646"/>
                <a:gd name="connsiteY25" fmla="*/ 145043 h 3366395"/>
                <a:gd name="connsiteX26" fmla="*/ 2799560 w 3589646"/>
                <a:gd name="connsiteY26" fmla="*/ 107206 h 3366395"/>
                <a:gd name="connsiteX27" fmla="*/ 2749111 w 3589646"/>
                <a:gd name="connsiteY27" fmla="*/ 56756 h 3366395"/>
                <a:gd name="connsiteX28" fmla="*/ 2604068 w 3589646"/>
                <a:gd name="connsiteY28" fmla="*/ 18919 h 3366395"/>
                <a:gd name="connsiteX29" fmla="*/ 1014904 w 3589646"/>
                <a:gd name="connsiteY29" fmla="*/ 31531 h 3366395"/>
                <a:gd name="connsiteX30" fmla="*/ 970760 w 3589646"/>
                <a:gd name="connsiteY30" fmla="*/ 69369 h 3366395"/>
                <a:gd name="connsiteX31" fmla="*/ 977066 w 3589646"/>
                <a:gd name="connsiteY31" fmla="*/ 88287 h 3366395"/>
                <a:gd name="connsiteX32" fmla="*/ 989679 w 3589646"/>
                <a:gd name="connsiteY32" fmla="*/ 119818 h 3366395"/>
                <a:gd name="connsiteX0" fmla="*/ 940314 w 3540281"/>
                <a:gd name="connsiteY0" fmla="*/ 119818 h 3378446"/>
                <a:gd name="connsiteX1" fmla="*/ 864639 w 3540281"/>
                <a:gd name="connsiteY1" fmla="*/ 1696370 h 3378446"/>
                <a:gd name="connsiteX2" fmla="*/ 689 w 3540281"/>
                <a:gd name="connsiteY2" fmla="*/ 3241391 h 3378446"/>
                <a:gd name="connsiteX3" fmla="*/ 1022294 w 3540281"/>
                <a:gd name="connsiteY3" fmla="*/ 3310759 h 3378446"/>
                <a:gd name="connsiteX4" fmla="*/ 1993450 w 3540281"/>
                <a:gd name="connsiteY4" fmla="*/ 3317065 h 3378446"/>
                <a:gd name="connsiteX5" fmla="*/ 2769114 w 3540281"/>
                <a:gd name="connsiteY5" fmla="*/ 3323371 h 3378446"/>
                <a:gd name="connsiteX6" fmla="*/ 2819563 w 3540281"/>
                <a:gd name="connsiteY6" fmla="*/ 3317065 h 3378446"/>
                <a:gd name="connsiteX7" fmla="*/ 2851094 w 3540281"/>
                <a:gd name="connsiteY7" fmla="*/ 3291840 h 3378446"/>
                <a:gd name="connsiteX8" fmla="*/ 2958300 w 3540281"/>
                <a:gd name="connsiteY8" fmla="*/ 3172022 h 3378446"/>
                <a:gd name="connsiteX9" fmla="*/ 3229467 w 3540281"/>
                <a:gd name="connsiteY9" fmla="*/ 2635995 h 3378446"/>
                <a:gd name="connsiteX10" fmla="*/ 3374510 w 3540281"/>
                <a:gd name="connsiteY10" fmla="*/ 2245010 h 3378446"/>
                <a:gd name="connsiteX11" fmla="*/ 3481715 w 3540281"/>
                <a:gd name="connsiteY11" fmla="*/ 1809882 h 3378446"/>
                <a:gd name="connsiteX12" fmla="*/ 3513246 w 3540281"/>
                <a:gd name="connsiteY12" fmla="*/ 245942 h 3378446"/>
                <a:gd name="connsiteX13" fmla="*/ 3481715 w 3540281"/>
                <a:gd name="connsiteY13" fmla="*/ 94593 h 3378446"/>
                <a:gd name="connsiteX14" fmla="*/ 3462797 w 3540281"/>
                <a:gd name="connsiteY14" fmla="*/ 37838 h 3378446"/>
                <a:gd name="connsiteX15" fmla="*/ 3418653 w 3540281"/>
                <a:gd name="connsiteY15" fmla="*/ 12613 h 3378446"/>
                <a:gd name="connsiteX16" fmla="*/ 3336672 w 3540281"/>
                <a:gd name="connsiteY16" fmla="*/ 0 h 3378446"/>
                <a:gd name="connsiteX17" fmla="*/ 3216854 w 3540281"/>
                <a:gd name="connsiteY17" fmla="*/ 6307 h 3378446"/>
                <a:gd name="connsiteX18" fmla="*/ 3147486 w 3540281"/>
                <a:gd name="connsiteY18" fmla="*/ 18919 h 3378446"/>
                <a:gd name="connsiteX19" fmla="*/ 2977219 w 3540281"/>
                <a:gd name="connsiteY19" fmla="*/ 138737 h 3378446"/>
                <a:gd name="connsiteX20" fmla="*/ 2870013 w 3540281"/>
                <a:gd name="connsiteY20" fmla="*/ 245942 h 3378446"/>
                <a:gd name="connsiteX21" fmla="*/ 2788032 w 3540281"/>
                <a:gd name="connsiteY21" fmla="*/ 346842 h 3378446"/>
                <a:gd name="connsiteX22" fmla="*/ 2794339 w 3540281"/>
                <a:gd name="connsiteY22" fmla="*/ 309004 h 3378446"/>
                <a:gd name="connsiteX23" fmla="*/ 2781726 w 3540281"/>
                <a:gd name="connsiteY23" fmla="*/ 163962 h 3378446"/>
                <a:gd name="connsiteX24" fmla="*/ 2775420 w 3540281"/>
                <a:gd name="connsiteY24" fmla="*/ 145043 h 3378446"/>
                <a:gd name="connsiteX25" fmla="*/ 2750195 w 3540281"/>
                <a:gd name="connsiteY25" fmla="*/ 107206 h 3378446"/>
                <a:gd name="connsiteX26" fmla="*/ 2699746 w 3540281"/>
                <a:gd name="connsiteY26" fmla="*/ 56756 h 3378446"/>
                <a:gd name="connsiteX27" fmla="*/ 2554703 w 3540281"/>
                <a:gd name="connsiteY27" fmla="*/ 18919 h 3378446"/>
                <a:gd name="connsiteX28" fmla="*/ 965539 w 3540281"/>
                <a:gd name="connsiteY28" fmla="*/ 31531 h 3378446"/>
                <a:gd name="connsiteX29" fmla="*/ 921395 w 3540281"/>
                <a:gd name="connsiteY29" fmla="*/ 69369 h 3378446"/>
                <a:gd name="connsiteX30" fmla="*/ 927701 w 3540281"/>
                <a:gd name="connsiteY30" fmla="*/ 88287 h 3378446"/>
                <a:gd name="connsiteX31" fmla="*/ 940314 w 3540281"/>
                <a:gd name="connsiteY31" fmla="*/ 119818 h 3378446"/>
                <a:gd name="connsiteX0" fmla="*/ 965468 w 3565435"/>
                <a:gd name="connsiteY0" fmla="*/ 119818 h 3380784"/>
                <a:gd name="connsiteX1" fmla="*/ 889793 w 3565435"/>
                <a:gd name="connsiteY1" fmla="*/ 1696370 h 3380784"/>
                <a:gd name="connsiteX2" fmla="*/ 25843 w 3565435"/>
                <a:gd name="connsiteY2" fmla="*/ 3241391 h 3380784"/>
                <a:gd name="connsiteX3" fmla="*/ 2018604 w 3565435"/>
                <a:gd name="connsiteY3" fmla="*/ 3317065 h 3380784"/>
                <a:gd name="connsiteX4" fmla="*/ 2794268 w 3565435"/>
                <a:gd name="connsiteY4" fmla="*/ 3323371 h 3380784"/>
                <a:gd name="connsiteX5" fmla="*/ 2844717 w 3565435"/>
                <a:gd name="connsiteY5" fmla="*/ 3317065 h 3380784"/>
                <a:gd name="connsiteX6" fmla="*/ 2876248 w 3565435"/>
                <a:gd name="connsiteY6" fmla="*/ 3291840 h 3380784"/>
                <a:gd name="connsiteX7" fmla="*/ 2983454 w 3565435"/>
                <a:gd name="connsiteY7" fmla="*/ 3172022 h 3380784"/>
                <a:gd name="connsiteX8" fmla="*/ 3254621 w 3565435"/>
                <a:gd name="connsiteY8" fmla="*/ 2635995 h 3380784"/>
                <a:gd name="connsiteX9" fmla="*/ 3399664 w 3565435"/>
                <a:gd name="connsiteY9" fmla="*/ 2245010 h 3380784"/>
                <a:gd name="connsiteX10" fmla="*/ 3506869 w 3565435"/>
                <a:gd name="connsiteY10" fmla="*/ 1809882 h 3380784"/>
                <a:gd name="connsiteX11" fmla="*/ 3538400 w 3565435"/>
                <a:gd name="connsiteY11" fmla="*/ 245942 h 3380784"/>
                <a:gd name="connsiteX12" fmla="*/ 3506869 w 3565435"/>
                <a:gd name="connsiteY12" fmla="*/ 94593 h 3380784"/>
                <a:gd name="connsiteX13" fmla="*/ 3487951 w 3565435"/>
                <a:gd name="connsiteY13" fmla="*/ 37838 h 3380784"/>
                <a:gd name="connsiteX14" fmla="*/ 3443807 w 3565435"/>
                <a:gd name="connsiteY14" fmla="*/ 12613 h 3380784"/>
                <a:gd name="connsiteX15" fmla="*/ 3361826 w 3565435"/>
                <a:gd name="connsiteY15" fmla="*/ 0 h 3380784"/>
                <a:gd name="connsiteX16" fmla="*/ 3242008 w 3565435"/>
                <a:gd name="connsiteY16" fmla="*/ 6307 h 3380784"/>
                <a:gd name="connsiteX17" fmla="*/ 3172640 w 3565435"/>
                <a:gd name="connsiteY17" fmla="*/ 18919 h 3380784"/>
                <a:gd name="connsiteX18" fmla="*/ 3002373 w 3565435"/>
                <a:gd name="connsiteY18" fmla="*/ 138737 h 3380784"/>
                <a:gd name="connsiteX19" fmla="*/ 2895167 w 3565435"/>
                <a:gd name="connsiteY19" fmla="*/ 245942 h 3380784"/>
                <a:gd name="connsiteX20" fmla="*/ 2813186 w 3565435"/>
                <a:gd name="connsiteY20" fmla="*/ 346842 h 3380784"/>
                <a:gd name="connsiteX21" fmla="*/ 2819493 w 3565435"/>
                <a:gd name="connsiteY21" fmla="*/ 309004 h 3380784"/>
                <a:gd name="connsiteX22" fmla="*/ 2806880 w 3565435"/>
                <a:gd name="connsiteY22" fmla="*/ 163962 h 3380784"/>
                <a:gd name="connsiteX23" fmla="*/ 2800574 w 3565435"/>
                <a:gd name="connsiteY23" fmla="*/ 145043 h 3380784"/>
                <a:gd name="connsiteX24" fmla="*/ 2775349 w 3565435"/>
                <a:gd name="connsiteY24" fmla="*/ 107206 h 3380784"/>
                <a:gd name="connsiteX25" fmla="*/ 2724900 w 3565435"/>
                <a:gd name="connsiteY25" fmla="*/ 56756 h 3380784"/>
                <a:gd name="connsiteX26" fmla="*/ 2579857 w 3565435"/>
                <a:gd name="connsiteY26" fmla="*/ 18919 h 3380784"/>
                <a:gd name="connsiteX27" fmla="*/ 990693 w 3565435"/>
                <a:gd name="connsiteY27" fmla="*/ 31531 h 3380784"/>
                <a:gd name="connsiteX28" fmla="*/ 946549 w 3565435"/>
                <a:gd name="connsiteY28" fmla="*/ 69369 h 3380784"/>
                <a:gd name="connsiteX29" fmla="*/ 952855 w 3565435"/>
                <a:gd name="connsiteY29" fmla="*/ 88287 h 3380784"/>
                <a:gd name="connsiteX30" fmla="*/ 965468 w 3565435"/>
                <a:gd name="connsiteY30" fmla="*/ 119818 h 3380784"/>
                <a:gd name="connsiteX0" fmla="*/ 965468 w 3565435"/>
                <a:gd name="connsiteY0" fmla="*/ 119818 h 3380784"/>
                <a:gd name="connsiteX1" fmla="*/ 889793 w 3565435"/>
                <a:gd name="connsiteY1" fmla="*/ 1696370 h 3380784"/>
                <a:gd name="connsiteX2" fmla="*/ 25843 w 3565435"/>
                <a:gd name="connsiteY2" fmla="*/ 3241391 h 3380784"/>
                <a:gd name="connsiteX3" fmla="*/ 2018604 w 3565435"/>
                <a:gd name="connsiteY3" fmla="*/ 3317065 h 3380784"/>
                <a:gd name="connsiteX4" fmla="*/ 2794268 w 3565435"/>
                <a:gd name="connsiteY4" fmla="*/ 3323371 h 3380784"/>
                <a:gd name="connsiteX5" fmla="*/ 2844717 w 3565435"/>
                <a:gd name="connsiteY5" fmla="*/ 3317065 h 3380784"/>
                <a:gd name="connsiteX6" fmla="*/ 2876248 w 3565435"/>
                <a:gd name="connsiteY6" fmla="*/ 3291840 h 3380784"/>
                <a:gd name="connsiteX7" fmla="*/ 2983454 w 3565435"/>
                <a:gd name="connsiteY7" fmla="*/ 3172022 h 3380784"/>
                <a:gd name="connsiteX8" fmla="*/ 3254621 w 3565435"/>
                <a:gd name="connsiteY8" fmla="*/ 2635995 h 3380784"/>
                <a:gd name="connsiteX9" fmla="*/ 3399664 w 3565435"/>
                <a:gd name="connsiteY9" fmla="*/ 2245010 h 3380784"/>
                <a:gd name="connsiteX10" fmla="*/ 3506869 w 3565435"/>
                <a:gd name="connsiteY10" fmla="*/ 1809882 h 3380784"/>
                <a:gd name="connsiteX11" fmla="*/ 3538400 w 3565435"/>
                <a:gd name="connsiteY11" fmla="*/ 245942 h 3380784"/>
                <a:gd name="connsiteX12" fmla="*/ 3506869 w 3565435"/>
                <a:gd name="connsiteY12" fmla="*/ 94593 h 3380784"/>
                <a:gd name="connsiteX13" fmla="*/ 3487951 w 3565435"/>
                <a:gd name="connsiteY13" fmla="*/ 37838 h 3380784"/>
                <a:gd name="connsiteX14" fmla="*/ 3443807 w 3565435"/>
                <a:gd name="connsiteY14" fmla="*/ 12613 h 3380784"/>
                <a:gd name="connsiteX15" fmla="*/ 3361826 w 3565435"/>
                <a:gd name="connsiteY15" fmla="*/ 0 h 3380784"/>
                <a:gd name="connsiteX16" fmla="*/ 3242008 w 3565435"/>
                <a:gd name="connsiteY16" fmla="*/ 6307 h 3380784"/>
                <a:gd name="connsiteX17" fmla="*/ 3172640 w 3565435"/>
                <a:gd name="connsiteY17" fmla="*/ 18919 h 3380784"/>
                <a:gd name="connsiteX18" fmla="*/ 3002373 w 3565435"/>
                <a:gd name="connsiteY18" fmla="*/ 138737 h 3380784"/>
                <a:gd name="connsiteX19" fmla="*/ 2895167 w 3565435"/>
                <a:gd name="connsiteY19" fmla="*/ 245942 h 3380784"/>
                <a:gd name="connsiteX20" fmla="*/ 2813186 w 3565435"/>
                <a:gd name="connsiteY20" fmla="*/ 346842 h 3380784"/>
                <a:gd name="connsiteX21" fmla="*/ 2819493 w 3565435"/>
                <a:gd name="connsiteY21" fmla="*/ 309004 h 3380784"/>
                <a:gd name="connsiteX22" fmla="*/ 2806880 w 3565435"/>
                <a:gd name="connsiteY22" fmla="*/ 163962 h 3380784"/>
                <a:gd name="connsiteX23" fmla="*/ 2800574 w 3565435"/>
                <a:gd name="connsiteY23" fmla="*/ 145043 h 3380784"/>
                <a:gd name="connsiteX24" fmla="*/ 2775349 w 3565435"/>
                <a:gd name="connsiteY24" fmla="*/ 107206 h 3380784"/>
                <a:gd name="connsiteX25" fmla="*/ 2724900 w 3565435"/>
                <a:gd name="connsiteY25" fmla="*/ 56756 h 3380784"/>
                <a:gd name="connsiteX26" fmla="*/ 2579857 w 3565435"/>
                <a:gd name="connsiteY26" fmla="*/ 18919 h 3380784"/>
                <a:gd name="connsiteX27" fmla="*/ 990693 w 3565435"/>
                <a:gd name="connsiteY27" fmla="*/ 31531 h 3380784"/>
                <a:gd name="connsiteX28" fmla="*/ 946549 w 3565435"/>
                <a:gd name="connsiteY28" fmla="*/ 69369 h 3380784"/>
                <a:gd name="connsiteX29" fmla="*/ 952855 w 3565435"/>
                <a:gd name="connsiteY29" fmla="*/ 88287 h 3380784"/>
                <a:gd name="connsiteX30" fmla="*/ 965468 w 3565435"/>
                <a:gd name="connsiteY30" fmla="*/ 119818 h 3380784"/>
                <a:gd name="connsiteX0" fmla="*/ 965468 w 3565435"/>
                <a:gd name="connsiteY0" fmla="*/ 119818 h 3324625"/>
                <a:gd name="connsiteX1" fmla="*/ 889793 w 3565435"/>
                <a:gd name="connsiteY1" fmla="*/ 1696370 h 3324625"/>
                <a:gd name="connsiteX2" fmla="*/ 25843 w 3565435"/>
                <a:gd name="connsiteY2" fmla="*/ 3241391 h 3324625"/>
                <a:gd name="connsiteX3" fmla="*/ 2018604 w 3565435"/>
                <a:gd name="connsiteY3" fmla="*/ 3317065 h 3324625"/>
                <a:gd name="connsiteX4" fmla="*/ 2794268 w 3565435"/>
                <a:gd name="connsiteY4" fmla="*/ 3323371 h 3324625"/>
                <a:gd name="connsiteX5" fmla="*/ 2844717 w 3565435"/>
                <a:gd name="connsiteY5" fmla="*/ 3317065 h 3324625"/>
                <a:gd name="connsiteX6" fmla="*/ 2876248 w 3565435"/>
                <a:gd name="connsiteY6" fmla="*/ 3291840 h 3324625"/>
                <a:gd name="connsiteX7" fmla="*/ 2983454 w 3565435"/>
                <a:gd name="connsiteY7" fmla="*/ 3172022 h 3324625"/>
                <a:gd name="connsiteX8" fmla="*/ 3254621 w 3565435"/>
                <a:gd name="connsiteY8" fmla="*/ 2635995 h 3324625"/>
                <a:gd name="connsiteX9" fmla="*/ 3399664 w 3565435"/>
                <a:gd name="connsiteY9" fmla="*/ 2245010 h 3324625"/>
                <a:gd name="connsiteX10" fmla="*/ 3506869 w 3565435"/>
                <a:gd name="connsiteY10" fmla="*/ 1809882 h 3324625"/>
                <a:gd name="connsiteX11" fmla="*/ 3538400 w 3565435"/>
                <a:gd name="connsiteY11" fmla="*/ 245942 h 3324625"/>
                <a:gd name="connsiteX12" fmla="*/ 3506869 w 3565435"/>
                <a:gd name="connsiteY12" fmla="*/ 94593 h 3324625"/>
                <a:gd name="connsiteX13" fmla="*/ 3487951 w 3565435"/>
                <a:gd name="connsiteY13" fmla="*/ 37838 h 3324625"/>
                <a:gd name="connsiteX14" fmla="*/ 3443807 w 3565435"/>
                <a:gd name="connsiteY14" fmla="*/ 12613 h 3324625"/>
                <a:gd name="connsiteX15" fmla="*/ 3361826 w 3565435"/>
                <a:gd name="connsiteY15" fmla="*/ 0 h 3324625"/>
                <a:gd name="connsiteX16" fmla="*/ 3242008 w 3565435"/>
                <a:gd name="connsiteY16" fmla="*/ 6307 h 3324625"/>
                <a:gd name="connsiteX17" fmla="*/ 3172640 w 3565435"/>
                <a:gd name="connsiteY17" fmla="*/ 18919 h 3324625"/>
                <a:gd name="connsiteX18" fmla="*/ 3002373 w 3565435"/>
                <a:gd name="connsiteY18" fmla="*/ 138737 h 3324625"/>
                <a:gd name="connsiteX19" fmla="*/ 2895167 w 3565435"/>
                <a:gd name="connsiteY19" fmla="*/ 245942 h 3324625"/>
                <a:gd name="connsiteX20" fmla="*/ 2813186 w 3565435"/>
                <a:gd name="connsiteY20" fmla="*/ 346842 h 3324625"/>
                <a:gd name="connsiteX21" fmla="*/ 2819493 w 3565435"/>
                <a:gd name="connsiteY21" fmla="*/ 309004 h 3324625"/>
                <a:gd name="connsiteX22" fmla="*/ 2806880 w 3565435"/>
                <a:gd name="connsiteY22" fmla="*/ 163962 h 3324625"/>
                <a:gd name="connsiteX23" fmla="*/ 2800574 w 3565435"/>
                <a:gd name="connsiteY23" fmla="*/ 145043 h 3324625"/>
                <a:gd name="connsiteX24" fmla="*/ 2775349 w 3565435"/>
                <a:gd name="connsiteY24" fmla="*/ 107206 h 3324625"/>
                <a:gd name="connsiteX25" fmla="*/ 2724900 w 3565435"/>
                <a:gd name="connsiteY25" fmla="*/ 56756 h 3324625"/>
                <a:gd name="connsiteX26" fmla="*/ 2579857 w 3565435"/>
                <a:gd name="connsiteY26" fmla="*/ 18919 h 3324625"/>
                <a:gd name="connsiteX27" fmla="*/ 990693 w 3565435"/>
                <a:gd name="connsiteY27" fmla="*/ 31531 h 3324625"/>
                <a:gd name="connsiteX28" fmla="*/ 946549 w 3565435"/>
                <a:gd name="connsiteY28" fmla="*/ 69369 h 3324625"/>
                <a:gd name="connsiteX29" fmla="*/ 952855 w 3565435"/>
                <a:gd name="connsiteY29" fmla="*/ 88287 h 3324625"/>
                <a:gd name="connsiteX30" fmla="*/ 965468 w 3565435"/>
                <a:gd name="connsiteY30" fmla="*/ 119818 h 3324625"/>
                <a:gd name="connsiteX0" fmla="*/ 939625 w 3539592"/>
                <a:gd name="connsiteY0" fmla="*/ 119818 h 3324625"/>
                <a:gd name="connsiteX1" fmla="*/ 863950 w 3539592"/>
                <a:gd name="connsiteY1" fmla="*/ 1696370 h 3324625"/>
                <a:gd name="connsiteX2" fmla="*/ 0 w 3539592"/>
                <a:gd name="connsiteY2" fmla="*/ 3241391 h 3324625"/>
                <a:gd name="connsiteX3" fmla="*/ 1992761 w 3539592"/>
                <a:gd name="connsiteY3" fmla="*/ 3317065 h 3324625"/>
                <a:gd name="connsiteX4" fmla="*/ 2768425 w 3539592"/>
                <a:gd name="connsiteY4" fmla="*/ 3323371 h 3324625"/>
                <a:gd name="connsiteX5" fmla="*/ 2818874 w 3539592"/>
                <a:gd name="connsiteY5" fmla="*/ 3317065 h 3324625"/>
                <a:gd name="connsiteX6" fmla="*/ 2850405 w 3539592"/>
                <a:gd name="connsiteY6" fmla="*/ 3291840 h 3324625"/>
                <a:gd name="connsiteX7" fmla="*/ 2957611 w 3539592"/>
                <a:gd name="connsiteY7" fmla="*/ 3172022 h 3324625"/>
                <a:gd name="connsiteX8" fmla="*/ 3228778 w 3539592"/>
                <a:gd name="connsiteY8" fmla="*/ 2635995 h 3324625"/>
                <a:gd name="connsiteX9" fmla="*/ 3373821 w 3539592"/>
                <a:gd name="connsiteY9" fmla="*/ 2245010 h 3324625"/>
                <a:gd name="connsiteX10" fmla="*/ 3481026 w 3539592"/>
                <a:gd name="connsiteY10" fmla="*/ 1809882 h 3324625"/>
                <a:gd name="connsiteX11" fmla="*/ 3512557 w 3539592"/>
                <a:gd name="connsiteY11" fmla="*/ 245942 h 3324625"/>
                <a:gd name="connsiteX12" fmla="*/ 3481026 w 3539592"/>
                <a:gd name="connsiteY12" fmla="*/ 94593 h 3324625"/>
                <a:gd name="connsiteX13" fmla="*/ 3462108 w 3539592"/>
                <a:gd name="connsiteY13" fmla="*/ 37838 h 3324625"/>
                <a:gd name="connsiteX14" fmla="*/ 3417964 w 3539592"/>
                <a:gd name="connsiteY14" fmla="*/ 12613 h 3324625"/>
                <a:gd name="connsiteX15" fmla="*/ 3335983 w 3539592"/>
                <a:gd name="connsiteY15" fmla="*/ 0 h 3324625"/>
                <a:gd name="connsiteX16" fmla="*/ 3216165 w 3539592"/>
                <a:gd name="connsiteY16" fmla="*/ 6307 h 3324625"/>
                <a:gd name="connsiteX17" fmla="*/ 3146797 w 3539592"/>
                <a:gd name="connsiteY17" fmla="*/ 18919 h 3324625"/>
                <a:gd name="connsiteX18" fmla="*/ 2976530 w 3539592"/>
                <a:gd name="connsiteY18" fmla="*/ 138737 h 3324625"/>
                <a:gd name="connsiteX19" fmla="*/ 2869324 w 3539592"/>
                <a:gd name="connsiteY19" fmla="*/ 245942 h 3324625"/>
                <a:gd name="connsiteX20" fmla="*/ 2787343 w 3539592"/>
                <a:gd name="connsiteY20" fmla="*/ 346842 h 3324625"/>
                <a:gd name="connsiteX21" fmla="*/ 2793650 w 3539592"/>
                <a:gd name="connsiteY21" fmla="*/ 309004 h 3324625"/>
                <a:gd name="connsiteX22" fmla="*/ 2781037 w 3539592"/>
                <a:gd name="connsiteY22" fmla="*/ 163962 h 3324625"/>
                <a:gd name="connsiteX23" fmla="*/ 2774731 w 3539592"/>
                <a:gd name="connsiteY23" fmla="*/ 145043 h 3324625"/>
                <a:gd name="connsiteX24" fmla="*/ 2749506 w 3539592"/>
                <a:gd name="connsiteY24" fmla="*/ 107206 h 3324625"/>
                <a:gd name="connsiteX25" fmla="*/ 2699057 w 3539592"/>
                <a:gd name="connsiteY25" fmla="*/ 56756 h 3324625"/>
                <a:gd name="connsiteX26" fmla="*/ 2554014 w 3539592"/>
                <a:gd name="connsiteY26" fmla="*/ 18919 h 3324625"/>
                <a:gd name="connsiteX27" fmla="*/ 964850 w 3539592"/>
                <a:gd name="connsiteY27" fmla="*/ 31531 h 3324625"/>
                <a:gd name="connsiteX28" fmla="*/ 920706 w 3539592"/>
                <a:gd name="connsiteY28" fmla="*/ 69369 h 3324625"/>
                <a:gd name="connsiteX29" fmla="*/ 927012 w 3539592"/>
                <a:gd name="connsiteY29" fmla="*/ 88287 h 3324625"/>
                <a:gd name="connsiteX30" fmla="*/ 939625 w 3539592"/>
                <a:gd name="connsiteY30" fmla="*/ 119818 h 3324625"/>
                <a:gd name="connsiteX0" fmla="*/ 960959 w 3560926"/>
                <a:gd name="connsiteY0" fmla="*/ 119818 h 3496093"/>
                <a:gd name="connsiteX1" fmla="*/ 21334 w 3560926"/>
                <a:gd name="connsiteY1" fmla="*/ 3241391 h 3496093"/>
                <a:gd name="connsiteX2" fmla="*/ 2014095 w 3560926"/>
                <a:gd name="connsiteY2" fmla="*/ 3317065 h 3496093"/>
                <a:gd name="connsiteX3" fmla="*/ 2789759 w 3560926"/>
                <a:gd name="connsiteY3" fmla="*/ 3323371 h 3496093"/>
                <a:gd name="connsiteX4" fmla="*/ 2840208 w 3560926"/>
                <a:gd name="connsiteY4" fmla="*/ 3317065 h 3496093"/>
                <a:gd name="connsiteX5" fmla="*/ 2871739 w 3560926"/>
                <a:gd name="connsiteY5" fmla="*/ 3291840 h 3496093"/>
                <a:gd name="connsiteX6" fmla="*/ 2978945 w 3560926"/>
                <a:gd name="connsiteY6" fmla="*/ 3172022 h 3496093"/>
                <a:gd name="connsiteX7" fmla="*/ 3250112 w 3560926"/>
                <a:gd name="connsiteY7" fmla="*/ 2635995 h 3496093"/>
                <a:gd name="connsiteX8" fmla="*/ 3395155 w 3560926"/>
                <a:gd name="connsiteY8" fmla="*/ 2245010 h 3496093"/>
                <a:gd name="connsiteX9" fmla="*/ 3502360 w 3560926"/>
                <a:gd name="connsiteY9" fmla="*/ 1809882 h 3496093"/>
                <a:gd name="connsiteX10" fmla="*/ 3533891 w 3560926"/>
                <a:gd name="connsiteY10" fmla="*/ 245942 h 3496093"/>
                <a:gd name="connsiteX11" fmla="*/ 3502360 w 3560926"/>
                <a:gd name="connsiteY11" fmla="*/ 94593 h 3496093"/>
                <a:gd name="connsiteX12" fmla="*/ 3483442 w 3560926"/>
                <a:gd name="connsiteY12" fmla="*/ 37838 h 3496093"/>
                <a:gd name="connsiteX13" fmla="*/ 3439298 w 3560926"/>
                <a:gd name="connsiteY13" fmla="*/ 12613 h 3496093"/>
                <a:gd name="connsiteX14" fmla="*/ 3357317 w 3560926"/>
                <a:gd name="connsiteY14" fmla="*/ 0 h 3496093"/>
                <a:gd name="connsiteX15" fmla="*/ 3237499 w 3560926"/>
                <a:gd name="connsiteY15" fmla="*/ 6307 h 3496093"/>
                <a:gd name="connsiteX16" fmla="*/ 3168131 w 3560926"/>
                <a:gd name="connsiteY16" fmla="*/ 18919 h 3496093"/>
                <a:gd name="connsiteX17" fmla="*/ 2997864 w 3560926"/>
                <a:gd name="connsiteY17" fmla="*/ 138737 h 3496093"/>
                <a:gd name="connsiteX18" fmla="*/ 2890658 w 3560926"/>
                <a:gd name="connsiteY18" fmla="*/ 245942 h 3496093"/>
                <a:gd name="connsiteX19" fmla="*/ 2808677 w 3560926"/>
                <a:gd name="connsiteY19" fmla="*/ 346842 h 3496093"/>
                <a:gd name="connsiteX20" fmla="*/ 2814984 w 3560926"/>
                <a:gd name="connsiteY20" fmla="*/ 309004 h 3496093"/>
                <a:gd name="connsiteX21" fmla="*/ 2802371 w 3560926"/>
                <a:gd name="connsiteY21" fmla="*/ 163962 h 3496093"/>
                <a:gd name="connsiteX22" fmla="*/ 2796065 w 3560926"/>
                <a:gd name="connsiteY22" fmla="*/ 145043 h 3496093"/>
                <a:gd name="connsiteX23" fmla="*/ 2770840 w 3560926"/>
                <a:gd name="connsiteY23" fmla="*/ 107206 h 3496093"/>
                <a:gd name="connsiteX24" fmla="*/ 2720391 w 3560926"/>
                <a:gd name="connsiteY24" fmla="*/ 56756 h 3496093"/>
                <a:gd name="connsiteX25" fmla="*/ 2575348 w 3560926"/>
                <a:gd name="connsiteY25" fmla="*/ 18919 h 3496093"/>
                <a:gd name="connsiteX26" fmla="*/ 986184 w 3560926"/>
                <a:gd name="connsiteY26" fmla="*/ 31531 h 3496093"/>
                <a:gd name="connsiteX27" fmla="*/ 942040 w 3560926"/>
                <a:gd name="connsiteY27" fmla="*/ 69369 h 3496093"/>
                <a:gd name="connsiteX28" fmla="*/ 948346 w 3560926"/>
                <a:gd name="connsiteY28" fmla="*/ 88287 h 3496093"/>
                <a:gd name="connsiteX29" fmla="*/ 960959 w 3560926"/>
                <a:gd name="connsiteY29" fmla="*/ 119818 h 3496093"/>
                <a:gd name="connsiteX0" fmla="*/ 949022 w 3561602"/>
                <a:gd name="connsiteY0" fmla="*/ 238525 h 3648653"/>
                <a:gd name="connsiteX1" fmla="*/ 22010 w 3561602"/>
                <a:gd name="connsiteY1" fmla="*/ 3391629 h 3648653"/>
                <a:gd name="connsiteX2" fmla="*/ 2014771 w 3561602"/>
                <a:gd name="connsiteY2" fmla="*/ 3467303 h 3648653"/>
                <a:gd name="connsiteX3" fmla="*/ 2790435 w 3561602"/>
                <a:gd name="connsiteY3" fmla="*/ 3473609 h 3648653"/>
                <a:gd name="connsiteX4" fmla="*/ 2840884 w 3561602"/>
                <a:gd name="connsiteY4" fmla="*/ 3467303 h 3648653"/>
                <a:gd name="connsiteX5" fmla="*/ 2872415 w 3561602"/>
                <a:gd name="connsiteY5" fmla="*/ 3442078 h 3648653"/>
                <a:gd name="connsiteX6" fmla="*/ 2979621 w 3561602"/>
                <a:gd name="connsiteY6" fmla="*/ 3322260 h 3648653"/>
                <a:gd name="connsiteX7" fmla="*/ 3250788 w 3561602"/>
                <a:gd name="connsiteY7" fmla="*/ 2786233 h 3648653"/>
                <a:gd name="connsiteX8" fmla="*/ 3395831 w 3561602"/>
                <a:gd name="connsiteY8" fmla="*/ 2395248 h 3648653"/>
                <a:gd name="connsiteX9" fmla="*/ 3503036 w 3561602"/>
                <a:gd name="connsiteY9" fmla="*/ 1960120 h 3648653"/>
                <a:gd name="connsiteX10" fmla="*/ 3534567 w 3561602"/>
                <a:gd name="connsiteY10" fmla="*/ 396180 h 3648653"/>
                <a:gd name="connsiteX11" fmla="*/ 3503036 w 3561602"/>
                <a:gd name="connsiteY11" fmla="*/ 244831 h 3648653"/>
                <a:gd name="connsiteX12" fmla="*/ 3484118 w 3561602"/>
                <a:gd name="connsiteY12" fmla="*/ 188076 h 3648653"/>
                <a:gd name="connsiteX13" fmla="*/ 3439974 w 3561602"/>
                <a:gd name="connsiteY13" fmla="*/ 162851 h 3648653"/>
                <a:gd name="connsiteX14" fmla="*/ 3357993 w 3561602"/>
                <a:gd name="connsiteY14" fmla="*/ 150238 h 3648653"/>
                <a:gd name="connsiteX15" fmla="*/ 3238175 w 3561602"/>
                <a:gd name="connsiteY15" fmla="*/ 156545 h 3648653"/>
                <a:gd name="connsiteX16" fmla="*/ 3168807 w 3561602"/>
                <a:gd name="connsiteY16" fmla="*/ 169157 h 3648653"/>
                <a:gd name="connsiteX17" fmla="*/ 2998540 w 3561602"/>
                <a:gd name="connsiteY17" fmla="*/ 288975 h 3648653"/>
                <a:gd name="connsiteX18" fmla="*/ 2891334 w 3561602"/>
                <a:gd name="connsiteY18" fmla="*/ 396180 h 3648653"/>
                <a:gd name="connsiteX19" fmla="*/ 2809353 w 3561602"/>
                <a:gd name="connsiteY19" fmla="*/ 497080 h 3648653"/>
                <a:gd name="connsiteX20" fmla="*/ 2815660 w 3561602"/>
                <a:gd name="connsiteY20" fmla="*/ 459242 h 3648653"/>
                <a:gd name="connsiteX21" fmla="*/ 2803047 w 3561602"/>
                <a:gd name="connsiteY21" fmla="*/ 314200 h 3648653"/>
                <a:gd name="connsiteX22" fmla="*/ 2796741 w 3561602"/>
                <a:gd name="connsiteY22" fmla="*/ 295281 h 3648653"/>
                <a:gd name="connsiteX23" fmla="*/ 2771516 w 3561602"/>
                <a:gd name="connsiteY23" fmla="*/ 257444 h 3648653"/>
                <a:gd name="connsiteX24" fmla="*/ 2721067 w 3561602"/>
                <a:gd name="connsiteY24" fmla="*/ 206994 h 3648653"/>
                <a:gd name="connsiteX25" fmla="*/ 2576024 w 3561602"/>
                <a:gd name="connsiteY25" fmla="*/ 169157 h 3648653"/>
                <a:gd name="connsiteX26" fmla="*/ 986860 w 3561602"/>
                <a:gd name="connsiteY26" fmla="*/ 181769 h 3648653"/>
                <a:gd name="connsiteX27" fmla="*/ 942716 w 3561602"/>
                <a:gd name="connsiteY27" fmla="*/ 219607 h 3648653"/>
                <a:gd name="connsiteX28" fmla="*/ 949022 w 3561602"/>
                <a:gd name="connsiteY28" fmla="*/ 238525 h 3648653"/>
                <a:gd name="connsiteX0" fmla="*/ 943220 w 3562106"/>
                <a:gd name="connsiteY0" fmla="*/ 69369 h 3499809"/>
                <a:gd name="connsiteX1" fmla="*/ 22514 w 3562106"/>
                <a:gd name="connsiteY1" fmla="*/ 3241391 h 3499809"/>
                <a:gd name="connsiteX2" fmla="*/ 2015275 w 3562106"/>
                <a:gd name="connsiteY2" fmla="*/ 3317065 h 3499809"/>
                <a:gd name="connsiteX3" fmla="*/ 2790939 w 3562106"/>
                <a:gd name="connsiteY3" fmla="*/ 3323371 h 3499809"/>
                <a:gd name="connsiteX4" fmla="*/ 2841388 w 3562106"/>
                <a:gd name="connsiteY4" fmla="*/ 3317065 h 3499809"/>
                <a:gd name="connsiteX5" fmla="*/ 2872919 w 3562106"/>
                <a:gd name="connsiteY5" fmla="*/ 3291840 h 3499809"/>
                <a:gd name="connsiteX6" fmla="*/ 2980125 w 3562106"/>
                <a:gd name="connsiteY6" fmla="*/ 3172022 h 3499809"/>
                <a:gd name="connsiteX7" fmla="*/ 3251292 w 3562106"/>
                <a:gd name="connsiteY7" fmla="*/ 2635995 h 3499809"/>
                <a:gd name="connsiteX8" fmla="*/ 3396335 w 3562106"/>
                <a:gd name="connsiteY8" fmla="*/ 2245010 h 3499809"/>
                <a:gd name="connsiteX9" fmla="*/ 3503540 w 3562106"/>
                <a:gd name="connsiteY9" fmla="*/ 1809882 h 3499809"/>
                <a:gd name="connsiteX10" fmla="*/ 3535071 w 3562106"/>
                <a:gd name="connsiteY10" fmla="*/ 245942 h 3499809"/>
                <a:gd name="connsiteX11" fmla="*/ 3503540 w 3562106"/>
                <a:gd name="connsiteY11" fmla="*/ 94593 h 3499809"/>
                <a:gd name="connsiteX12" fmla="*/ 3484622 w 3562106"/>
                <a:gd name="connsiteY12" fmla="*/ 37838 h 3499809"/>
                <a:gd name="connsiteX13" fmla="*/ 3440478 w 3562106"/>
                <a:gd name="connsiteY13" fmla="*/ 12613 h 3499809"/>
                <a:gd name="connsiteX14" fmla="*/ 3358497 w 3562106"/>
                <a:gd name="connsiteY14" fmla="*/ 0 h 3499809"/>
                <a:gd name="connsiteX15" fmla="*/ 3238679 w 3562106"/>
                <a:gd name="connsiteY15" fmla="*/ 6307 h 3499809"/>
                <a:gd name="connsiteX16" fmla="*/ 3169311 w 3562106"/>
                <a:gd name="connsiteY16" fmla="*/ 18919 h 3499809"/>
                <a:gd name="connsiteX17" fmla="*/ 2999044 w 3562106"/>
                <a:gd name="connsiteY17" fmla="*/ 138737 h 3499809"/>
                <a:gd name="connsiteX18" fmla="*/ 2891838 w 3562106"/>
                <a:gd name="connsiteY18" fmla="*/ 245942 h 3499809"/>
                <a:gd name="connsiteX19" fmla="*/ 2809857 w 3562106"/>
                <a:gd name="connsiteY19" fmla="*/ 346842 h 3499809"/>
                <a:gd name="connsiteX20" fmla="*/ 2816164 w 3562106"/>
                <a:gd name="connsiteY20" fmla="*/ 309004 h 3499809"/>
                <a:gd name="connsiteX21" fmla="*/ 2803551 w 3562106"/>
                <a:gd name="connsiteY21" fmla="*/ 163962 h 3499809"/>
                <a:gd name="connsiteX22" fmla="*/ 2797245 w 3562106"/>
                <a:gd name="connsiteY22" fmla="*/ 145043 h 3499809"/>
                <a:gd name="connsiteX23" fmla="*/ 2772020 w 3562106"/>
                <a:gd name="connsiteY23" fmla="*/ 107206 h 3499809"/>
                <a:gd name="connsiteX24" fmla="*/ 2721571 w 3562106"/>
                <a:gd name="connsiteY24" fmla="*/ 56756 h 3499809"/>
                <a:gd name="connsiteX25" fmla="*/ 2576528 w 3562106"/>
                <a:gd name="connsiteY25" fmla="*/ 18919 h 3499809"/>
                <a:gd name="connsiteX26" fmla="*/ 987364 w 3562106"/>
                <a:gd name="connsiteY26" fmla="*/ 31531 h 3499809"/>
                <a:gd name="connsiteX27" fmla="*/ 943220 w 3562106"/>
                <a:gd name="connsiteY27" fmla="*/ 69369 h 3499809"/>
                <a:gd name="connsiteX0" fmla="*/ 991000 w 3565742"/>
                <a:gd name="connsiteY0" fmla="*/ 241062 h 3712127"/>
                <a:gd name="connsiteX1" fmla="*/ 26150 w 3565742"/>
                <a:gd name="connsiteY1" fmla="*/ 3450922 h 3712127"/>
                <a:gd name="connsiteX2" fmla="*/ 2018911 w 3565742"/>
                <a:gd name="connsiteY2" fmla="*/ 3526596 h 3712127"/>
                <a:gd name="connsiteX3" fmla="*/ 2794575 w 3565742"/>
                <a:gd name="connsiteY3" fmla="*/ 3532902 h 3712127"/>
                <a:gd name="connsiteX4" fmla="*/ 2845024 w 3565742"/>
                <a:gd name="connsiteY4" fmla="*/ 3526596 h 3712127"/>
                <a:gd name="connsiteX5" fmla="*/ 2876555 w 3565742"/>
                <a:gd name="connsiteY5" fmla="*/ 3501371 h 3712127"/>
                <a:gd name="connsiteX6" fmla="*/ 2983761 w 3565742"/>
                <a:gd name="connsiteY6" fmla="*/ 3381553 h 3712127"/>
                <a:gd name="connsiteX7" fmla="*/ 3254928 w 3565742"/>
                <a:gd name="connsiteY7" fmla="*/ 2845526 h 3712127"/>
                <a:gd name="connsiteX8" fmla="*/ 3399971 w 3565742"/>
                <a:gd name="connsiteY8" fmla="*/ 2454541 h 3712127"/>
                <a:gd name="connsiteX9" fmla="*/ 3507176 w 3565742"/>
                <a:gd name="connsiteY9" fmla="*/ 2019413 h 3712127"/>
                <a:gd name="connsiteX10" fmla="*/ 3538707 w 3565742"/>
                <a:gd name="connsiteY10" fmla="*/ 455473 h 3712127"/>
                <a:gd name="connsiteX11" fmla="*/ 3507176 w 3565742"/>
                <a:gd name="connsiteY11" fmla="*/ 304124 h 3712127"/>
                <a:gd name="connsiteX12" fmla="*/ 3488258 w 3565742"/>
                <a:gd name="connsiteY12" fmla="*/ 247369 h 3712127"/>
                <a:gd name="connsiteX13" fmla="*/ 3444114 w 3565742"/>
                <a:gd name="connsiteY13" fmla="*/ 222144 h 3712127"/>
                <a:gd name="connsiteX14" fmla="*/ 3362133 w 3565742"/>
                <a:gd name="connsiteY14" fmla="*/ 209531 h 3712127"/>
                <a:gd name="connsiteX15" fmla="*/ 3242315 w 3565742"/>
                <a:gd name="connsiteY15" fmla="*/ 215838 h 3712127"/>
                <a:gd name="connsiteX16" fmla="*/ 3172947 w 3565742"/>
                <a:gd name="connsiteY16" fmla="*/ 228450 h 3712127"/>
                <a:gd name="connsiteX17" fmla="*/ 3002680 w 3565742"/>
                <a:gd name="connsiteY17" fmla="*/ 348268 h 3712127"/>
                <a:gd name="connsiteX18" fmla="*/ 2895474 w 3565742"/>
                <a:gd name="connsiteY18" fmla="*/ 455473 h 3712127"/>
                <a:gd name="connsiteX19" fmla="*/ 2813493 w 3565742"/>
                <a:gd name="connsiteY19" fmla="*/ 556373 h 3712127"/>
                <a:gd name="connsiteX20" fmla="*/ 2819800 w 3565742"/>
                <a:gd name="connsiteY20" fmla="*/ 518535 h 3712127"/>
                <a:gd name="connsiteX21" fmla="*/ 2807187 w 3565742"/>
                <a:gd name="connsiteY21" fmla="*/ 373493 h 3712127"/>
                <a:gd name="connsiteX22" fmla="*/ 2800881 w 3565742"/>
                <a:gd name="connsiteY22" fmla="*/ 354574 h 3712127"/>
                <a:gd name="connsiteX23" fmla="*/ 2775656 w 3565742"/>
                <a:gd name="connsiteY23" fmla="*/ 316737 h 3712127"/>
                <a:gd name="connsiteX24" fmla="*/ 2725207 w 3565742"/>
                <a:gd name="connsiteY24" fmla="*/ 266287 h 3712127"/>
                <a:gd name="connsiteX25" fmla="*/ 2580164 w 3565742"/>
                <a:gd name="connsiteY25" fmla="*/ 228450 h 3712127"/>
                <a:gd name="connsiteX26" fmla="*/ 991000 w 3565742"/>
                <a:gd name="connsiteY26" fmla="*/ 241062 h 3712127"/>
                <a:gd name="connsiteX0" fmla="*/ 991000 w 3565742"/>
                <a:gd name="connsiteY0" fmla="*/ 241062 h 3712127"/>
                <a:gd name="connsiteX1" fmla="*/ 26150 w 3565742"/>
                <a:gd name="connsiteY1" fmla="*/ 3450922 h 3712127"/>
                <a:gd name="connsiteX2" fmla="*/ 2018911 w 3565742"/>
                <a:gd name="connsiteY2" fmla="*/ 3526596 h 3712127"/>
                <a:gd name="connsiteX3" fmla="*/ 2794575 w 3565742"/>
                <a:gd name="connsiteY3" fmla="*/ 3532902 h 3712127"/>
                <a:gd name="connsiteX4" fmla="*/ 2845024 w 3565742"/>
                <a:gd name="connsiteY4" fmla="*/ 3526596 h 3712127"/>
                <a:gd name="connsiteX5" fmla="*/ 2876555 w 3565742"/>
                <a:gd name="connsiteY5" fmla="*/ 3501371 h 3712127"/>
                <a:gd name="connsiteX6" fmla="*/ 2983761 w 3565742"/>
                <a:gd name="connsiteY6" fmla="*/ 3381553 h 3712127"/>
                <a:gd name="connsiteX7" fmla="*/ 3254928 w 3565742"/>
                <a:gd name="connsiteY7" fmla="*/ 2845526 h 3712127"/>
                <a:gd name="connsiteX8" fmla="*/ 3399971 w 3565742"/>
                <a:gd name="connsiteY8" fmla="*/ 2454541 h 3712127"/>
                <a:gd name="connsiteX9" fmla="*/ 3507176 w 3565742"/>
                <a:gd name="connsiteY9" fmla="*/ 2019413 h 3712127"/>
                <a:gd name="connsiteX10" fmla="*/ 3538707 w 3565742"/>
                <a:gd name="connsiteY10" fmla="*/ 455473 h 3712127"/>
                <a:gd name="connsiteX11" fmla="*/ 3507176 w 3565742"/>
                <a:gd name="connsiteY11" fmla="*/ 304124 h 3712127"/>
                <a:gd name="connsiteX12" fmla="*/ 3488258 w 3565742"/>
                <a:gd name="connsiteY12" fmla="*/ 247369 h 3712127"/>
                <a:gd name="connsiteX13" fmla="*/ 3444114 w 3565742"/>
                <a:gd name="connsiteY13" fmla="*/ 222144 h 3712127"/>
                <a:gd name="connsiteX14" fmla="*/ 3362133 w 3565742"/>
                <a:gd name="connsiteY14" fmla="*/ 209531 h 3712127"/>
                <a:gd name="connsiteX15" fmla="*/ 3242315 w 3565742"/>
                <a:gd name="connsiteY15" fmla="*/ 215838 h 3712127"/>
                <a:gd name="connsiteX16" fmla="*/ 3172947 w 3565742"/>
                <a:gd name="connsiteY16" fmla="*/ 228450 h 3712127"/>
                <a:gd name="connsiteX17" fmla="*/ 3002680 w 3565742"/>
                <a:gd name="connsiteY17" fmla="*/ 348268 h 3712127"/>
                <a:gd name="connsiteX18" fmla="*/ 2895474 w 3565742"/>
                <a:gd name="connsiteY18" fmla="*/ 455473 h 3712127"/>
                <a:gd name="connsiteX19" fmla="*/ 2813493 w 3565742"/>
                <a:gd name="connsiteY19" fmla="*/ 556373 h 3712127"/>
                <a:gd name="connsiteX20" fmla="*/ 2819800 w 3565742"/>
                <a:gd name="connsiteY20" fmla="*/ 518535 h 3712127"/>
                <a:gd name="connsiteX21" fmla="*/ 2807187 w 3565742"/>
                <a:gd name="connsiteY21" fmla="*/ 373493 h 3712127"/>
                <a:gd name="connsiteX22" fmla="*/ 2800881 w 3565742"/>
                <a:gd name="connsiteY22" fmla="*/ 354574 h 3712127"/>
                <a:gd name="connsiteX23" fmla="*/ 2775656 w 3565742"/>
                <a:gd name="connsiteY23" fmla="*/ 316737 h 3712127"/>
                <a:gd name="connsiteX24" fmla="*/ 2725207 w 3565742"/>
                <a:gd name="connsiteY24" fmla="*/ 266287 h 3712127"/>
                <a:gd name="connsiteX25" fmla="*/ 2580164 w 3565742"/>
                <a:gd name="connsiteY25" fmla="*/ 228450 h 3712127"/>
                <a:gd name="connsiteX26" fmla="*/ 991000 w 3565742"/>
                <a:gd name="connsiteY26" fmla="*/ 241062 h 3712127"/>
                <a:gd name="connsiteX0" fmla="*/ 980278 w 3555020"/>
                <a:gd name="connsiteY0" fmla="*/ 241062 h 3712127"/>
                <a:gd name="connsiteX1" fmla="*/ 15428 w 3555020"/>
                <a:gd name="connsiteY1" fmla="*/ 3450922 h 3712127"/>
                <a:gd name="connsiteX2" fmla="*/ 2008189 w 3555020"/>
                <a:gd name="connsiteY2" fmla="*/ 3526596 h 3712127"/>
                <a:gd name="connsiteX3" fmla="*/ 2783853 w 3555020"/>
                <a:gd name="connsiteY3" fmla="*/ 3532902 h 3712127"/>
                <a:gd name="connsiteX4" fmla="*/ 2834302 w 3555020"/>
                <a:gd name="connsiteY4" fmla="*/ 3526596 h 3712127"/>
                <a:gd name="connsiteX5" fmla="*/ 2865833 w 3555020"/>
                <a:gd name="connsiteY5" fmla="*/ 3501371 h 3712127"/>
                <a:gd name="connsiteX6" fmla="*/ 2973039 w 3555020"/>
                <a:gd name="connsiteY6" fmla="*/ 3381553 h 3712127"/>
                <a:gd name="connsiteX7" fmla="*/ 3244206 w 3555020"/>
                <a:gd name="connsiteY7" fmla="*/ 2845526 h 3712127"/>
                <a:gd name="connsiteX8" fmla="*/ 3389249 w 3555020"/>
                <a:gd name="connsiteY8" fmla="*/ 2454541 h 3712127"/>
                <a:gd name="connsiteX9" fmla="*/ 3496454 w 3555020"/>
                <a:gd name="connsiteY9" fmla="*/ 2019413 h 3712127"/>
                <a:gd name="connsiteX10" fmla="*/ 3527985 w 3555020"/>
                <a:gd name="connsiteY10" fmla="*/ 455473 h 3712127"/>
                <a:gd name="connsiteX11" fmla="*/ 3496454 w 3555020"/>
                <a:gd name="connsiteY11" fmla="*/ 304124 h 3712127"/>
                <a:gd name="connsiteX12" fmla="*/ 3477536 w 3555020"/>
                <a:gd name="connsiteY12" fmla="*/ 247369 h 3712127"/>
                <a:gd name="connsiteX13" fmla="*/ 3433392 w 3555020"/>
                <a:gd name="connsiteY13" fmla="*/ 222144 h 3712127"/>
                <a:gd name="connsiteX14" fmla="*/ 3351411 w 3555020"/>
                <a:gd name="connsiteY14" fmla="*/ 209531 h 3712127"/>
                <a:gd name="connsiteX15" fmla="*/ 3231593 w 3555020"/>
                <a:gd name="connsiteY15" fmla="*/ 215838 h 3712127"/>
                <a:gd name="connsiteX16" fmla="*/ 3162225 w 3555020"/>
                <a:gd name="connsiteY16" fmla="*/ 228450 h 3712127"/>
                <a:gd name="connsiteX17" fmla="*/ 2991958 w 3555020"/>
                <a:gd name="connsiteY17" fmla="*/ 348268 h 3712127"/>
                <a:gd name="connsiteX18" fmla="*/ 2884752 w 3555020"/>
                <a:gd name="connsiteY18" fmla="*/ 455473 h 3712127"/>
                <a:gd name="connsiteX19" fmla="*/ 2802771 w 3555020"/>
                <a:gd name="connsiteY19" fmla="*/ 556373 h 3712127"/>
                <a:gd name="connsiteX20" fmla="*/ 2809078 w 3555020"/>
                <a:gd name="connsiteY20" fmla="*/ 518535 h 3712127"/>
                <a:gd name="connsiteX21" fmla="*/ 2796465 w 3555020"/>
                <a:gd name="connsiteY21" fmla="*/ 373493 h 3712127"/>
                <a:gd name="connsiteX22" fmla="*/ 2790159 w 3555020"/>
                <a:gd name="connsiteY22" fmla="*/ 354574 h 3712127"/>
                <a:gd name="connsiteX23" fmla="*/ 2764934 w 3555020"/>
                <a:gd name="connsiteY23" fmla="*/ 316737 h 3712127"/>
                <a:gd name="connsiteX24" fmla="*/ 2714485 w 3555020"/>
                <a:gd name="connsiteY24" fmla="*/ 266287 h 3712127"/>
                <a:gd name="connsiteX25" fmla="*/ 2569442 w 3555020"/>
                <a:gd name="connsiteY25" fmla="*/ 228450 h 3712127"/>
                <a:gd name="connsiteX26" fmla="*/ 980278 w 3555020"/>
                <a:gd name="connsiteY26" fmla="*/ 241062 h 3712127"/>
                <a:gd name="connsiteX0" fmla="*/ 964850 w 3539592"/>
                <a:gd name="connsiteY0" fmla="*/ 241062 h 3712127"/>
                <a:gd name="connsiteX1" fmla="*/ 0 w 3539592"/>
                <a:gd name="connsiteY1" fmla="*/ 3450922 h 3712127"/>
                <a:gd name="connsiteX2" fmla="*/ 1992761 w 3539592"/>
                <a:gd name="connsiteY2" fmla="*/ 3526596 h 3712127"/>
                <a:gd name="connsiteX3" fmla="*/ 2768425 w 3539592"/>
                <a:gd name="connsiteY3" fmla="*/ 3532902 h 3712127"/>
                <a:gd name="connsiteX4" fmla="*/ 2818874 w 3539592"/>
                <a:gd name="connsiteY4" fmla="*/ 3526596 h 3712127"/>
                <a:gd name="connsiteX5" fmla="*/ 2850405 w 3539592"/>
                <a:gd name="connsiteY5" fmla="*/ 3501371 h 3712127"/>
                <a:gd name="connsiteX6" fmla="*/ 2957611 w 3539592"/>
                <a:gd name="connsiteY6" fmla="*/ 3381553 h 3712127"/>
                <a:gd name="connsiteX7" fmla="*/ 3228778 w 3539592"/>
                <a:gd name="connsiteY7" fmla="*/ 2845526 h 3712127"/>
                <a:gd name="connsiteX8" fmla="*/ 3373821 w 3539592"/>
                <a:gd name="connsiteY8" fmla="*/ 2454541 h 3712127"/>
                <a:gd name="connsiteX9" fmla="*/ 3481026 w 3539592"/>
                <a:gd name="connsiteY9" fmla="*/ 2019413 h 3712127"/>
                <a:gd name="connsiteX10" fmla="*/ 3512557 w 3539592"/>
                <a:gd name="connsiteY10" fmla="*/ 455473 h 3712127"/>
                <a:gd name="connsiteX11" fmla="*/ 3481026 w 3539592"/>
                <a:gd name="connsiteY11" fmla="*/ 304124 h 3712127"/>
                <a:gd name="connsiteX12" fmla="*/ 3462108 w 3539592"/>
                <a:gd name="connsiteY12" fmla="*/ 247369 h 3712127"/>
                <a:gd name="connsiteX13" fmla="*/ 3417964 w 3539592"/>
                <a:gd name="connsiteY13" fmla="*/ 222144 h 3712127"/>
                <a:gd name="connsiteX14" fmla="*/ 3335983 w 3539592"/>
                <a:gd name="connsiteY14" fmla="*/ 209531 h 3712127"/>
                <a:gd name="connsiteX15" fmla="*/ 3216165 w 3539592"/>
                <a:gd name="connsiteY15" fmla="*/ 215838 h 3712127"/>
                <a:gd name="connsiteX16" fmla="*/ 3146797 w 3539592"/>
                <a:gd name="connsiteY16" fmla="*/ 228450 h 3712127"/>
                <a:gd name="connsiteX17" fmla="*/ 2976530 w 3539592"/>
                <a:gd name="connsiteY17" fmla="*/ 348268 h 3712127"/>
                <a:gd name="connsiteX18" fmla="*/ 2869324 w 3539592"/>
                <a:gd name="connsiteY18" fmla="*/ 455473 h 3712127"/>
                <a:gd name="connsiteX19" fmla="*/ 2787343 w 3539592"/>
                <a:gd name="connsiteY19" fmla="*/ 556373 h 3712127"/>
                <a:gd name="connsiteX20" fmla="*/ 2793650 w 3539592"/>
                <a:gd name="connsiteY20" fmla="*/ 518535 h 3712127"/>
                <a:gd name="connsiteX21" fmla="*/ 2781037 w 3539592"/>
                <a:gd name="connsiteY21" fmla="*/ 373493 h 3712127"/>
                <a:gd name="connsiteX22" fmla="*/ 2774731 w 3539592"/>
                <a:gd name="connsiteY22" fmla="*/ 354574 h 3712127"/>
                <a:gd name="connsiteX23" fmla="*/ 2749506 w 3539592"/>
                <a:gd name="connsiteY23" fmla="*/ 316737 h 3712127"/>
                <a:gd name="connsiteX24" fmla="*/ 2699057 w 3539592"/>
                <a:gd name="connsiteY24" fmla="*/ 266287 h 3712127"/>
                <a:gd name="connsiteX25" fmla="*/ 2554014 w 3539592"/>
                <a:gd name="connsiteY25" fmla="*/ 228450 h 3712127"/>
                <a:gd name="connsiteX26" fmla="*/ 964850 w 3539592"/>
                <a:gd name="connsiteY26" fmla="*/ 241062 h 3712127"/>
                <a:gd name="connsiteX0" fmla="*/ 964850 w 3539592"/>
                <a:gd name="connsiteY0" fmla="*/ 241062 h 3534156"/>
                <a:gd name="connsiteX1" fmla="*/ 0 w 3539592"/>
                <a:gd name="connsiteY1" fmla="*/ 3450922 h 3534156"/>
                <a:gd name="connsiteX2" fmla="*/ 1992761 w 3539592"/>
                <a:gd name="connsiteY2" fmla="*/ 3526596 h 3534156"/>
                <a:gd name="connsiteX3" fmla="*/ 2768425 w 3539592"/>
                <a:gd name="connsiteY3" fmla="*/ 3532902 h 3534156"/>
                <a:gd name="connsiteX4" fmla="*/ 2818874 w 3539592"/>
                <a:gd name="connsiteY4" fmla="*/ 3526596 h 3534156"/>
                <a:gd name="connsiteX5" fmla="*/ 2850405 w 3539592"/>
                <a:gd name="connsiteY5" fmla="*/ 3501371 h 3534156"/>
                <a:gd name="connsiteX6" fmla="*/ 2957611 w 3539592"/>
                <a:gd name="connsiteY6" fmla="*/ 3381553 h 3534156"/>
                <a:gd name="connsiteX7" fmla="*/ 3228778 w 3539592"/>
                <a:gd name="connsiteY7" fmla="*/ 2845526 h 3534156"/>
                <a:gd name="connsiteX8" fmla="*/ 3373821 w 3539592"/>
                <a:gd name="connsiteY8" fmla="*/ 2454541 h 3534156"/>
                <a:gd name="connsiteX9" fmla="*/ 3481026 w 3539592"/>
                <a:gd name="connsiteY9" fmla="*/ 2019413 h 3534156"/>
                <a:gd name="connsiteX10" fmla="*/ 3512557 w 3539592"/>
                <a:gd name="connsiteY10" fmla="*/ 455473 h 3534156"/>
                <a:gd name="connsiteX11" fmla="*/ 3481026 w 3539592"/>
                <a:gd name="connsiteY11" fmla="*/ 304124 h 3534156"/>
                <a:gd name="connsiteX12" fmla="*/ 3462108 w 3539592"/>
                <a:gd name="connsiteY12" fmla="*/ 247369 h 3534156"/>
                <a:gd name="connsiteX13" fmla="*/ 3417964 w 3539592"/>
                <a:gd name="connsiteY13" fmla="*/ 222144 h 3534156"/>
                <a:gd name="connsiteX14" fmla="*/ 3335983 w 3539592"/>
                <a:gd name="connsiteY14" fmla="*/ 209531 h 3534156"/>
                <a:gd name="connsiteX15" fmla="*/ 3216165 w 3539592"/>
                <a:gd name="connsiteY15" fmla="*/ 215838 h 3534156"/>
                <a:gd name="connsiteX16" fmla="*/ 3146797 w 3539592"/>
                <a:gd name="connsiteY16" fmla="*/ 228450 h 3534156"/>
                <a:gd name="connsiteX17" fmla="*/ 2976530 w 3539592"/>
                <a:gd name="connsiteY17" fmla="*/ 348268 h 3534156"/>
                <a:gd name="connsiteX18" fmla="*/ 2869324 w 3539592"/>
                <a:gd name="connsiteY18" fmla="*/ 455473 h 3534156"/>
                <a:gd name="connsiteX19" fmla="*/ 2787343 w 3539592"/>
                <a:gd name="connsiteY19" fmla="*/ 556373 h 3534156"/>
                <a:gd name="connsiteX20" fmla="*/ 2793650 w 3539592"/>
                <a:gd name="connsiteY20" fmla="*/ 518535 h 3534156"/>
                <a:gd name="connsiteX21" fmla="*/ 2781037 w 3539592"/>
                <a:gd name="connsiteY21" fmla="*/ 373493 h 3534156"/>
                <a:gd name="connsiteX22" fmla="*/ 2774731 w 3539592"/>
                <a:gd name="connsiteY22" fmla="*/ 354574 h 3534156"/>
                <a:gd name="connsiteX23" fmla="*/ 2749506 w 3539592"/>
                <a:gd name="connsiteY23" fmla="*/ 316737 h 3534156"/>
                <a:gd name="connsiteX24" fmla="*/ 2699057 w 3539592"/>
                <a:gd name="connsiteY24" fmla="*/ 266287 h 3534156"/>
                <a:gd name="connsiteX25" fmla="*/ 2554014 w 3539592"/>
                <a:gd name="connsiteY25" fmla="*/ 228450 h 3534156"/>
                <a:gd name="connsiteX26" fmla="*/ 964850 w 3539592"/>
                <a:gd name="connsiteY26" fmla="*/ 241062 h 3534156"/>
                <a:gd name="connsiteX0" fmla="*/ 964850 w 3539592"/>
                <a:gd name="connsiteY0" fmla="*/ 232230 h 3525324"/>
                <a:gd name="connsiteX1" fmla="*/ 0 w 3539592"/>
                <a:gd name="connsiteY1" fmla="*/ 3442090 h 3525324"/>
                <a:gd name="connsiteX2" fmla="*/ 1992761 w 3539592"/>
                <a:gd name="connsiteY2" fmla="*/ 3517764 h 3525324"/>
                <a:gd name="connsiteX3" fmla="*/ 2768425 w 3539592"/>
                <a:gd name="connsiteY3" fmla="*/ 3524070 h 3525324"/>
                <a:gd name="connsiteX4" fmla="*/ 2818874 w 3539592"/>
                <a:gd name="connsiteY4" fmla="*/ 3517764 h 3525324"/>
                <a:gd name="connsiteX5" fmla="*/ 2850405 w 3539592"/>
                <a:gd name="connsiteY5" fmla="*/ 3492539 h 3525324"/>
                <a:gd name="connsiteX6" fmla="*/ 2957611 w 3539592"/>
                <a:gd name="connsiteY6" fmla="*/ 3372721 h 3525324"/>
                <a:gd name="connsiteX7" fmla="*/ 3228778 w 3539592"/>
                <a:gd name="connsiteY7" fmla="*/ 2836694 h 3525324"/>
                <a:gd name="connsiteX8" fmla="*/ 3373821 w 3539592"/>
                <a:gd name="connsiteY8" fmla="*/ 2445709 h 3525324"/>
                <a:gd name="connsiteX9" fmla="*/ 3481026 w 3539592"/>
                <a:gd name="connsiteY9" fmla="*/ 2010581 h 3525324"/>
                <a:gd name="connsiteX10" fmla="*/ 3512557 w 3539592"/>
                <a:gd name="connsiteY10" fmla="*/ 446641 h 3525324"/>
                <a:gd name="connsiteX11" fmla="*/ 3481026 w 3539592"/>
                <a:gd name="connsiteY11" fmla="*/ 295292 h 3525324"/>
                <a:gd name="connsiteX12" fmla="*/ 3462108 w 3539592"/>
                <a:gd name="connsiteY12" fmla="*/ 238537 h 3525324"/>
                <a:gd name="connsiteX13" fmla="*/ 3417964 w 3539592"/>
                <a:gd name="connsiteY13" fmla="*/ 213312 h 3525324"/>
                <a:gd name="connsiteX14" fmla="*/ 3335983 w 3539592"/>
                <a:gd name="connsiteY14" fmla="*/ 200699 h 3525324"/>
                <a:gd name="connsiteX15" fmla="*/ 3216165 w 3539592"/>
                <a:gd name="connsiteY15" fmla="*/ 207006 h 3525324"/>
                <a:gd name="connsiteX16" fmla="*/ 3146797 w 3539592"/>
                <a:gd name="connsiteY16" fmla="*/ 219618 h 3525324"/>
                <a:gd name="connsiteX17" fmla="*/ 2976530 w 3539592"/>
                <a:gd name="connsiteY17" fmla="*/ 339436 h 3525324"/>
                <a:gd name="connsiteX18" fmla="*/ 2869324 w 3539592"/>
                <a:gd name="connsiteY18" fmla="*/ 446641 h 3525324"/>
                <a:gd name="connsiteX19" fmla="*/ 2787343 w 3539592"/>
                <a:gd name="connsiteY19" fmla="*/ 547541 h 3525324"/>
                <a:gd name="connsiteX20" fmla="*/ 2793650 w 3539592"/>
                <a:gd name="connsiteY20" fmla="*/ 509703 h 3525324"/>
                <a:gd name="connsiteX21" fmla="*/ 2781037 w 3539592"/>
                <a:gd name="connsiteY21" fmla="*/ 364661 h 3525324"/>
                <a:gd name="connsiteX22" fmla="*/ 2774731 w 3539592"/>
                <a:gd name="connsiteY22" fmla="*/ 345742 h 3525324"/>
                <a:gd name="connsiteX23" fmla="*/ 2749506 w 3539592"/>
                <a:gd name="connsiteY23" fmla="*/ 307905 h 3525324"/>
                <a:gd name="connsiteX24" fmla="*/ 2699057 w 3539592"/>
                <a:gd name="connsiteY24" fmla="*/ 257455 h 3525324"/>
                <a:gd name="connsiteX25" fmla="*/ 964850 w 3539592"/>
                <a:gd name="connsiteY25" fmla="*/ 232230 h 3525324"/>
                <a:gd name="connsiteX0" fmla="*/ 964850 w 3539592"/>
                <a:gd name="connsiteY0" fmla="*/ 217745 h 3510839"/>
                <a:gd name="connsiteX1" fmla="*/ 0 w 3539592"/>
                <a:gd name="connsiteY1" fmla="*/ 3427605 h 3510839"/>
                <a:gd name="connsiteX2" fmla="*/ 1992761 w 3539592"/>
                <a:gd name="connsiteY2" fmla="*/ 3503279 h 3510839"/>
                <a:gd name="connsiteX3" fmla="*/ 2768425 w 3539592"/>
                <a:gd name="connsiteY3" fmla="*/ 3509585 h 3510839"/>
                <a:gd name="connsiteX4" fmla="*/ 2818874 w 3539592"/>
                <a:gd name="connsiteY4" fmla="*/ 3503279 h 3510839"/>
                <a:gd name="connsiteX5" fmla="*/ 2850405 w 3539592"/>
                <a:gd name="connsiteY5" fmla="*/ 3478054 h 3510839"/>
                <a:gd name="connsiteX6" fmla="*/ 2957611 w 3539592"/>
                <a:gd name="connsiteY6" fmla="*/ 3358236 h 3510839"/>
                <a:gd name="connsiteX7" fmla="*/ 3228778 w 3539592"/>
                <a:gd name="connsiteY7" fmla="*/ 2822209 h 3510839"/>
                <a:gd name="connsiteX8" fmla="*/ 3373821 w 3539592"/>
                <a:gd name="connsiteY8" fmla="*/ 2431224 h 3510839"/>
                <a:gd name="connsiteX9" fmla="*/ 3481026 w 3539592"/>
                <a:gd name="connsiteY9" fmla="*/ 1996096 h 3510839"/>
                <a:gd name="connsiteX10" fmla="*/ 3512557 w 3539592"/>
                <a:gd name="connsiteY10" fmla="*/ 432156 h 3510839"/>
                <a:gd name="connsiteX11" fmla="*/ 3481026 w 3539592"/>
                <a:gd name="connsiteY11" fmla="*/ 280807 h 3510839"/>
                <a:gd name="connsiteX12" fmla="*/ 3462108 w 3539592"/>
                <a:gd name="connsiteY12" fmla="*/ 224052 h 3510839"/>
                <a:gd name="connsiteX13" fmla="*/ 3417964 w 3539592"/>
                <a:gd name="connsiteY13" fmla="*/ 198827 h 3510839"/>
                <a:gd name="connsiteX14" fmla="*/ 3335983 w 3539592"/>
                <a:gd name="connsiteY14" fmla="*/ 186214 h 3510839"/>
                <a:gd name="connsiteX15" fmla="*/ 3216165 w 3539592"/>
                <a:gd name="connsiteY15" fmla="*/ 192521 h 3510839"/>
                <a:gd name="connsiteX16" fmla="*/ 3146797 w 3539592"/>
                <a:gd name="connsiteY16" fmla="*/ 205133 h 3510839"/>
                <a:gd name="connsiteX17" fmla="*/ 2976530 w 3539592"/>
                <a:gd name="connsiteY17" fmla="*/ 324951 h 3510839"/>
                <a:gd name="connsiteX18" fmla="*/ 2869324 w 3539592"/>
                <a:gd name="connsiteY18" fmla="*/ 432156 h 3510839"/>
                <a:gd name="connsiteX19" fmla="*/ 2787343 w 3539592"/>
                <a:gd name="connsiteY19" fmla="*/ 533056 h 3510839"/>
                <a:gd name="connsiteX20" fmla="*/ 2793650 w 3539592"/>
                <a:gd name="connsiteY20" fmla="*/ 495218 h 3510839"/>
                <a:gd name="connsiteX21" fmla="*/ 2781037 w 3539592"/>
                <a:gd name="connsiteY21" fmla="*/ 350176 h 3510839"/>
                <a:gd name="connsiteX22" fmla="*/ 2774731 w 3539592"/>
                <a:gd name="connsiteY22" fmla="*/ 331257 h 3510839"/>
                <a:gd name="connsiteX23" fmla="*/ 2749506 w 3539592"/>
                <a:gd name="connsiteY23" fmla="*/ 293420 h 3510839"/>
                <a:gd name="connsiteX24" fmla="*/ 964850 w 3539592"/>
                <a:gd name="connsiteY24" fmla="*/ 217745 h 3510839"/>
                <a:gd name="connsiteX0" fmla="*/ 964850 w 3539592"/>
                <a:gd name="connsiteY0" fmla="*/ 207257 h 3500351"/>
                <a:gd name="connsiteX1" fmla="*/ 0 w 3539592"/>
                <a:gd name="connsiteY1" fmla="*/ 3417117 h 3500351"/>
                <a:gd name="connsiteX2" fmla="*/ 1992761 w 3539592"/>
                <a:gd name="connsiteY2" fmla="*/ 3492791 h 3500351"/>
                <a:gd name="connsiteX3" fmla="*/ 2768425 w 3539592"/>
                <a:gd name="connsiteY3" fmla="*/ 3499097 h 3500351"/>
                <a:gd name="connsiteX4" fmla="*/ 2818874 w 3539592"/>
                <a:gd name="connsiteY4" fmla="*/ 3492791 h 3500351"/>
                <a:gd name="connsiteX5" fmla="*/ 2850405 w 3539592"/>
                <a:gd name="connsiteY5" fmla="*/ 3467566 h 3500351"/>
                <a:gd name="connsiteX6" fmla="*/ 2957611 w 3539592"/>
                <a:gd name="connsiteY6" fmla="*/ 3347748 h 3500351"/>
                <a:gd name="connsiteX7" fmla="*/ 3228778 w 3539592"/>
                <a:gd name="connsiteY7" fmla="*/ 2811721 h 3500351"/>
                <a:gd name="connsiteX8" fmla="*/ 3373821 w 3539592"/>
                <a:gd name="connsiteY8" fmla="*/ 2420736 h 3500351"/>
                <a:gd name="connsiteX9" fmla="*/ 3481026 w 3539592"/>
                <a:gd name="connsiteY9" fmla="*/ 1985608 h 3500351"/>
                <a:gd name="connsiteX10" fmla="*/ 3512557 w 3539592"/>
                <a:gd name="connsiteY10" fmla="*/ 421668 h 3500351"/>
                <a:gd name="connsiteX11" fmla="*/ 3481026 w 3539592"/>
                <a:gd name="connsiteY11" fmla="*/ 270319 h 3500351"/>
                <a:gd name="connsiteX12" fmla="*/ 3462108 w 3539592"/>
                <a:gd name="connsiteY12" fmla="*/ 213564 h 3500351"/>
                <a:gd name="connsiteX13" fmla="*/ 3417964 w 3539592"/>
                <a:gd name="connsiteY13" fmla="*/ 188339 h 3500351"/>
                <a:gd name="connsiteX14" fmla="*/ 3335983 w 3539592"/>
                <a:gd name="connsiteY14" fmla="*/ 175726 h 3500351"/>
                <a:gd name="connsiteX15" fmla="*/ 3216165 w 3539592"/>
                <a:gd name="connsiteY15" fmla="*/ 182033 h 3500351"/>
                <a:gd name="connsiteX16" fmla="*/ 3146797 w 3539592"/>
                <a:gd name="connsiteY16" fmla="*/ 194645 h 3500351"/>
                <a:gd name="connsiteX17" fmla="*/ 2976530 w 3539592"/>
                <a:gd name="connsiteY17" fmla="*/ 314463 h 3500351"/>
                <a:gd name="connsiteX18" fmla="*/ 2869324 w 3539592"/>
                <a:gd name="connsiteY18" fmla="*/ 421668 h 3500351"/>
                <a:gd name="connsiteX19" fmla="*/ 2787343 w 3539592"/>
                <a:gd name="connsiteY19" fmla="*/ 522568 h 3500351"/>
                <a:gd name="connsiteX20" fmla="*/ 2793650 w 3539592"/>
                <a:gd name="connsiteY20" fmla="*/ 484730 h 3500351"/>
                <a:gd name="connsiteX21" fmla="*/ 2781037 w 3539592"/>
                <a:gd name="connsiteY21" fmla="*/ 339688 h 3500351"/>
                <a:gd name="connsiteX22" fmla="*/ 2774731 w 3539592"/>
                <a:gd name="connsiteY22" fmla="*/ 320769 h 3500351"/>
                <a:gd name="connsiteX23" fmla="*/ 964850 w 3539592"/>
                <a:gd name="connsiteY23" fmla="*/ 207257 h 3500351"/>
                <a:gd name="connsiteX0" fmla="*/ 964850 w 3539592"/>
                <a:gd name="connsiteY0" fmla="*/ 206351 h 3499445"/>
                <a:gd name="connsiteX1" fmla="*/ 0 w 3539592"/>
                <a:gd name="connsiteY1" fmla="*/ 3416211 h 3499445"/>
                <a:gd name="connsiteX2" fmla="*/ 1992761 w 3539592"/>
                <a:gd name="connsiteY2" fmla="*/ 3491885 h 3499445"/>
                <a:gd name="connsiteX3" fmla="*/ 2768425 w 3539592"/>
                <a:gd name="connsiteY3" fmla="*/ 3498191 h 3499445"/>
                <a:gd name="connsiteX4" fmla="*/ 2818874 w 3539592"/>
                <a:gd name="connsiteY4" fmla="*/ 3491885 h 3499445"/>
                <a:gd name="connsiteX5" fmla="*/ 2850405 w 3539592"/>
                <a:gd name="connsiteY5" fmla="*/ 3466660 h 3499445"/>
                <a:gd name="connsiteX6" fmla="*/ 2957611 w 3539592"/>
                <a:gd name="connsiteY6" fmla="*/ 3346842 h 3499445"/>
                <a:gd name="connsiteX7" fmla="*/ 3228778 w 3539592"/>
                <a:gd name="connsiteY7" fmla="*/ 2810815 h 3499445"/>
                <a:gd name="connsiteX8" fmla="*/ 3373821 w 3539592"/>
                <a:gd name="connsiteY8" fmla="*/ 2419830 h 3499445"/>
                <a:gd name="connsiteX9" fmla="*/ 3481026 w 3539592"/>
                <a:gd name="connsiteY9" fmla="*/ 1984702 h 3499445"/>
                <a:gd name="connsiteX10" fmla="*/ 3512557 w 3539592"/>
                <a:gd name="connsiteY10" fmla="*/ 420762 h 3499445"/>
                <a:gd name="connsiteX11" fmla="*/ 3481026 w 3539592"/>
                <a:gd name="connsiteY11" fmla="*/ 269413 h 3499445"/>
                <a:gd name="connsiteX12" fmla="*/ 3462108 w 3539592"/>
                <a:gd name="connsiteY12" fmla="*/ 212658 h 3499445"/>
                <a:gd name="connsiteX13" fmla="*/ 3417964 w 3539592"/>
                <a:gd name="connsiteY13" fmla="*/ 187433 h 3499445"/>
                <a:gd name="connsiteX14" fmla="*/ 3335983 w 3539592"/>
                <a:gd name="connsiteY14" fmla="*/ 174820 h 3499445"/>
                <a:gd name="connsiteX15" fmla="*/ 3216165 w 3539592"/>
                <a:gd name="connsiteY15" fmla="*/ 181127 h 3499445"/>
                <a:gd name="connsiteX16" fmla="*/ 3146797 w 3539592"/>
                <a:gd name="connsiteY16" fmla="*/ 193739 h 3499445"/>
                <a:gd name="connsiteX17" fmla="*/ 2976530 w 3539592"/>
                <a:gd name="connsiteY17" fmla="*/ 313557 h 3499445"/>
                <a:gd name="connsiteX18" fmla="*/ 2869324 w 3539592"/>
                <a:gd name="connsiteY18" fmla="*/ 420762 h 3499445"/>
                <a:gd name="connsiteX19" fmla="*/ 2787343 w 3539592"/>
                <a:gd name="connsiteY19" fmla="*/ 521662 h 3499445"/>
                <a:gd name="connsiteX20" fmla="*/ 2793650 w 3539592"/>
                <a:gd name="connsiteY20" fmla="*/ 483824 h 3499445"/>
                <a:gd name="connsiteX21" fmla="*/ 2781037 w 3539592"/>
                <a:gd name="connsiteY21" fmla="*/ 338782 h 3499445"/>
                <a:gd name="connsiteX22" fmla="*/ 964850 w 3539592"/>
                <a:gd name="connsiteY22" fmla="*/ 206351 h 3499445"/>
                <a:gd name="connsiteX0" fmla="*/ 964850 w 3539592"/>
                <a:gd name="connsiteY0" fmla="*/ 170235 h 3463329"/>
                <a:gd name="connsiteX1" fmla="*/ 0 w 3539592"/>
                <a:gd name="connsiteY1" fmla="*/ 3380095 h 3463329"/>
                <a:gd name="connsiteX2" fmla="*/ 1992761 w 3539592"/>
                <a:gd name="connsiteY2" fmla="*/ 3455769 h 3463329"/>
                <a:gd name="connsiteX3" fmla="*/ 2768425 w 3539592"/>
                <a:gd name="connsiteY3" fmla="*/ 3462075 h 3463329"/>
                <a:gd name="connsiteX4" fmla="*/ 2818874 w 3539592"/>
                <a:gd name="connsiteY4" fmla="*/ 3455769 h 3463329"/>
                <a:gd name="connsiteX5" fmla="*/ 2850405 w 3539592"/>
                <a:gd name="connsiteY5" fmla="*/ 3430544 h 3463329"/>
                <a:gd name="connsiteX6" fmla="*/ 2957611 w 3539592"/>
                <a:gd name="connsiteY6" fmla="*/ 3310726 h 3463329"/>
                <a:gd name="connsiteX7" fmla="*/ 3228778 w 3539592"/>
                <a:gd name="connsiteY7" fmla="*/ 2774699 h 3463329"/>
                <a:gd name="connsiteX8" fmla="*/ 3373821 w 3539592"/>
                <a:gd name="connsiteY8" fmla="*/ 2383714 h 3463329"/>
                <a:gd name="connsiteX9" fmla="*/ 3481026 w 3539592"/>
                <a:gd name="connsiteY9" fmla="*/ 1948586 h 3463329"/>
                <a:gd name="connsiteX10" fmla="*/ 3512557 w 3539592"/>
                <a:gd name="connsiteY10" fmla="*/ 384646 h 3463329"/>
                <a:gd name="connsiteX11" fmla="*/ 3481026 w 3539592"/>
                <a:gd name="connsiteY11" fmla="*/ 233297 h 3463329"/>
                <a:gd name="connsiteX12" fmla="*/ 3462108 w 3539592"/>
                <a:gd name="connsiteY12" fmla="*/ 176542 h 3463329"/>
                <a:gd name="connsiteX13" fmla="*/ 3417964 w 3539592"/>
                <a:gd name="connsiteY13" fmla="*/ 151317 h 3463329"/>
                <a:gd name="connsiteX14" fmla="*/ 3335983 w 3539592"/>
                <a:gd name="connsiteY14" fmla="*/ 138704 h 3463329"/>
                <a:gd name="connsiteX15" fmla="*/ 3216165 w 3539592"/>
                <a:gd name="connsiteY15" fmla="*/ 145011 h 3463329"/>
                <a:gd name="connsiteX16" fmla="*/ 3146797 w 3539592"/>
                <a:gd name="connsiteY16" fmla="*/ 157623 h 3463329"/>
                <a:gd name="connsiteX17" fmla="*/ 2976530 w 3539592"/>
                <a:gd name="connsiteY17" fmla="*/ 277441 h 3463329"/>
                <a:gd name="connsiteX18" fmla="*/ 2869324 w 3539592"/>
                <a:gd name="connsiteY18" fmla="*/ 384646 h 3463329"/>
                <a:gd name="connsiteX19" fmla="*/ 2787343 w 3539592"/>
                <a:gd name="connsiteY19" fmla="*/ 485546 h 3463329"/>
                <a:gd name="connsiteX20" fmla="*/ 2793650 w 3539592"/>
                <a:gd name="connsiteY20" fmla="*/ 447708 h 3463329"/>
                <a:gd name="connsiteX21" fmla="*/ 964850 w 3539592"/>
                <a:gd name="connsiteY21" fmla="*/ 170235 h 3463329"/>
                <a:gd name="connsiteX0" fmla="*/ 964850 w 3539592"/>
                <a:gd name="connsiteY0" fmla="*/ 159554 h 3452648"/>
                <a:gd name="connsiteX1" fmla="*/ 0 w 3539592"/>
                <a:gd name="connsiteY1" fmla="*/ 3369414 h 3452648"/>
                <a:gd name="connsiteX2" fmla="*/ 1992761 w 3539592"/>
                <a:gd name="connsiteY2" fmla="*/ 3445088 h 3452648"/>
                <a:gd name="connsiteX3" fmla="*/ 2768425 w 3539592"/>
                <a:gd name="connsiteY3" fmla="*/ 3451394 h 3452648"/>
                <a:gd name="connsiteX4" fmla="*/ 2818874 w 3539592"/>
                <a:gd name="connsiteY4" fmla="*/ 3445088 h 3452648"/>
                <a:gd name="connsiteX5" fmla="*/ 2850405 w 3539592"/>
                <a:gd name="connsiteY5" fmla="*/ 3419863 h 3452648"/>
                <a:gd name="connsiteX6" fmla="*/ 2957611 w 3539592"/>
                <a:gd name="connsiteY6" fmla="*/ 3300045 h 3452648"/>
                <a:gd name="connsiteX7" fmla="*/ 3228778 w 3539592"/>
                <a:gd name="connsiteY7" fmla="*/ 2764018 h 3452648"/>
                <a:gd name="connsiteX8" fmla="*/ 3373821 w 3539592"/>
                <a:gd name="connsiteY8" fmla="*/ 2373033 h 3452648"/>
                <a:gd name="connsiteX9" fmla="*/ 3481026 w 3539592"/>
                <a:gd name="connsiteY9" fmla="*/ 1937905 h 3452648"/>
                <a:gd name="connsiteX10" fmla="*/ 3512557 w 3539592"/>
                <a:gd name="connsiteY10" fmla="*/ 373965 h 3452648"/>
                <a:gd name="connsiteX11" fmla="*/ 3481026 w 3539592"/>
                <a:gd name="connsiteY11" fmla="*/ 222616 h 3452648"/>
                <a:gd name="connsiteX12" fmla="*/ 3462108 w 3539592"/>
                <a:gd name="connsiteY12" fmla="*/ 165861 h 3452648"/>
                <a:gd name="connsiteX13" fmla="*/ 3417964 w 3539592"/>
                <a:gd name="connsiteY13" fmla="*/ 140636 h 3452648"/>
                <a:gd name="connsiteX14" fmla="*/ 3335983 w 3539592"/>
                <a:gd name="connsiteY14" fmla="*/ 128023 h 3452648"/>
                <a:gd name="connsiteX15" fmla="*/ 3216165 w 3539592"/>
                <a:gd name="connsiteY15" fmla="*/ 134330 h 3452648"/>
                <a:gd name="connsiteX16" fmla="*/ 3146797 w 3539592"/>
                <a:gd name="connsiteY16" fmla="*/ 146942 h 3452648"/>
                <a:gd name="connsiteX17" fmla="*/ 2976530 w 3539592"/>
                <a:gd name="connsiteY17" fmla="*/ 266760 h 3452648"/>
                <a:gd name="connsiteX18" fmla="*/ 2869324 w 3539592"/>
                <a:gd name="connsiteY18" fmla="*/ 373965 h 3452648"/>
                <a:gd name="connsiteX19" fmla="*/ 2787343 w 3539592"/>
                <a:gd name="connsiteY19" fmla="*/ 474865 h 3452648"/>
                <a:gd name="connsiteX20" fmla="*/ 964850 w 3539592"/>
                <a:gd name="connsiteY20" fmla="*/ 159554 h 3452648"/>
                <a:gd name="connsiteX0" fmla="*/ 964850 w 3539592"/>
                <a:gd name="connsiteY0" fmla="*/ 228914 h 3522008"/>
                <a:gd name="connsiteX1" fmla="*/ 0 w 3539592"/>
                <a:gd name="connsiteY1" fmla="*/ 3438774 h 3522008"/>
                <a:gd name="connsiteX2" fmla="*/ 1992761 w 3539592"/>
                <a:gd name="connsiteY2" fmla="*/ 3514448 h 3522008"/>
                <a:gd name="connsiteX3" fmla="*/ 2768425 w 3539592"/>
                <a:gd name="connsiteY3" fmla="*/ 3520754 h 3522008"/>
                <a:gd name="connsiteX4" fmla="*/ 2818874 w 3539592"/>
                <a:gd name="connsiteY4" fmla="*/ 3514448 h 3522008"/>
                <a:gd name="connsiteX5" fmla="*/ 2850405 w 3539592"/>
                <a:gd name="connsiteY5" fmla="*/ 3489223 h 3522008"/>
                <a:gd name="connsiteX6" fmla="*/ 2957611 w 3539592"/>
                <a:gd name="connsiteY6" fmla="*/ 3369405 h 3522008"/>
                <a:gd name="connsiteX7" fmla="*/ 3228778 w 3539592"/>
                <a:gd name="connsiteY7" fmla="*/ 2833378 h 3522008"/>
                <a:gd name="connsiteX8" fmla="*/ 3373821 w 3539592"/>
                <a:gd name="connsiteY8" fmla="*/ 2442393 h 3522008"/>
                <a:gd name="connsiteX9" fmla="*/ 3481026 w 3539592"/>
                <a:gd name="connsiteY9" fmla="*/ 2007265 h 3522008"/>
                <a:gd name="connsiteX10" fmla="*/ 3512557 w 3539592"/>
                <a:gd name="connsiteY10" fmla="*/ 443325 h 3522008"/>
                <a:gd name="connsiteX11" fmla="*/ 3481026 w 3539592"/>
                <a:gd name="connsiteY11" fmla="*/ 291976 h 3522008"/>
                <a:gd name="connsiteX12" fmla="*/ 3462108 w 3539592"/>
                <a:gd name="connsiteY12" fmla="*/ 235221 h 3522008"/>
                <a:gd name="connsiteX13" fmla="*/ 3417964 w 3539592"/>
                <a:gd name="connsiteY13" fmla="*/ 209996 h 3522008"/>
                <a:gd name="connsiteX14" fmla="*/ 3335983 w 3539592"/>
                <a:gd name="connsiteY14" fmla="*/ 197383 h 3522008"/>
                <a:gd name="connsiteX15" fmla="*/ 3216165 w 3539592"/>
                <a:gd name="connsiteY15" fmla="*/ 203690 h 3522008"/>
                <a:gd name="connsiteX16" fmla="*/ 3146797 w 3539592"/>
                <a:gd name="connsiteY16" fmla="*/ 216302 h 3522008"/>
                <a:gd name="connsiteX17" fmla="*/ 2976530 w 3539592"/>
                <a:gd name="connsiteY17" fmla="*/ 336120 h 3522008"/>
                <a:gd name="connsiteX18" fmla="*/ 2869324 w 3539592"/>
                <a:gd name="connsiteY18" fmla="*/ 443325 h 3522008"/>
                <a:gd name="connsiteX19" fmla="*/ 2787343 w 3539592"/>
                <a:gd name="connsiteY19" fmla="*/ 544225 h 3522008"/>
                <a:gd name="connsiteX20" fmla="*/ 964850 w 3539592"/>
                <a:gd name="connsiteY20" fmla="*/ 228914 h 3522008"/>
                <a:gd name="connsiteX0" fmla="*/ 964850 w 3539592"/>
                <a:gd name="connsiteY0" fmla="*/ 228914 h 3522008"/>
                <a:gd name="connsiteX1" fmla="*/ 0 w 3539592"/>
                <a:gd name="connsiteY1" fmla="*/ 3438774 h 3522008"/>
                <a:gd name="connsiteX2" fmla="*/ 1992761 w 3539592"/>
                <a:gd name="connsiteY2" fmla="*/ 3514448 h 3522008"/>
                <a:gd name="connsiteX3" fmla="*/ 2768425 w 3539592"/>
                <a:gd name="connsiteY3" fmla="*/ 3520754 h 3522008"/>
                <a:gd name="connsiteX4" fmla="*/ 2818874 w 3539592"/>
                <a:gd name="connsiteY4" fmla="*/ 3514448 h 3522008"/>
                <a:gd name="connsiteX5" fmla="*/ 2850405 w 3539592"/>
                <a:gd name="connsiteY5" fmla="*/ 3489223 h 3522008"/>
                <a:gd name="connsiteX6" fmla="*/ 2957611 w 3539592"/>
                <a:gd name="connsiteY6" fmla="*/ 3369405 h 3522008"/>
                <a:gd name="connsiteX7" fmla="*/ 3228778 w 3539592"/>
                <a:gd name="connsiteY7" fmla="*/ 2833378 h 3522008"/>
                <a:gd name="connsiteX8" fmla="*/ 3373821 w 3539592"/>
                <a:gd name="connsiteY8" fmla="*/ 2442393 h 3522008"/>
                <a:gd name="connsiteX9" fmla="*/ 3481026 w 3539592"/>
                <a:gd name="connsiteY9" fmla="*/ 2007265 h 3522008"/>
                <a:gd name="connsiteX10" fmla="*/ 3512557 w 3539592"/>
                <a:gd name="connsiteY10" fmla="*/ 443325 h 3522008"/>
                <a:gd name="connsiteX11" fmla="*/ 3481026 w 3539592"/>
                <a:gd name="connsiteY11" fmla="*/ 291976 h 3522008"/>
                <a:gd name="connsiteX12" fmla="*/ 3462108 w 3539592"/>
                <a:gd name="connsiteY12" fmla="*/ 235221 h 3522008"/>
                <a:gd name="connsiteX13" fmla="*/ 3417964 w 3539592"/>
                <a:gd name="connsiteY13" fmla="*/ 209996 h 3522008"/>
                <a:gd name="connsiteX14" fmla="*/ 3335983 w 3539592"/>
                <a:gd name="connsiteY14" fmla="*/ 197383 h 3522008"/>
                <a:gd name="connsiteX15" fmla="*/ 3216165 w 3539592"/>
                <a:gd name="connsiteY15" fmla="*/ 203690 h 3522008"/>
                <a:gd name="connsiteX16" fmla="*/ 3146797 w 3539592"/>
                <a:gd name="connsiteY16" fmla="*/ 216302 h 3522008"/>
                <a:gd name="connsiteX17" fmla="*/ 2976530 w 3539592"/>
                <a:gd name="connsiteY17" fmla="*/ 336120 h 3522008"/>
                <a:gd name="connsiteX18" fmla="*/ 2787343 w 3539592"/>
                <a:gd name="connsiteY18" fmla="*/ 544225 h 3522008"/>
                <a:gd name="connsiteX19" fmla="*/ 964850 w 3539592"/>
                <a:gd name="connsiteY19" fmla="*/ 228914 h 3522008"/>
                <a:gd name="connsiteX0" fmla="*/ 964850 w 3539592"/>
                <a:gd name="connsiteY0" fmla="*/ 228914 h 3522008"/>
                <a:gd name="connsiteX1" fmla="*/ 0 w 3539592"/>
                <a:gd name="connsiteY1" fmla="*/ 3438774 h 3522008"/>
                <a:gd name="connsiteX2" fmla="*/ 1992761 w 3539592"/>
                <a:gd name="connsiteY2" fmla="*/ 3514448 h 3522008"/>
                <a:gd name="connsiteX3" fmla="*/ 2768425 w 3539592"/>
                <a:gd name="connsiteY3" fmla="*/ 3520754 h 3522008"/>
                <a:gd name="connsiteX4" fmla="*/ 2818874 w 3539592"/>
                <a:gd name="connsiteY4" fmla="*/ 3514448 h 3522008"/>
                <a:gd name="connsiteX5" fmla="*/ 2850405 w 3539592"/>
                <a:gd name="connsiteY5" fmla="*/ 3489223 h 3522008"/>
                <a:gd name="connsiteX6" fmla="*/ 2957611 w 3539592"/>
                <a:gd name="connsiteY6" fmla="*/ 3369405 h 3522008"/>
                <a:gd name="connsiteX7" fmla="*/ 3228778 w 3539592"/>
                <a:gd name="connsiteY7" fmla="*/ 2833378 h 3522008"/>
                <a:gd name="connsiteX8" fmla="*/ 3373821 w 3539592"/>
                <a:gd name="connsiteY8" fmla="*/ 2442393 h 3522008"/>
                <a:gd name="connsiteX9" fmla="*/ 3481026 w 3539592"/>
                <a:gd name="connsiteY9" fmla="*/ 2007265 h 3522008"/>
                <a:gd name="connsiteX10" fmla="*/ 3512557 w 3539592"/>
                <a:gd name="connsiteY10" fmla="*/ 443325 h 3522008"/>
                <a:gd name="connsiteX11" fmla="*/ 3481026 w 3539592"/>
                <a:gd name="connsiteY11" fmla="*/ 291976 h 3522008"/>
                <a:gd name="connsiteX12" fmla="*/ 3462108 w 3539592"/>
                <a:gd name="connsiteY12" fmla="*/ 235221 h 3522008"/>
                <a:gd name="connsiteX13" fmla="*/ 3417964 w 3539592"/>
                <a:gd name="connsiteY13" fmla="*/ 209996 h 3522008"/>
                <a:gd name="connsiteX14" fmla="*/ 3335983 w 3539592"/>
                <a:gd name="connsiteY14" fmla="*/ 197383 h 3522008"/>
                <a:gd name="connsiteX15" fmla="*/ 3216165 w 3539592"/>
                <a:gd name="connsiteY15" fmla="*/ 203690 h 3522008"/>
                <a:gd name="connsiteX16" fmla="*/ 3146797 w 3539592"/>
                <a:gd name="connsiteY16" fmla="*/ 216302 h 3522008"/>
                <a:gd name="connsiteX17" fmla="*/ 2787343 w 3539592"/>
                <a:gd name="connsiteY17" fmla="*/ 544225 h 3522008"/>
                <a:gd name="connsiteX18" fmla="*/ 964850 w 3539592"/>
                <a:gd name="connsiteY18" fmla="*/ 228914 h 3522008"/>
                <a:gd name="connsiteX0" fmla="*/ 964850 w 3539592"/>
                <a:gd name="connsiteY0" fmla="*/ 228914 h 3522008"/>
                <a:gd name="connsiteX1" fmla="*/ 0 w 3539592"/>
                <a:gd name="connsiteY1" fmla="*/ 3438774 h 3522008"/>
                <a:gd name="connsiteX2" fmla="*/ 1992761 w 3539592"/>
                <a:gd name="connsiteY2" fmla="*/ 3514448 h 3522008"/>
                <a:gd name="connsiteX3" fmla="*/ 2768425 w 3539592"/>
                <a:gd name="connsiteY3" fmla="*/ 3520754 h 3522008"/>
                <a:gd name="connsiteX4" fmla="*/ 2818874 w 3539592"/>
                <a:gd name="connsiteY4" fmla="*/ 3514448 h 3522008"/>
                <a:gd name="connsiteX5" fmla="*/ 2850405 w 3539592"/>
                <a:gd name="connsiteY5" fmla="*/ 3489223 h 3522008"/>
                <a:gd name="connsiteX6" fmla="*/ 2957611 w 3539592"/>
                <a:gd name="connsiteY6" fmla="*/ 3369405 h 3522008"/>
                <a:gd name="connsiteX7" fmla="*/ 3228778 w 3539592"/>
                <a:gd name="connsiteY7" fmla="*/ 2833378 h 3522008"/>
                <a:gd name="connsiteX8" fmla="*/ 3373821 w 3539592"/>
                <a:gd name="connsiteY8" fmla="*/ 2442393 h 3522008"/>
                <a:gd name="connsiteX9" fmla="*/ 3481026 w 3539592"/>
                <a:gd name="connsiteY9" fmla="*/ 2007265 h 3522008"/>
                <a:gd name="connsiteX10" fmla="*/ 3512557 w 3539592"/>
                <a:gd name="connsiteY10" fmla="*/ 443325 h 3522008"/>
                <a:gd name="connsiteX11" fmla="*/ 3481026 w 3539592"/>
                <a:gd name="connsiteY11" fmla="*/ 291976 h 3522008"/>
                <a:gd name="connsiteX12" fmla="*/ 3462108 w 3539592"/>
                <a:gd name="connsiteY12" fmla="*/ 235221 h 3522008"/>
                <a:gd name="connsiteX13" fmla="*/ 3417964 w 3539592"/>
                <a:gd name="connsiteY13" fmla="*/ 209996 h 3522008"/>
                <a:gd name="connsiteX14" fmla="*/ 3335983 w 3539592"/>
                <a:gd name="connsiteY14" fmla="*/ 197383 h 3522008"/>
                <a:gd name="connsiteX15" fmla="*/ 3216165 w 3539592"/>
                <a:gd name="connsiteY15" fmla="*/ 203690 h 3522008"/>
                <a:gd name="connsiteX16" fmla="*/ 2787343 w 3539592"/>
                <a:gd name="connsiteY16" fmla="*/ 544225 h 3522008"/>
                <a:gd name="connsiteX17" fmla="*/ 964850 w 3539592"/>
                <a:gd name="connsiteY17" fmla="*/ 228914 h 3522008"/>
                <a:gd name="connsiteX0" fmla="*/ 964850 w 3539592"/>
                <a:gd name="connsiteY0" fmla="*/ 228914 h 3522008"/>
                <a:gd name="connsiteX1" fmla="*/ 0 w 3539592"/>
                <a:gd name="connsiteY1" fmla="*/ 3438774 h 3522008"/>
                <a:gd name="connsiteX2" fmla="*/ 1992761 w 3539592"/>
                <a:gd name="connsiteY2" fmla="*/ 3514448 h 3522008"/>
                <a:gd name="connsiteX3" fmla="*/ 2768425 w 3539592"/>
                <a:gd name="connsiteY3" fmla="*/ 3520754 h 3522008"/>
                <a:gd name="connsiteX4" fmla="*/ 2818874 w 3539592"/>
                <a:gd name="connsiteY4" fmla="*/ 3514448 h 3522008"/>
                <a:gd name="connsiteX5" fmla="*/ 2850405 w 3539592"/>
                <a:gd name="connsiteY5" fmla="*/ 3489223 h 3522008"/>
                <a:gd name="connsiteX6" fmla="*/ 2957611 w 3539592"/>
                <a:gd name="connsiteY6" fmla="*/ 3369405 h 3522008"/>
                <a:gd name="connsiteX7" fmla="*/ 3228778 w 3539592"/>
                <a:gd name="connsiteY7" fmla="*/ 2833378 h 3522008"/>
                <a:gd name="connsiteX8" fmla="*/ 3373821 w 3539592"/>
                <a:gd name="connsiteY8" fmla="*/ 2442393 h 3522008"/>
                <a:gd name="connsiteX9" fmla="*/ 3481026 w 3539592"/>
                <a:gd name="connsiteY9" fmla="*/ 2007265 h 3522008"/>
                <a:gd name="connsiteX10" fmla="*/ 3512557 w 3539592"/>
                <a:gd name="connsiteY10" fmla="*/ 443325 h 3522008"/>
                <a:gd name="connsiteX11" fmla="*/ 3481026 w 3539592"/>
                <a:gd name="connsiteY11" fmla="*/ 291976 h 3522008"/>
                <a:gd name="connsiteX12" fmla="*/ 3462108 w 3539592"/>
                <a:gd name="connsiteY12" fmla="*/ 235221 h 3522008"/>
                <a:gd name="connsiteX13" fmla="*/ 3417964 w 3539592"/>
                <a:gd name="connsiteY13" fmla="*/ 209996 h 3522008"/>
                <a:gd name="connsiteX14" fmla="*/ 3335983 w 3539592"/>
                <a:gd name="connsiteY14" fmla="*/ 197383 h 3522008"/>
                <a:gd name="connsiteX15" fmla="*/ 2787343 w 3539592"/>
                <a:gd name="connsiteY15" fmla="*/ 544225 h 3522008"/>
                <a:gd name="connsiteX16" fmla="*/ 964850 w 3539592"/>
                <a:gd name="connsiteY16" fmla="*/ 228914 h 3522008"/>
                <a:gd name="connsiteX0" fmla="*/ 964850 w 3539592"/>
                <a:gd name="connsiteY0" fmla="*/ 228914 h 3522008"/>
                <a:gd name="connsiteX1" fmla="*/ 0 w 3539592"/>
                <a:gd name="connsiteY1" fmla="*/ 3438774 h 3522008"/>
                <a:gd name="connsiteX2" fmla="*/ 1992761 w 3539592"/>
                <a:gd name="connsiteY2" fmla="*/ 3514448 h 3522008"/>
                <a:gd name="connsiteX3" fmla="*/ 2768425 w 3539592"/>
                <a:gd name="connsiteY3" fmla="*/ 3520754 h 3522008"/>
                <a:gd name="connsiteX4" fmla="*/ 2818874 w 3539592"/>
                <a:gd name="connsiteY4" fmla="*/ 3514448 h 3522008"/>
                <a:gd name="connsiteX5" fmla="*/ 2850405 w 3539592"/>
                <a:gd name="connsiteY5" fmla="*/ 3489223 h 3522008"/>
                <a:gd name="connsiteX6" fmla="*/ 2957611 w 3539592"/>
                <a:gd name="connsiteY6" fmla="*/ 3369405 h 3522008"/>
                <a:gd name="connsiteX7" fmla="*/ 3228778 w 3539592"/>
                <a:gd name="connsiteY7" fmla="*/ 2833378 h 3522008"/>
                <a:gd name="connsiteX8" fmla="*/ 3373821 w 3539592"/>
                <a:gd name="connsiteY8" fmla="*/ 2442393 h 3522008"/>
                <a:gd name="connsiteX9" fmla="*/ 3481026 w 3539592"/>
                <a:gd name="connsiteY9" fmla="*/ 2007265 h 3522008"/>
                <a:gd name="connsiteX10" fmla="*/ 3512557 w 3539592"/>
                <a:gd name="connsiteY10" fmla="*/ 443325 h 3522008"/>
                <a:gd name="connsiteX11" fmla="*/ 3481026 w 3539592"/>
                <a:gd name="connsiteY11" fmla="*/ 291976 h 3522008"/>
                <a:gd name="connsiteX12" fmla="*/ 3462108 w 3539592"/>
                <a:gd name="connsiteY12" fmla="*/ 235221 h 3522008"/>
                <a:gd name="connsiteX13" fmla="*/ 3417964 w 3539592"/>
                <a:gd name="connsiteY13" fmla="*/ 209996 h 3522008"/>
                <a:gd name="connsiteX14" fmla="*/ 2787343 w 3539592"/>
                <a:gd name="connsiteY14" fmla="*/ 544225 h 3522008"/>
                <a:gd name="connsiteX15" fmla="*/ 964850 w 3539592"/>
                <a:gd name="connsiteY15" fmla="*/ 228914 h 3522008"/>
                <a:gd name="connsiteX0" fmla="*/ 964850 w 3539592"/>
                <a:gd name="connsiteY0" fmla="*/ 228914 h 3522008"/>
                <a:gd name="connsiteX1" fmla="*/ 0 w 3539592"/>
                <a:gd name="connsiteY1" fmla="*/ 3438774 h 3522008"/>
                <a:gd name="connsiteX2" fmla="*/ 1992761 w 3539592"/>
                <a:gd name="connsiteY2" fmla="*/ 3514448 h 3522008"/>
                <a:gd name="connsiteX3" fmla="*/ 2768425 w 3539592"/>
                <a:gd name="connsiteY3" fmla="*/ 3520754 h 3522008"/>
                <a:gd name="connsiteX4" fmla="*/ 2818874 w 3539592"/>
                <a:gd name="connsiteY4" fmla="*/ 3514448 h 3522008"/>
                <a:gd name="connsiteX5" fmla="*/ 2850405 w 3539592"/>
                <a:gd name="connsiteY5" fmla="*/ 3489223 h 3522008"/>
                <a:gd name="connsiteX6" fmla="*/ 2957611 w 3539592"/>
                <a:gd name="connsiteY6" fmla="*/ 3369405 h 3522008"/>
                <a:gd name="connsiteX7" fmla="*/ 3228778 w 3539592"/>
                <a:gd name="connsiteY7" fmla="*/ 2833378 h 3522008"/>
                <a:gd name="connsiteX8" fmla="*/ 3373821 w 3539592"/>
                <a:gd name="connsiteY8" fmla="*/ 2442393 h 3522008"/>
                <a:gd name="connsiteX9" fmla="*/ 3481026 w 3539592"/>
                <a:gd name="connsiteY9" fmla="*/ 2007265 h 3522008"/>
                <a:gd name="connsiteX10" fmla="*/ 3512557 w 3539592"/>
                <a:gd name="connsiteY10" fmla="*/ 443325 h 3522008"/>
                <a:gd name="connsiteX11" fmla="*/ 3481026 w 3539592"/>
                <a:gd name="connsiteY11" fmla="*/ 291976 h 3522008"/>
                <a:gd name="connsiteX12" fmla="*/ 3462108 w 3539592"/>
                <a:gd name="connsiteY12" fmla="*/ 235221 h 3522008"/>
                <a:gd name="connsiteX13" fmla="*/ 3417964 w 3539592"/>
                <a:gd name="connsiteY13" fmla="*/ 209996 h 3522008"/>
                <a:gd name="connsiteX14" fmla="*/ 2787343 w 3539592"/>
                <a:gd name="connsiteY14" fmla="*/ 544225 h 3522008"/>
                <a:gd name="connsiteX15" fmla="*/ 964850 w 3539592"/>
                <a:gd name="connsiteY15" fmla="*/ 228914 h 3522008"/>
                <a:gd name="connsiteX0" fmla="*/ 964850 w 3539592"/>
                <a:gd name="connsiteY0" fmla="*/ 228914 h 3522008"/>
                <a:gd name="connsiteX1" fmla="*/ 0 w 3539592"/>
                <a:gd name="connsiteY1" fmla="*/ 3438774 h 3522008"/>
                <a:gd name="connsiteX2" fmla="*/ 1992761 w 3539592"/>
                <a:gd name="connsiteY2" fmla="*/ 3514448 h 3522008"/>
                <a:gd name="connsiteX3" fmla="*/ 2768425 w 3539592"/>
                <a:gd name="connsiteY3" fmla="*/ 3520754 h 3522008"/>
                <a:gd name="connsiteX4" fmla="*/ 2818874 w 3539592"/>
                <a:gd name="connsiteY4" fmla="*/ 3514448 h 3522008"/>
                <a:gd name="connsiteX5" fmla="*/ 2850405 w 3539592"/>
                <a:gd name="connsiteY5" fmla="*/ 3489223 h 3522008"/>
                <a:gd name="connsiteX6" fmla="*/ 2957611 w 3539592"/>
                <a:gd name="connsiteY6" fmla="*/ 3369405 h 3522008"/>
                <a:gd name="connsiteX7" fmla="*/ 3228778 w 3539592"/>
                <a:gd name="connsiteY7" fmla="*/ 2833378 h 3522008"/>
                <a:gd name="connsiteX8" fmla="*/ 3373821 w 3539592"/>
                <a:gd name="connsiteY8" fmla="*/ 2442393 h 3522008"/>
                <a:gd name="connsiteX9" fmla="*/ 3481026 w 3539592"/>
                <a:gd name="connsiteY9" fmla="*/ 2007265 h 3522008"/>
                <a:gd name="connsiteX10" fmla="*/ 3512557 w 3539592"/>
                <a:gd name="connsiteY10" fmla="*/ 443325 h 3522008"/>
                <a:gd name="connsiteX11" fmla="*/ 3481026 w 3539592"/>
                <a:gd name="connsiteY11" fmla="*/ 291976 h 3522008"/>
                <a:gd name="connsiteX12" fmla="*/ 3462108 w 3539592"/>
                <a:gd name="connsiteY12" fmla="*/ 235221 h 3522008"/>
                <a:gd name="connsiteX13" fmla="*/ 2787343 w 3539592"/>
                <a:gd name="connsiteY13" fmla="*/ 544225 h 3522008"/>
                <a:gd name="connsiteX14" fmla="*/ 964850 w 3539592"/>
                <a:gd name="connsiteY14" fmla="*/ 228914 h 3522008"/>
                <a:gd name="connsiteX0" fmla="*/ 964850 w 3543941"/>
                <a:gd name="connsiteY0" fmla="*/ 228914 h 3522008"/>
                <a:gd name="connsiteX1" fmla="*/ 0 w 3543941"/>
                <a:gd name="connsiteY1" fmla="*/ 3438774 h 3522008"/>
                <a:gd name="connsiteX2" fmla="*/ 1992761 w 3543941"/>
                <a:gd name="connsiteY2" fmla="*/ 3514448 h 3522008"/>
                <a:gd name="connsiteX3" fmla="*/ 2768425 w 3543941"/>
                <a:gd name="connsiteY3" fmla="*/ 3520754 h 3522008"/>
                <a:gd name="connsiteX4" fmla="*/ 2818874 w 3543941"/>
                <a:gd name="connsiteY4" fmla="*/ 3514448 h 3522008"/>
                <a:gd name="connsiteX5" fmla="*/ 2850405 w 3543941"/>
                <a:gd name="connsiteY5" fmla="*/ 3489223 h 3522008"/>
                <a:gd name="connsiteX6" fmla="*/ 2957611 w 3543941"/>
                <a:gd name="connsiteY6" fmla="*/ 3369405 h 3522008"/>
                <a:gd name="connsiteX7" fmla="*/ 3228778 w 3543941"/>
                <a:gd name="connsiteY7" fmla="*/ 2833378 h 3522008"/>
                <a:gd name="connsiteX8" fmla="*/ 3373821 w 3543941"/>
                <a:gd name="connsiteY8" fmla="*/ 2442393 h 3522008"/>
                <a:gd name="connsiteX9" fmla="*/ 3481026 w 3543941"/>
                <a:gd name="connsiteY9" fmla="*/ 2007265 h 3522008"/>
                <a:gd name="connsiteX10" fmla="*/ 3512557 w 3543941"/>
                <a:gd name="connsiteY10" fmla="*/ 443325 h 3522008"/>
                <a:gd name="connsiteX11" fmla="*/ 3481026 w 3543941"/>
                <a:gd name="connsiteY11" fmla="*/ 291976 h 3522008"/>
                <a:gd name="connsiteX12" fmla="*/ 2787343 w 3543941"/>
                <a:gd name="connsiteY12" fmla="*/ 544225 h 3522008"/>
                <a:gd name="connsiteX13" fmla="*/ 964850 w 3543941"/>
                <a:gd name="connsiteY13" fmla="*/ 228914 h 3522008"/>
                <a:gd name="connsiteX0" fmla="*/ 964850 w 3575244"/>
                <a:gd name="connsiteY0" fmla="*/ 228914 h 3522008"/>
                <a:gd name="connsiteX1" fmla="*/ 0 w 3575244"/>
                <a:gd name="connsiteY1" fmla="*/ 3438774 h 3522008"/>
                <a:gd name="connsiteX2" fmla="*/ 1992761 w 3575244"/>
                <a:gd name="connsiteY2" fmla="*/ 3514448 h 3522008"/>
                <a:gd name="connsiteX3" fmla="*/ 2768425 w 3575244"/>
                <a:gd name="connsiteY3" fmla="*/ 3520754 h 3522008"/>
                <a:gd name="connsiteX4" fmla="*/ 2818874 w 3575244"/>
                <a:gd name="connsiteY4" fmla="*/ 3514448 h 3522008"/>
                <a:gd name="connsiteX5" fmla="*/ 2850405 w 3575244"/>
                <a:gd name="connsiteY5" fmla="*/ 3489223 h 3522008"/>
                <a:gd name="connsiteX6" fmla="*/ 2957611 w 3575244"/>
                <a:gd name="connsiteY6" fmla="*/ 3369405 h 3522008"/>
                <a:gd name="connsiteX7" fmla="*/ 3228778 w 3575244"/>
                <a:gd name="connsiteY7" fmla="*/ 2833378 h 3522008"/>
                <a:gd name="connsiteX8" fmla="*/ 3373821 w 3575244"/>
                <a:gd name="connsiteY8" fmla="*/ 2442393 h 3522008"/>
                <a:gd name="connsiteX9" fmla="*/ 3481026 w 3575244"/>
                <a:gd name="connsiteY9" fmla="*/ 2007265 h 3522008"/>
                <a:gd name="connsiteX10" fmla="*/ 3512557 w 3575244"/>
                <a:gd name="connsiteY10" fmla="*/ 443325 h 3522008"/>
                <a:gd name="connsiteX11" fmla="*/ 2787343 w 3575244"/>
                <a:gd name="connsiteY11" fmla="*/ 544225 h 3522008"/>
                <a:gd name="connsiteX12" fmla="*/ 964850 w 3575244"/>
                <a:gd name="connsiteY12" fmla="*/ 228914 h 3522008"/>
                <a:gd name="connsiteX0" fmla="*/ 964850 w 3551879"/>
                <a:gd name="connsiteY0" fmla="*/ 228914 h 3522008"/>
                <a:gd name="connsiteX1" fmla="*/ 0 w 3551879"/>
                <a:gd name="connsiteY1" fmla="*/ 3438774 h 3522008"/>
                <a:gd name="connsiteX2" fmla="*/ 1992761 w 3551879"/>
                <a:gd name="connsiteY2" fmla="*/ 3514448 h 3522008"/>
                <a:gd name="connsiteX3" fmla="*/ 2768425 w 3551879"/>
                <a:gd name="connsiteY3" fmla="*/ 3520754 h 3522008"/>
                <a:gd name="connsiteX4" fmla="*/ 2818874 w 3551879"/>
                <a:gd name="connsiteY4" fmla="*/ 3514448 h 3522008"/>
                <a:gd name="connsiteX5" fmla="*/ 2850405 w 3551879"/>
                <a:gd name="connsiteY5" fmla="*/ 3489223 h 3522008"/>
                <a:gd name="connsiteX6" fmla="*/ 2957611 w 3551879"/>
                <a:gd name="connsiteY6" fmla="*/ 3369405 h 3522008"/>
                <a:gd name="connsiteX7" fmla="*/ 3228778 w 3551879"/>
                <a:gd name="connsiteY7" fmla="*/ 2833378 h 3522008"/>
                <a:gd name="connsiteX8" fmla="*/ 3373821 w 3551879"/>
                <a:gd name="connsiteY8" fmla="*/ 2442393 h 3522008"/>
                <a:gd name="connsiteX9" fmla="*/ 3481026 w 3551879"/>
                <a:gd name="connsiteY9" fmla="*/ 2007265 h 3522008"/>
                <a:gd name="connsiteX10" fmla="*/ 3512557 w 3551879"/>
                <a:gd name="connsiteY10" fmla="*/ 443325 h 3522008"/>
                <a:gd name="connsiteX11" fmla="*/ 2787343 w 3551879"/>
                <a:gd name="connsiteY11" fmla="*/ 544225 h 3522008"/>
                <a:gd name="connsiteX12" fmla="*/ 964850 w 3551879"/>
                <a:gd name="connsiteY12" fmla="*/ 228914 h 3522008"/>
                <a:gd name="connsiteX0" fmla="*/ 964850 w 3551879"/>
                <a:gd name="connsiteY0" fmla="*/ 228914 h 3522008"/>
                <a:gd name="connsiteX1" fmla="*/ 0 w 3551879"/>
                <a:gd name="connsiteY1" fmla="*/ 3438774 h 3522008"/>
                <a:gd name="connsiteX2" fmla="*/ 1992761 w 3551879"/>
                <a:gd name="connsiteY2" fmla="*/ 3514448 h 3522008"/>
                <a:gd name="connsiteX3" fmla="*/ 2768425 w 3551879"/>
                <a:gd name="connsiteY3" fmla="*/ 3520754 h 3522008"/>
                <a:gd name="connsiteX4" fmla="*/ 2818874 w 3551879"/>
                <a:gd name="connsiteY4" fmla="*/ 3514448 h 3522008"/>
                <a:gd name="connsiteX5" fmla="*/ 2850405 w 3551879"/>
                <a:gd name="connsiteY5" fmla="*/ 3489223 h 3522008"/>
                <a:gd name="connsiteX6" fmla="*/ 2957611 w 3551879"/>
                <a:gd name="connsiteY6" fmla="*/ 3369405 h 3522008"/>
                <a:gd name="connsiteX7" fmla="*/ 3228778 w 3551879"/>
                <a:gd name="connsiteY7" fmla="*/ 2833378 h 3522008"/>
                <a:gd name="connsiteX8" fmla="*/ 3373821 w 3551879"/>
                <a:gd name="connsiteY8" fmla="*/ 2442393 h 3522008"/>
                <a:gd name="connsiteX9" fmla="*/ 3481026 w 3551879"/>
                <a:gd name="connsiteY9" fmla="*/ 2007265 h 3522008"/>
                <a:gd name="connsiteX10" fmla="*/ 3512557 w 3551879"/>
                <a:gd name="connsiteY10" fmla="*/ 443325 h 3522008"/>
                <a:gd name="connsiteX11" fmla="*/ 2787343 w 3551879"/>
                <a:gd name="connsiteY11" fmla="*/ 544225 h 3522008"/>
                <a:gd name="connsiteX12" fmla="*/ 964850 w 3551879"/>
                <a:gd name="connsiteY12" fmla="*/ 228914 h 3522008"/>
                <a:gd name="connsiteX0" fmla="*/ 964850 w 3551879"/>
                <a:gd name="connsiteY0" fmla="*/ 228914 h 3522008"/>
                <a:gd name="connsiteX1" fmla="*/ 0 w 3551879"/>
                <a:gd name="connsiteY1" fmla="*/ 3438774 h 3522008"/>
                <a:gd name="connsiteX2" fmla="*/ 1992761 w 3551879"/>
                <a:gd name="connsiteY2" fmla="*/ 3514448 h 3522008"/>
                <a:gd name="connsiteX3" fmla="*/ 2768425 w 3551879"/>
                <a:gd name="connsiteY3" fmla="*/ 3520754 h 3522008"/>
                <a:gd name="connsiteX4" fmla="*/ 2818874 w 3551879"/>
                <a:gd name="connsiteY4" fmla="*/ 3514448 h 3522008"/>
                <a:gd name="connsiteX5" fmla="*/ 2850405 w 3551879"/>
                <a:gd name="connsiteY5" fmla="*/ 3489223 h 3522008"/>
                <a:gd name="connsiteX6" fmla="*/ 2957611 w 3551879"/>
                <a:gd name="connsiteY6" fmla="*/ 3369405 h 3522008"/>
                <a:gd name="connsiteX7" fmla="*/ 3228778 w 3551879"/>
                <a:gd name="connsiteY7" fmla="*/ 2833378 h 3522008"/>
                <a:gd name="connsiteX8" fmla="*/ 3481026 w 3551879"/>
                <a:gd name="connsiteY8" fmla="*/ 2007265 h 3522008"/>
                <a:gd name="connsiteX9" fmla="*/ 3512557 w 3551879"/>
                <a:gd name="connsiteY9" fmla="*/ 443325 h 3522008"/>
                <a:gd name="connsiteX10" fmla="*/ 2787343 w 3551879"/>
                <a:gd name="connsiteY10" fmla="*/ 544225 h 3522008"/>
                <a:gd name="connsiteX11" fmla="*/ 964850 w 3551879"/>
                <a:gd name="connsiteY11" fmla="*/ 228914 h 3522008"/>
                <a:gd name="connsiteX0" fmla="*/ 964850 w 3525305"/>
                <a:gd name="connsiteY0" fmla="*/ 228914 h 3522008"/>
                <a:gd name="connsiteX1" fmla="*/ 0 w 3525305"/>
                <a:gd name="connsiteY1" fmla="*/ 3438774 h 3522008"/>
                <a:gd name="connsiteX2" fmla="*/ 1992761 w 3525305"/>
                <a:gd name="connsiteY2" fmla="*/ 3514448 h 3522008"/>
                <a:gd name="connsiteX3" fmla="*/ 2768425 w 3525305"/>
                <a:gd name="connsiteY3" fmla="*/ 3520754 h 3522008"/>
                <a:gd name="connsiteX4" fmla="*/ 2818874 w 3525305"/>
                <a:gd name="connsiteY4" fmla="*/ 3514448 h 3522008"/>
                <a:gd name="connsiteX5" fmla="*/ 2850405 w 3525305"/>
                <a:gd name="connsiteY5" fmla="*/ 3489223 h 3522008"/>
                <a:gd name="connsiteX6" fmla="*/ 2957611 w 3525305"/>
                <a:gd name="connsiteY6" fmla="*/ 3369405 h 3522008"/>
                <a:gd name="connsiteX7" fmla="*/ 3228778 w 3525305"/>
                <a:gd name="connsiteY7" fmla="*/ 2833378 h 3522008"/>
                <a:gd name="connsiteX8" fmla="*/ 3512557 w 3525305"/>
                <a:gd name="connsiteY8" fmla="*/ 443325 h 3522008"/>
                <a:gd name="connsiteX9" fmla="*/ 2787343 w 3525305"/>
                <a:gd name="connsiteY9" fmla="*/ 544225 h 3522008"/>
                <a:gd name="connsiteX10" fmla="*/ 964850 w 3525305"/>
                <a:gd name="connsiteY10" fmla="*/ 228914 h 3522008"/>
                <a:gd name="connsiteX0" fmla="*/ 964850 w 3513782"/>
                <a:gd name="connsiteY0" fmla="*/ 228914 h 3622365"/>
                <a:gd name="connsiteX1" fmla="*/ 0 w 3513782"/>
                <a:gd name="connsiteY1" fmla="*/ 3438774 h 3622365"/>
                <a:gd name="connsiteX2" fmla="*/ 1992761 w 3513782"/>
                <a:gd name="connsiteY2" fmla="*/ 3514448 h 3622365"/>
                <a:gd name="connsiteX3" fmla="*/ 2768425 w 3513782"/>
                <a:gd name="connsiteY3" fmla="*/ 3520754 h 3622365"/>
                <a:gd name="connsiteX4" fmla="*/ 2818874 w 3513782"/>
                <a:gd name="connsiteY4" fmla="*/ 3514448 h 3622365"/>
                <a:gd name="connsiteX5" fmla="*/ 2850405 w 3513782"/>
                <a:gd name="connsiteY5" fmla="*/ 3489223 h 3622365"/>
                <a:gd name="connsiteX6" fmla="*/ 2957611 w 3513782"/>
                <a:gd name="connsiteY6" fmla="*/ 3369405 h 3622365"/>
                <a:gd name="connsiteX7" fmla="*/ 3512557 w 3513782"/>
                <a:gd name="connsiteY7" fmla="*/ 443325 h 3622365"/>
                <a:gd name="connsiteX8" fmla="*/ 2787343 w 3513782"/>
                <a:gd name="connsiteY8" fmla="*/ 544225 h 3622365"/>
                <a:gd name="connsiteX9" fmla="*/ 964850 w 3513782"/>
                <a:gd name="connsiteY9" fmla="*/ 228914 h 3622365"/>
                <a:gd name="connsiteX0" fmla="*/ 964850 w 3512703"/>
                <a:gd name="connsiteY0" fmla="*/ 228914 h 3722318"/>
                <a:gd name="connsiteX1" fmla="*/ 0 w 3512703"/>
                <a:gd name="connsiteY1" fmla="*/ 3438774 h 3722318"/>
                <a:gd name="connsiteX2" fmla="*/ 1992761 w 3512703"/>
                <a:gd name="connsiteY2" fmla="*/ 3514448 h 3722318"/>
                <a:gd name="connsiteX3" fmla="*/ 2768425 w 3512703"/>
                <a:gd name="connsiteY3" fmla="*/ 3520754 h 3722318"/>
                <a:gd name="connsiteX4" fmla="*/ 2818874 w 3512703"/>
                <a:gd name="connsiteY4" fmla="*/ 3514448 h 3722318"/>
                <a:gd name="connsiteX5" fmla="*/ 2850405 w 3512703"/>
                <a:gd name="connsiteY5" fmla="*/ 3489223 h 3722318"/>
                <a:gd name="connsiteX6" fmla="*/ 3512557 w 3512703"/>
                <a:gd name="connsiteY6" fmla="*/ 443325 h 3722318"/>
                <a:gd name="connsiteX7" fmla="*/ 2787343 w 3512703"/>
                <a:gd name="connsiteY7" fmla="*/ 544225 h 3722318"/>
                <a:gd name="connsiteX8" fmla="*/ 964850 w 3512703"/>
                <a:gd name="connsiteY8" fmla="*/ 228914 h 3722318"/>
                <a:gd name="connsiteX0" fmla="*/ 964850 w 3512592"/>
                <a:gd name="connsiteY0" fmla="*/ 228914 h 3743580"/>
                <a:gd name="connsiteX1" fmla="*/ 0 w 3512592"/>
                <a:gd name="connsiteY1" fmla="*/ 3438774 h 3743580"/>
                <a:gd name="connsiteX2" fmla="*/ 1992761 w 3512592"/>
                <a:gd name="connsiteY2" fmla="*/ 3514448 h 3743580"/>
                <a:gd name="connsiteX3" fmla="*/ 2768425 w 3512592"/>
                <a:gd name="connsiteY3" fmla="*/ 3520754 h 3743580"/>
                <a:gd name="connsiteX4" fmla="*/ 2818874 w 3512592"/>
                <a:gd name="connsiteY4" fmla="*/ 3514448 h 3743580"/>
                <a:gd name="connsiteX5" fmla="*/ 3512557 w 3512592"/>
                <a:gd name="connsiteY5" fmla="*/ 443325 h 3743580"/>
                <a:gd name="connsiteX6" fmla="*/ 2787343 w 3512592"/>
                <a:gd name="connsiteY6" fmla="*/ 544225 h 3743580"/>
                <a:gd name="connsiteX7" fmla="*/ 964850 w 3512592"/>
                <a:gd name="connsiteY7" fmla="*/ 228914 h 3743580"/>
                <a:gd name="connsiteX0" fmla="*/ 964850 w 3512581"/>
                <a:gd name="connsiteY0" fmla="*/ 228914 h 3522008"/>
                <a:gd name="connsiteX1" fmla="*/ 0 w 3512581"/>
                <a:gd name="connsiteY1" fmla="*/ 3438774 h 3522008"/>
                <a:gd name="connsiteX2" fmla="*/ 1992761 w 3512581"/>
                <a:gd name="connsiteY2" fmla="*/ 3514448 h 3522008"/>
                <a:gd name="connsiteX3" fmla="*/ 2768425 w 3512581"/>
                <a:gd name="connsiteY3" fmla="*/ 3520754 h 3522008"/>
                <a:gd name="connsiteX4" fmla="*/ 3512557 w 3512581"/>
                <a:gd name="connsiteY4" fmla="*/ 443325 h 3522008"/>
                <a:gd name="connsiteX5" fmla="*/ 2787343 w 3512581"/>
                <a:gd name="connsiteY5" fmla="*/ 544225 h 3522008"/>
                <a:gd name="connsiteX6" fmla="*/ 964850 w 3512581"/>
                <a:gd name="connsiteY6" fmla="*/ 228914 h 3522008"/>
                <a:gd name="connsiteX0" fmla="*/ 964850 w 3512581"/>
                <a:gd name="connsiteY0" fmla="*/ 228914 h 3522008"/>
                <a:gd name="connsiteX1" fmla="*/ 0 w 3512581"/>
                <a:gd name="connsiteY1" fmla="*/ 3438774 h 3522008"/>
                <a:gd name="connsiteX2" fmla="*/ 1992761 w 3512581"/>
                <a:gd name="connsiteY2" fmla="*/ 3514448 h 3522008"/>
                <a:gd name="connsiteX3" fmla="*/ 2768425 w 3512581"/>
                <a:gd name="connsiteY3" fmla="*/ 3520754 h 3522008"/>
                <a:gd name="connsiteX4" fmla="*/ 3512557 w 3512581"/>
                <a:gd name="connsiteY4" fmla="*/ 443325 h 3522008"/>
                <a:gd name="connsiteX5" fmla="*/ 2787343 w 3512581"/>
                <a:gd name="connsiteY5" fmla="*/ 544225 h 3522008"/>
                <a:gd name="connsiteX6" fmla="*/ 964850 w 3512581"/>
                <a:gd name="connsiteY6" fmla="*/ 228914 h 3522008"/>
                <a:gd name="connsiteX0" fmla="*/ 964850 w 3512581"/>
                <a:gd name="connsiteY0" fmla="*/ 228914 h 3873893"/>
                <a:gd name="connsiteX1" fmla="*/ 0 w 3512581"/>
                <a:gd name="connsiteY1" fmla="*/ 3438774 h 3873893"/>
                <a:gd name="connsiteX2" fmla="*/ 2768425 w 3512581"/>
                <a:gd name="connsiteY2" fmla="*/ 3520754 h 3873893"/>
                <a:gd name="connsiteX3" fmla="*/ 3512557 w 3512581"/>
                <a:gd name="connsiteY3" fmla="*/ 443325 h 3873893"/>
                <a:gd name="connsiteX4" fmla="*/ 2787343 w 3512581"/>
                <a:gd name="connsiteY4" fmla="*/ 544225 h 3873893"/>
                <a:gd name="connsiteX5" fmla="*/ 964850 w 3512581"/>
                <a:gd name="connsiteY5" fmla="*/ 228914 h 3873893"/>
                <a:gd name="connsiteX0" fmla="*/ 964850 w 3512581"/>
                <a:gd name="connsiteY0" fmla="*/ 228914 h 3722023"/>
                <a:gd name="connsiteX1" fmla="*/ 0 w 3512581"/>
                <a:gd name="connsiteY1" fmla="*/ 3438774 h 3722023"/>
                <a:gd name="connsiteX2" fmla="*/ 2768425 w 3512581"/>
                <a:gd name="connsiteY2" fmla="*/ 3520754 h 3722023"/>
                <a:gd name="connsiteX3" fmla="*/ 3512557 w 3512581"/>
                <a:gd name="connsiteY3" fmla="*/ 443325 h 3722023"/>
                <a:gd name="connsiteX4" fmla="*/ 2787343 w 3512581"/>
                <a:gd name="connsiteY4" fmla="*/ 544225 h 3722023"/>
                <a:gd name="connsiteX5" fmla="*/ 964850 w 3512581"/>
                <a:gd name="connsiteY5" fmla="*/ 228914 h 3722023"/>
                <a:gd name="connsiteX0" fmla="*/ 964850 w 3512581"/>
                <a:gd name="connsiteY0" fmla="*/ 228914 h 3520754"/>
                <a:gd name="connsiteX1" fmla="*/ 0 w 3512581"/>
                <a:gd name="connsiteY1" fmla="*/ 3438774 h 3520754"/>
                <a:gd name="connsiteX2" fmla="*/ 2768425 w 3512581"/>
                <a:gd name="connsiteY2" fmla="*/ 3520754 h 3520754"/>
                <a:gd name="connsiteX3" fmla="*/ 3512557 w 3512581"/>
                <a:gd name="connsiteY3" fmla="*/ 443325 h 3520754"/>
                <a:gd name="connsiteX4" fmla="*/ 2787343 w 3512581"/>
                <a:gd name="connsiteY4" fmla="*/ 544225 h 3520754"/>
                <a:gd name="connsiteX5" fmla="*/ 964850 w 3512581"/>
                <a:gd name="connsiteY5" fmla="*/ 228914 h 3520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12581" h="3520754">
                  <a:moveTo>
                    <a:pt x="964850" y="228914"/>
                  </a:moveTo>
                  <a:cubicBezTo>
                    <a:pt x="1144577" y="1207427"/>
                    <a:pt x="503446" y="2796592"/>
                    <a:pt x="0" y="3438774"/>
                  </a:cubicBezTo>
                  <a:cubicBezTo>
                    <a:pt x="1158240" y="3432468"/>
                    <a:pt x="1968588" y="3401988"/>
                    <a:pt x="2768425" y="3520754"/>
                  </a:cubicBezTo>
                  <a:cubicBezTo>
                    <a:pt x="3406403" y="2397198"/>
                    <a:pt x="3509404" y="939413"/>
                    <a:pt x="3512557" y="443325"/>
                  </a:cubicBezTo>
                  <a:cubicBezTo>
                    <a:pt x="3515710" y="-52763"/>
                    <a:pt x="3211961" y="-38048"/>
                    <a:pt x="2787343" y="544225"/>
                  </a:cubicBezTo>
                  <a:cubicBezTo>
                    <a:pt x="2640198" y="111199"/>
                    <a:pt x="1429407" y="-253511"/>
                    <a:pt x="964850" y="228914"/>
                  </a:cubicBezTo>
                  <a:close/>
                </a:path>
              </a:pathLst>
            </a:custGeom>
            <a:solidFill>
              <a:schemeClr val="bg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grpSp>
      <p:sp>
        <p:nvSpPr>
          <p:cNvPr id="2" name="Foliennummernplatzhalter 1"/>
          <p:cNvSpPr>
            <a:spLocks noGrp="1"/>
          </p:cNvSpPr>
          <p:nvPr>
            <p:ph type="sldNum" sz="quarter" idx="12"/>
          </p:nvPr>
        </p:nvSpPr>
        <p:spPr/>
        <p:txBody>
          <a:bodyPr/>
          <a:lstStyle/>
          <a:p>
            <a:fld id="{4AD1E780-DE1C-4ECA-B5E5-863D0BC53287}" type="slidenum">
              <a:rPr lang="de-DE" smtClean="0"/>
              <a:pPr/>
              <a:t>8</a:t>
            </a:fld>
            <a:endParaRPr lang="de-DE" dirty="0"/>
          </a:p>
        </p:txBody>
      </p:sp>
      <p:sp>
        <p:nvSpPr>
          <p:cNvPr id="4" name="Inhaltsplatzhalter 3"/>
          <p:cNvSpPr>
            <a:spLocks noGrp="1"/>
          </p:cNvSpPr>
          <p:nvPr>
            <p:ph idx="1"/>
          </p:nvPr>
        </p:nvSpPr>
        <p:spPr>
          <a:xfrm>
            <a:off x="1709715" y="2422117"/>
            <a:ext cx="2046398" cy="369332"/>
          </a:xfrm>
        </p:spPr>
        <p:txBody>
          <a:bodyPr/>
          <a:lstStyle/>
          <a:p>
            <a:r>
              <a:rPr lang="de-DE" sz="2400" dirty="0" smtClean="0">
                <a:latin typeface="MV Boli" panose="02000500030200090000" pitchFamily="2" charset="0"/>
                <a:cs typeface="MV Boli" panose="02000500030200090000" pitchFamily="2" charset="0"/>
              </a:rPr>
              <a:t>7.6 </a:t>
            </a:r>
            <a:r>
              <a:rPr lang="de-DE" sz="2400" dirty="0" err="1" smtClean="0">
                <a:latin typeface="MV Boli" panose="02000500030200090000" pitchFamily="2" charset="0"/>
                <a:cs typeface="MV Boli" panose="02000500030200090000" pitchFamily="2" charset="0"/>
              </a:rPr>
              <a:t>Bn</a:t>
            </a:r>
            <a:r>
              <a:rPr lang="de-DE" sz="2400" dirty="0" smtClean="0">
                <a:latin typeface="MV Boli" panose="02000500030200090000" pitchFamily="2" charset="0"/>
                <a:cs typeface="MV Boli" panose="02000500030200090000" pitchFamily="2" charset="0"/>
              </a:rPr>
              <a:t> EUR</a:t>
            </a:r>
            <a:endParaRPr lang="de-DE" sz="2400" dirty="0">
              <a:latin typeface="MV Boli" panose="02000500030200090000" pitchFamily="2" charset="0"/>
              <a:cs typeface="MV Boli" panose="02000500030200090000" pitchFamily="2" charset="0"/>
            </a:endParaRPr>
          </a:p>
        </p:txBody>
      </p:sp>
      <p:sp>
        <p:nvSpPr>
          <p:cNvPr id="5" name="Textplatzhalter 2"/>
          <p:cNvSpPr>
            <a:spLocks noGrp="1"/>
          </p:cNvSpPr>
          <p:nvPr>
            <p:ph type="body" sz="quarter" idx="13"/>
          </p:nvPr>
        </p:nvSpPr>
        <p:spPr>
          <a:xfrm>
            <a:off x="337853" y="426280"/>
            <a:ext cx="9365073" cy="697671"/>
          </a:xfrm>
        </p:spPr>
        <p:txBody>
          <a:bodyPr anchor="t" anchorCtr="0"/>
          <a:lstStyle/>
          <a:p>
            <a:r>
              <a:rPr lang="de-DE" sz="3600" b="1" dirty="0" err="1" smtClean="0">
                <a:solidFill>
                  <a:schemeClr val="accent6"/>
                </a:solidFill>
              </a:rPr>
              <a:t>Evidence</a:t>
            </a:r>
            <a:r>
              <a:rPr lang="de-DE" sz="3600" b="1" dirty="0" smtClean="0">
                <a:solidFill>
                  <a:schemeClr val="accent6"/>
                </a:solidFill>
              </a:rPr>
              <a:t> </a:t>
            </a:r>
            <a:r>
              <a:rPr lang="de-DE" sz="3600" b="1" dirty="0" err="1" smtClean="0">
                <a:solidFill>
                  <a:schemeClr val="accent6"/>
                </a:solidFill>
              </a:rPr>
              <a:t>that</a:t>
            </a:r>
            <a:r>
              <a:rPr lang="de-DE" sz="3600" b="1" dirty="0" smtClean="0">
                <a:solidFill>
                  <a:schemeClr val="accent6"/>
                </a:solidFill>
              </a:rPr>
              <a:t> a </a:t>
            </a:r>
            <a:r>
              <a:rPr lang="de-DE" sz="3600" b="1" dirty="0" err="1" smtClean="0">
                <a:solidFill>
                  <a:schemeClr val="accent6"/>
                </a:solidFill>
              </a:rPr>
              <a:t>cost</a:t>
            </a:r>
            <a:r>
              <a:rPr lang="de-DE" sz="3600" b="1" dirty="0" smtClean="0">
                <a:solidFill>
                  <a:schemeClr val="accent6"/>
                </a:solidFill>
              </a:rPr>
              <a:t>-neutral </a:t>
            </a:r>
            <a:r>
              <a:rPr lang="de-DE" sz="3600" b="1" dirty="0" err="1" smtClean="0">
                <a:solidFill>
                  <a:schemeClr val="accent6"/>
                </a:solidFill>
              </a:rPr>
              <a:t>transition</a:t>
            </a:r>
            <a:r>
              <a:rPr lang="de-DE" sz="3600" b="1" dirty="0" smtClean="0">
                <a:solidFill>
                  <a:schemeClr val="accent6"/>
                </a:solidFill>
              </a:rPr>
              <a:t> </a:t>
            </a:r>
            <a:r>
              <a:rPr lang="de-DE" sz="3600" b="1" dirty="0" err="1" smtClean="0">
                <a:solidFill>
                  <a:schemeClr val="accent6"/>
                </a:solidFill>
              </a:rPr>
              <a:t>to</a:t>
            </a:r>
            <a:r>
              <a:rPr lang="de-DE" sz="3600" b="1" dirty="0" smtClean="0">
                <a:solidFill>
                  <a:schemeClr val="accent6"/>
                </a:solidFill>
              </a:rPr>
              <a:t> OA </a:t>
            </a:r>
            <a:r>
              <a:rPr lang="de-DE" sz="3600" b="1" dirty="0" err="1" smtClean="0">
                <a:solidFill>
                  <a:schemeClr val="accent6"/>
                </a:solidFill>
              </a:rPr>
              <a:t>is</a:t>
            </a:r>
            <a:r>
              <a:rPr lang="de-DE" sz="3600" b="1" dirty="0" smtClean="0">
                <a:solidFill>
                  <a:schemeClr val="accent6"/>
                </a:solidFill>
              </a:rPr>
              <a:t> </a:t>
            </a:r>
            <a:r>
              <a:rPr lang="de-DE" sz="3600" b="1" dirty="0" err="1" smtClean="0">
                <a:solidFill>
                  <a:schemeClr val="accent6"/>
                </a:solidFill>
              </a:rPr>
              <a:t>possible</a:t>
            </a:r>
            <a:r>
              <a:rPr lang="de-DE" sz="3600" b="1" dirty="0" smtClean="0">
                <a:solidFill>
                  <a:schemeClr val="accent6"/>
                </a:solidFill>
              </a:rPr>
              <a:t> on a global </a:t>
            </a:r>
            <a:r>
              <a:rPr lang="de-DE" sz="3600" b="1" dirty="0" err="1" smtClean="0">
                <a:solidFill>
                  <a:schemeClr val="accent6"/>
                </a:solidFill>
              </a:rPr>
              <a:t>scale</a:t>
            </a:r>
            <a:endParaRPr lang="de-DE" sz="3600" b="1" dirty="0">
              <a:solidFill>
                <a:schemeClr val="accent6"/>
              </a:solidFill>
            </a:endParaRPr>
          </a:p>
        </p:txBody>
      </p:sp>
      <p:sp>
        <p:nvSpPr>
          <p:cNvPr id="6" name="Inhaltsplatzhalter 3"/>
          <p:cNvSpPr txBox="1">
            <a:spLocks/>
          </p:cNvSpPr>
          <p:nvPr/>
        </p:nvSpPr>
        <p:spPr>
          <a:xfrm>
            <a:off x="1601522" y="2846219"/>
            <a:ext cx="2046398" cy="369332"/>
          </a:xfrm>
          <a:prstGeom prst="rect">
            <a:avLst/>
          </a:prstGeom>
        </p:spPr>
        <p:txBody>
          <a:bodyPr vert="horz" wrap="square" lIns="0" tIns="0" rIns="0" bIns="0" rtlCol="0">
            <a:spAutoFit/>
          </a:bodyPr>
          <a:lstStyle>
            <a:lvl1pPr marL="0" indent="0" algn="l" defTabSz="914400" rtl="0" eaLnBrk="1" latinLnBrk="0" hangingPunct="1">
              <a:spcBef>
                <a:spcPts val="200"/>
              </a:spcBef>
              <a:buClr>
                <a:schemeClr val="tx2"/>
              </a:buClr>
              <a:buFont typeface="Wingdings" pitchFamily="2" charset="2"/>
              <a:buNone/>
              <a:defRPr sz="1600" kern="1200">
                <a:solidFill>
                  <a:schemeClr val="tx2"/>
                </a:solidFill>
                <a:latin typeface="+mn-lt"/>
                <a:ea typeface="+mn-ea"/>
                <a:cs typeface="+mn-cs"/>
              </a:defRPr>
            </a:lvl1pPr>
            <a:lvl2pPr marL="180975" indent="-180975" algn="l" defTabSz="914400" rtl="0" eaLnBrk="1" latinLnBrk="0" hangingPunct="1">
              <a:spcBef>
                <a:spcPts val="200"/>
              </a:spcBef>
              <a:buClr>
                <a:schemeClr val="tx2"/>
              </a:buClr>
              <a:buFont typeface="Wingdings" pitchFamily="2" charset="2"/>
              <a:buChar char="§"/>
              <a:defRPr sz="1600" kern="1200">
                <a:solidFill>
                  <a:schemeClr val="tx2"/>
                </a:solidFill>
                <a:latin typeface="+mn-lt"/>
                <a:ea typeface="+mn-ea"/>
                <a:cs typeface="+mn-cs"/>
              </a:defRPr>
            </a:lvl2pPr>
            <a:lvl3pPr marL="355600" indent="-174625"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3pPr>
            <a:lvl4pPr marL="538163" indent="-182563"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4pPr>
            <a:lvl5pPr marL="719138" indent="-180975" algn="l" defTabSz="914400" rtl="0" eaLnBrk="1" latinLnBrk="0" hangingPunct="1">
              <a:spcBef>
                <a:spcPts val="200"/>
              </a:spcBef>
              <a:buClr>
                <a:schemeClr val="tx2"/>
              </a:buClr>
              <a:buFont typeface="Symbol" pitchFamily="18" charset="2"/>
              <a:buChar char="-"/>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2400" dirty="0" smtClean="0">
                <a:latin typeface="MV Boli" panose="02000500030200090000" pitchFamily="2" charset="0"/>
                <a:cs typeface="MV Boli" panose="02000500030200090000" pitchFamily="2" charset="0"/>
              </a:rPr>
              <a:t>2M # </a:t>
            </a:r>
            <a:r>
              <a:rPr lang="de-DE" sz="2400" dirty="0" err="1" smtClean="0">
                <a:latin typeface="MV Boli" panose="02000500030200090000" pitchFamily="2" charset="0"/>
                <a:cs typeface="MV Boli" panose="02000500030200090000" pitchFamily="2" charset="0"/>
              </a:rPr>
              <a:t>articles</a:t>
            </a:r>
            <a:endParaRPr lang="de-DE" sz="2400" dirty="0">
              <a:latin typeface="MV Boli" panose="02000500030200090000" pitchFamily="2" charset="0"/>
              <a:cs typeface="MV Boli" panose="02000500030200090000" pitchFamily="2" charset="0"/>
            </a:endParaRPr>
          </a:p>
        </p:txBody>
      </p:sp>
      <p:sp>
        <p:nvSpPr>
          <p:cNvPr id="7" name="Inhaltsplatzhalter 3"/>
          <p:cNvSpPr txBox="1">
            <a:spLocks/>
          </p:cNvSpPr>
          <p:nvPr/>
        </p:nvSpPr>
        <p:spPr>
          <a:xfrm>
            <a:off x="6410664" y="2420987"/>
            <a:ext cx="1536936" cy="492443"/>
          </a:xfrm>
          <a:prstGeom prst="rect">
            <a:avLst/>
          </a:prstGeom>
        </p:spPr>
        <p:txBody>
          <a:bodyPr vert="horz" wrap="square" lIns="0" tIns="0" rIns="0" bIns="0" rtlCol="0">
            <a:spAutoFit/>
          </a:bodyPr>
          <a:lstStyle>
            <a:lvl1pPr marL="0" indent="0" algn="l" defTabSz="914400" rtl="0" eaLnBrk="1" latinLnBrk="0" hangingPunct="1">
              <a:spcBef>
                <a:spcPts val="200"/>
              </a:spcBef>
              <a:buClr>
                <a:schemeClr val="tx2"/>
              </a:buClr>
              <a:buFont typeface="Wingdings" pitchFamily="2" charset="2"/>
              <a:buNone/>
              <a:defRPr sz="1600" kern="1200">
                <a:solidFill>
                  <a:schemeClr val="tx2"/>
                </a:solidFill>
                <a:latin typeface="+mn-lt"/>
                <a:ea typeface="+mn-ea"/>
                <a:cs typeface="+mn-cs"/>
              </a:defRPr>
            </a:lvl1pPr>
            <a:lvl2pPr marL="180975" indent="-180975" algn="l" defTabSz="914400" rtl="0" eaLnBrk="1" latinLnBrk="0" hangingPunct="1">
              <a:spcBef>
                <a:spcPts val="200"/>
              </a:spcBef>
              <a:buClr>
                <a:schemeClr val="tx2"/>
              </a:buClr>
              <a:buFont typeface="Wingdings" pitchFamily="2" charset="2"/>
              <a:buChar char="§"/>
              <a:defRPr sz="1600" kern="1200">
                <a:solidFill>
                  <a:schemeClr val="tx2"/>
                </a:solidFill>
                <a:latin typeface="+mn-lt"/>
                <a:ea typeface="+mn-ea"/>
                <a:cs typeface="+mn-cs"/>
              </a:defRPr>
            </a:lvl2pPr>
            <a:lvl3pPr marL="355600" indent="-174625"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3pPr>
            <a:lvl4pPr marL="538163" indent="-182563"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4pPr>
            <a:lvl5pPr marL="719138" indent="-180975" algn="l" defTabSz="914400" rtl="0" eaLnBrk="1" latinLnBrk="0" hangingPunct="1">
              <a:spcBef>
                <a:spcPts val="200"/>
              </a:spcBef>
              <a:buClr>
                <a:schemeClr val="tx2"/>
              </a:buClr>
              <a:buFont typeface="Symbol" pitchFamily="18" charset="2"/>
              <a:buChar char="-"/>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3200" dirty="0" smtClean="0">
                <a:solidFill>
                  <a:schemeClr val="accent6"/>
                </a:solidFill>
                <a:latin typeface="MV Boli" panose="02000500030200090000" pitchFamily="2" charset="0"/>
                <a:cs typeface="MV Boli" panose="02000500030200090000" pitchFamily="2" charset="0"/>
              </a:rPr>
              <a:t>7.6 </a:t>
            </a:r>
            <a:r>
              <a:rPr lang="de-DE" sz="3200" dirty="0" err="1" smtClean="0">
                <a:solidFill>
                  <a:schemeClr val="accent6"/>
                </a:solidFill>
                <a:latin typeface="MV Boli" panose="02000500030200090000" pitchFamily="2" charset="0"/>
                <a:cs typeface="MV Boli" panose="02000500030200090000" pitchFamily="2" charset="0"/>
              </a:rPr>
              <a:t>Bn</a:t>
            </a:r>
            <a:endParaRPr lang="de-DE" sz="3200" dirty="0">
              <a:solidFill>
                <a:schemeClr val="accent6"/>
              </a:solidFill>
              <a:latin typeface="MV Boli" panose="02000500030200090000" pitchFamily="2" charset="0"/>
              <a:cs typeface="MV Boli" panose="02000500030200090000" pitchFamily="2" charset="0"/>
            </a:endParaRPr>
          </a:p>
        </p:txBody>
      </p:sp>
      <p:sp>
        <p:nvSpPr>
          <p:cNvPr id="8" name="Inhaltsplatzhalter 3"/>
          <p:cNvSpPr txBox="1">
            <a:spLocks/>
          </p:cNvSpPr>
          <p:nvPr/>
        </p:nvSpPr>
        <p:spPr>
          <a:xfrm>
            <a:off x="6410664" y="2906565"/>
            <a:ext cx="1131560" cy="492443"/>
          </a:xfrm>
          <a:prstGeom prst="rect">
            <a:avLst/>
          </a:prstGeom>
        </p:spPr>
        <p:txBody>
          <a:bodyPr vert="horz" wrap="square" lIns="0" tIns="0" rIns="0" bIns="0" rtlCol="0">
            <a:spAutoFit/>
          </a:bodyPr>
          <a:lstStyle>
            <a:lvl1pPr marL="0" indent="0" algn="l" defTabSz="914400" rtl="0" eaLnBrk="1" latinLnBrk="0" hangingPunct="1">
              <a:spcBef>
                <a:spcPts val="200"/>
              </a:spcBef>
              <a:buClr>
                <a:schemeClr val="tx2"/>
              </a:buClr>
              <a:buFont typeface="Wingdings" pitchFamily="2" charset="2"/>
              <a:buNone/>
              <a:defRPr sz="1600" kern="1200">
                <a:solidFill>
                  <a:schemeClr val="tx2"/>
                </a:solidFill>
                <a:latin typeface="+mn-lt"/>
                <a:ea typeface="+mn-ea"/>
                <a:cs typeface="+mn-cs"/>
              </a:defRPr>
            </a:lvl1pPr>
            <a:lvl2pPr marL="180975" indent="-180975" algn="l" defTabSz="914400" rtl="0" eaLnBrk="1" latinLnBrk="0" hangingPunct="1">
              <a:spcBef>
                <a:spcPts val="200"/>
              </a:spcBef>
              <a:buClr>
                <a:schemeClr val="tx2"/>
              </a:buClr>
              <a:buFont typeface="Wingdings" pitchFamily="2" charset="2"/>
              <a:buChar char="§"/>
              <a:defRPr sz="1600" kern="1200">
                <a:solidFill>
                  <a:schemeClr val="tx2"/>
                </a:solidFill>
                <a:latin typeface="+mn-lt"/>
                <a:ea typeface="+mn-ea"/>
                <a:cs typeface="+mn-cs"/>
              </a:defRPr>
            </a:lvl2pPr>
            <a:lvl3pPr marL="355600" indent="-174625"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3pPr>
            <a:lvl4pPr marL="538163" indent="-182563"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4pPr>
            <a:lvl5pPr marL="719138" indent="-180975" algn="l" defTabSz="914400" rtl="0" eaLnBrk="1" latinLnBrk="0" hangingPunct="1">
              <a:spcBef>
                <a:spcPts val="200"/>
              </a:spcBef>
              <a:buClr>
                <a:schemeClr val="tx2"/>
              </a:buClr>
              <a:buFont typeface="Symbol" pitchFamily="18" charset="2"/>
              <a:buChar char="-"/>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3200" dirty="0" smtClean="0">
                <a:solidFill>
                  <a:schemeClr val="accent6"/>
                </a:solidFill>
                <a:latin typeface="MV Boli" panose="02000500030200090000" pitchFamily="2" charset="0"/>
                <a:cs typeface="MV Boli" panose="02000500030200090000" pitchFamily="2" charset="0"/>
              </a:rPr>
              <a:t>4 </a:t>
            </a:r>
            <a:r>
              <a:rPr lang="de-DE" sz="3200" dirty="0" err="1" smtClean="0">
                <a:solidFill>
                  <a:schemeClr val="accent6"/>
                </a:solidFill>
                <a:latin typeface="MV Boli" panose="02000500030200090000" pitchFamily="2" charset="0"/>
                <a:cs typeface="MV Boli" panose="02000500030200090000" pitchFamily="2" charset="0"/>
              </a:rPr>
              <a:t>Bn</a:t>
            </a:r>
            <a:endParaRPr lang="de-DE" sz="3200" dirty="0">
              <a:solidFill>
                <a:schemeClr val="accent6"/>
              </a:solidFill>
              <a:latin typeface="MV Boli" panose="02000500030200090000" pitchFamily="2" charset="0"/>
              <a:cs typeface="MV Boli" panose="02000500030200090000" pitchFamily="2" charset="0"/>
            </a:endParaRPr>
          </a:p>
        </p:txBody>
      </p:sp>
      <p:sp>
        <p:nvSpPr>
          <p:cNvPr id="9" name="Inhaltsplatzhalter 3"/>
          <p:cNvSpPr txBox="1">
            <a:spLocks/>
          </p:cNvSpPr>
          <p:nvPr/>
        </p:nvSpPr>
        <p:spPr>
          <a:xfrm>
            <a:off x="1486764" y="3446361"/>
            <a:ext cx="3686649" cy="369332"/>
          </a:xfrm>
          <a:prstGeom prst="rect">
            <a:avLst/>
          </a:prstGeom>
        </p:spPr>
        <p:txBody>
          <a:bodyPr vert="horz" wrap="square" lIns="0" tIns="0" rIns="0" bIns="0" rtlCol="0">
            <a:spAutoFit/>
          </a:bodyPr>
          <a:lstStyle>
            <a:lvl1pPr marL="0" indent="0" algn="l" defTabSz="914400" rtl="0" eaLnBrk="1" latinLnBrk="0" hangingPunct="1">
              <a:spcBef>
                <a:spcPts val="200"/>
              </a:spcBef>
              <a:buClr>
                <a:schemeClr val="tx2"/>
              </a:buClr>
              <a:buFont typeface="Wingdings" pitchFamily="2" charset="2"/>
              <a:buNone/>
              <a:defRPr sz="1600" kern="1200">
                <a:solidFill>
                  <a:schemeClr val="tx2"/>
                </a:solidFill>
                <a:latin typeface="+mn-lt"/>
                <a:ea typeface="+mn-ea"/>
                <a:cs typeface="+mn-cs"/>
              </a:defRPr>
            </a:lvl1pPr>
            <a:lvl2pPr marL="180975" indent="-180975" algn="l" defTabSz="914400" rtl="0" eaLnBrk="1" latinLnBrk="0" hangingPunct="1">
              <a:spcBef>
                <a:spcPts val="200"/>
              </a:spcBef>
              <a:buClr>
                <a:schemeClr val="tx2"/>
              </a:buClr>
              <a:buFont typeface="Wingdings" pitchFamily="2" charset="2"/>
              <a:buChar char="§"/>
              <a:defRPr sz="1600" kern="1200">
                <a:solidFill>
                  <a:schemeClr val="tx2"/>
                </a:solidFill>
                <a:latin typeface="+mn-lt"/>
                <a:ea typeface="+mn-ea"/>
                <a:cs typeface="+mn-cs"/>
              </a:defRPr>
            </a:lvl2pPr>
            <a:lvl3pPr marL="355600" indent="-174625"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3pPr>
            <a:lvl4pPr marL="538163" indent="-182563"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4pPr>
            <a:lvl5pPr marL="719138" indent="-180975" algn="l" defTabSz="914400" rtl="0" eaLnBrk="1" latinLnBrk="0" hangingPunct="1">
              <a:spcBef>
                <a:spcPts val="200"/>
              </a:spcBef>
              <a:buClr>
                <a:schemeClr val="tx2"/>
              </a:buClr>
              <a:buFont typeface="Symbol" pitchFamily="18" charset="2"/>
              <a:buChar char="-"/>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2400" b="1" dirty="0" smtClean="0">
                <a:latin typeface="MV Boli" panose="02000500030200090000" pitchFamily="2" charset="0"/>
                <a:cs typeface="MV Boli" panose="02000500030200090000" pitchFamily="2" charset="0"/>
              </a:rPr>
              <a:t>3800 EUR per </a:t>
            </a:r>
            <a:r>
              <a:rPr lang="de-DE" sz="2400" b="1" dirty="0" err="1" smtClean="0">
                <a:latin typeface="MV Boli" panose="02000500030200090000" pitchFamily="2" charset="0"/>
                <a:cs typeface="MV Boli" panose="02000500030200090000" pitchFamily="2" charset="0"/>
              </a:rPr>
              <a:t>article</a:t>
            </a:r>
            <a:endParaRPr lang="de-DE" sz="2400" b="1" dirty="0">
              <a:latin typeface="MV Boli" panose="02000500030200090000" pitchFamily="2" charset="0"/>
              <a:cs typeface="MV Boli" panose="02000500030200090000" pitchFamily="2" charset="0"/>
            </a:endParaRPr>
          </a:p>
        </p:txBody>
      </p:sp>
      <p:sp>
        <p:nvSpPr>
          <p:cNvPr id="10" name="Inhaltsplatzhalter 3"/>
          <p:cNvSpPr txBox="1">
            <a:spLocks/>
          </p:cNvSpPr>
          <p:nvPr/>
        </p:nvSpPr>
        <p:spPr>
          <a:xfrm>
            <a:off x="6410663" y="3633766"/>
            <a:ext cx="1743263" cy="615553"/>
          </a:xfrm>
          <a:prstGeom prst="rect">
            <a:avLst/>
          </a:prstGeom>
        </p:spPr>
        <p:txBody>
          <a:bodyPr vert="horz" wrap="square" lIns="0" tIns="0" rIns="0" bIns="0" rtlCol="0">
            <a:spAutoFit/>
          </a:bodyPr>
          <a:lstStyle>
            <a:lvl1pPr marL="0" indent="0" algn="l" defTabSz="914400" rtl="0" eaLnBrk="1" latinLnBrk="0" hangingPunct="1">
              <a:spcBef>
                <a:spcPts val="200"/>
              </a:spcBef>
              <a:buClr>
                <a:schemeClr val="tx2"/>
              </a:buClr>
              <a:buFont typeface="Wingdings" pitchFamily="2" charset="2"/>
              <a:buNone/>
              <a:defRPr sz="1600" kern="1200">
                <a:solidFill>
                  <a:schemeClr val="tx2"/>
                </a:solidFill>
                <a:latin typeface="+mn-lt"/>
                <a:ea typeface="+mn-ea"/>
                <a:cs typeface="+mn-cs"/>
              </a:defRPr>
            </a:lvl1pPr>
            <a:lvl2pPr marL="180975" indent="-180975" algn="l" defTabSz="914400" rtl="0" eaLnBrk="1" latinLnBrk="0" hangingPunct="1">
              <a:spcBef>
                <a:spcPts val="200"/>
              </a:spcBef>
              <a:buClr>
                <a:schemeClr val="tx2"/>
              </a:buClr>
              <a:buFont typeface="Wingdings" pitchFamily="2" charset="2"/>
              <a:buChar char="§"/>
              <a:defRPr sz="1600" kern="1200">
                <a:solidFill>
                  <a:schemeClr val="tx2"/>
                </a:solidFill>
                <a:latin typeface="+mn-lt"/>
                <a:ea typeface="+mn-ea"/>
                <a:cs typeface="+mn-cs"/>
              </a:defRPr>
            </a:lvl2pPr>
            <a:lvl3pPr marL="355600" indent="-174625"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3pPr>
            <a:lvl4pPr marL="538163" indent="-182563"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4pPr>
            <a:lvl5pPr marL="719138" indent="-180975" algn="l" defTabSz="914400" rtl="0" eaLnBrk="1" latinLnBrk="0" hangingPunct="1">
              <a:spcBef>
                <a:spcPts val="200"/>
              </a:spcBef>
              <a:buClr>
                <a:schemeClr val="tx2"/>
              </a:buClr>
              <a:buFont typeface="Symbol" pitchFamily="18" charset="2"/>
              <a:buChar char="-"/>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4000" b="1" dirty="0" smtClean="0">
                <a:solidFill>
                  <a:schemeClr val="accent6"/>
                </a:solidFill>
                <a:latin typeface="MV Boli" panose="02000500030200090000" pitchFamily="2" charset="0"/>
                <a:cs typeface="MV Boli" panose="02000500030200090000" pitchFamily="2" charset="0"/>
              </a:rPr>
              <a:t>3.6 </a:t>
            </a:r>
            <a:r>
              <a:rPr lang="de-DE" sz="4000" b="1" dirty="0" err="1" smtClean="0">
                <a:solidFill>
                  <a:schemeClr val="accent6"/>
                </a:solidFill>
                <a:latin typeface="MV Boli" panose="02000500030200090000" pitchFamily="2" charset="0"/>
                <a:cs typeface="MV Boli" panose="02000500030200090000" pitchFamily="2" charset="0"/>
              </a:rPr>
              <a:t>Bn</a:t>
            </a:r>
            <a:endParaRPr lang="de-DE" sz="4000" b="1" dirty="0">
              <a:solidFill>
                <a:schemeClr val="accent6"/>
              </a:solidFill>
              <a:latin typeface="MV Boli" panose="02000500030200090000" pitchFamily="2" charset="0"/>
              <a:cs typeface="MV Boli" panose="02000500030200090000" pitchFamily="2" charset="0"/>
            </a:endParaRPr>
          </a:p>
        </p:txBody>
      </p:sp>
      <p:sp>
        <p:nvSpPr>
          <p:cNvPr id="11" name="Inhaltsplatzhalter 3"/>
          <p:cNvSpPr txBox="1">
            <a:spLocks/>
          </p:cNvSpPr>
          <p:nvPr/>
        </p:nvSpPr>
        <p:spPr>
          <a:xfrm>
            <a:off x="1139966" y="4396069"/>
            <a:ext cx="4113481" cy="369332"/>
          </a:xfrm>
          <a:prstGeom prst="rect">
            <a:avLst/>
          </a:prstGeom>
        </p:spPr>
        <p:txBody>
          <a:bodyPr vert="horz" wrap="square" lIns="0" tIns="0" rIns="0" bIns="0" rtlCol="0">
            <a:spAutoFit/>
          </a:bodyPr>
          <a:lstStyle>
            <a:lvl1pPr marL="0" indent="0" algn="l" defTabSz="914400" rtl="0" eaLnBrk="1" latinLnBrk="0" hangingPunct="1">
              <a:spcBef>
                <a:spcPts val="200"/>
              </a:spcBef>
              <a:buClr>
                <a:schemeClr val="tx2"/>
              </a:buClr>
              <a:buFont typeface="Wingdings" pitchFamily="2" charset="2"/>
              <a:buNone/>
              <a:defRPr sz="1600" kern="1200">
                <a:solidFill>
                  <a:schemeClr val="tx2"/>
                </a:solidFill>
                <a:latin typeface="+mn-lt"/>
                <a:ea typeface="+mn-ea"/>
                <a:cs typeface="+mn-cs"/>
              </a:defRPr>
            </a:lvl1pPr>
            <a:lvl2pPr marL="180975" indent="-180975" algn="l" defTabSz="914400" rtl="0" eaLnBrk="1" latinLnBrk="0" hangingPunct="1">
              <a:spcBef>
                <a:spcPts val="200"/>
              </a:spcBef>
              <a:buClr>
                <a:schemeClr val="tx2"/>
              </a:buClr>
              <a:buFont typeface="Wingdings" pitchFamily="2" charset="2"/>
              <a:buChar char="§"/>
              <a:defRPr sz="1600" kern="1200">
                <a:solidFill>
                  <a:schemeClr val="tx2"/>
                </a:solidFill>
                <a:latin typeface="+mn-lt"/>
                <a:ea typeface="+mn-ea"/>
                <a:cs typeface="+mn-cs"/>
              </a:defRPr>
            </a:lvl2pPr>
            <a:lvl3pPr marL="355600" indent="-174625"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3pPr>
            <a:lvl4pPr marL="538163" indent="-182563"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4pPr>
            <a:lvl5pPr marL="719138" indent="-180975" algn="l" defTabSz="914400" rtl="0" eaLnBrk="1" latinLnBrk="0" hangingPunct="1">
              <a:spcBef>
                <a:spcPts val="200"/>
              </a:spcBef>
              <a:buClr>
                <a:schemeClr val="tx2"/>
              </a:buClr>
              <a:buFont typeface="Symbol" pitchFamily="18" charset="2"/>
              <a:buChar char="-"/>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2400" dirty="0">
                <a:latin typeface="MV Boli" panose="02000500030200090000" pitchFamily="2" charset="0"/>
                <a:cs typeface="MV Boli" panose="02000500030200090000" pitchFamily="2" charset="0"/>
              </a:rPr>
              <a:t>&gt;</a:t>
            </a:r>
            <a:r>
              <a:rPr lang="de-DE" sz="2400" dirty="0" smtClean="0">
                <a:latin typeface="MV Boli" panose="02000500030200090000" pitchFamily="2" charset="0"/>
                <a:cs typeface="MV Boli" panose="02000500030200090000" pitchFamily="2" charset="0"/>
              </a:rPr>
              <a:t> 2000 EUR per </a:t>
            </a:r>
            <a:r>
              <a:rPr lang="de-DE" sz="2400" dirty="0" err="1" smtClean="0">
                <a:latin typeface="MV Boli" panose="02000500030200090000" pitchFamily="2" charset="0"/>
                <a:cs typeface="MV Boli" panose="02000500030200090000" pitchFamily="2" charset="0"/>
              </a:rPr>
              <a:t>article</a:t>
            </a:r>
            <a:endParaRPr lang="de-DE" sz="2400" dirty="0">
              <a:latin typeface="MV Boli" panose="02000500030200090000" pitchFamily="2" charset="0"/>
              <a:cs typeface="MV Boli" panose="02000500030200090000" pitchFamily="2" charset="0"/>
            </a:endParaRPr>
          </a:p>
        </p:txBody>
      </p:sp>
      <p:sp>
        <p:nvSpPr>
          <p:cNvPr id="12" name="Inhaltsplatzhalter 3"/>
          <p:cNvSpPr txBox="1">
            <a:spLocks/>
          </p:cNvSpPr>
          <p:nvPr/>
        </p:nvSpPr>
        <p:spPr>
          <a:xfrm>
            <a:off x="1063260" y="4826566"/>
            <a:ext cx="2046398" cy="369332"/>
          </a:xfrm>
          <a:prstGeom prst="rect">
            <a:avLst/>
          </a:prstGeom>
        </p:spPr>
        <p:txBody>
          <a:bodyPr vert="horz" wrap="square" lIns="0" tIns="0" rIns="0" bIns="0" rtlCol="0">
            <a:spAutoFit/>
          </a:bodyPr>
          <a:lstStyle>
            <a:lvl1pPr marL="0" indent="0" algn="l" defTabSz="914400" rtl="0" eaLnBrk="1" latinLnBrk="0" hangingPunct="1">
              <a:spcBef>
                <a:spcPts val="200"/>
              </a:spcBef>
              <a:buClr>
                <a:schemeClr val="tx2"/>
              </a:buClr>
              <a:buFont typeface="Wingdings" pitchFamily="2" charset="2"/>
              <a:buNone/>
              <a:defRPr sz="1600" kern="1200">
                <a:solidFill>
                  <a:schemeClr val="tx2"/>
                </a:solidFill>
                <a:latin typeface="+mn-lt"/>
                <a:ea typeface="+mn-ea"/>
                <a:cs typeface="+mn-cs"/>
              </a:defRPr>
            </a:lvl1pPr>
            <a:lvl2pPr marL="180975" indent="-180975" algn="l" defTabSz="914400" rtl="0" eaLnBrk="1" latinLnBrk="0" hangingPunct="1">
              <a:spcBef>
                <a:spcPts val="200"/>
              </a:spcBef>
              <a:buClr>
                <a:schemeClr val="tx2"/>
              </a:buClr>
              <a:buFont typeface="Wingdings" pitchFamily="2" charset="2"/>
              <a:buChar char="§"/>
              <a:defRPr sz="1600" kern="1200">
                <a:solidFill>
                  <a:schemeClr val="tx2"/>
                </a:solidFill>
                <a:latin typeface="+mn-lt"/>
                <a:ea typeface="+mn-ea"/>
                <a:cs typeface="+mn-cs"/>
              </a:defRPr>
            </a:lvl2pPr>
            <a:lvl3pPr marL="355600" indent="-174625"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3pPr>
            <a:lvl4pPr marL="538163" indent="-182563"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4pPr>
            <a:lvl5pPr marL="719138" indent="-180975" algn="l" defTabSz="914400" rtl="0" eaLnBrk="1" latinLnBrk="0" hangingPunct="1">
              <a:spcBef>
                <a:spcPts val="200"/>
              </a:spcBef>
              <a:buClr>
                <a:schemeClr val="tx2"/>
              </a:buClr>
              <a:buFont typeface="Symbol" pitchFamily="18" charset="2"/>
              <a:buChar char="-"/>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2400" dirty="0" smtClean="0">
                <a:latin typeface="MV Boli" panose="02000500030200090000" pitchFamily="2" charset="0"/>
                <a:cs typeface="MV Boli" panose="02000500030200090000" pitchFamily="2" charset="0"/>
              </a:rPr>
              <a:t>2M # </a:t>
            </a:r>
            <a:r>
              <a:rPr lang="de-DE" sz="2400" dirty="0" err="1" smtClean="0">
                <a:latin typeface="MV Boli" panose="02000500030200090000" pitchFamily="2" charset="0"/>
                <a:cs typeface="MV Boli" panose="02000500030200090000" pitchFamily="2" charset="0"/>
              </a:rPr>
              <a:t>articles</a:t>
            </a:r>
            <a:endParaRPr lang="de-DE" sz="2400" dirty="0">
              <a:latin typeface="MV Boli" panose="02000500030200090000" pitchFamily="2" charset="0"/>
              <a:cs typeface="MV Boli" panose="02000500030200090000" pitchFamily="2" charset="0"/>
            </a:endParaRPr>
          </a:p>
        </p:txBody>
      </p:sp>
      <p:sp>
        <p:nvSpPr>
          <p:cNvPr id="13" name="Inhaltsplatzhalter 3"/>
          <p:cNvSpPr txBox="1">
            <a:spLocks/>
          </p:cNvSpPr>
          <p:nvPr/>
        </p:nvSpPr>
        <p:spPr>
          <a:xfrm>
            <a:off x="966615" y="5401045"/>
            <a:ext cx="2737870" cy="369332"/>
          </a:xfrm>
          <a:prstGeom prst="rect">
            <a:avLst/>
          </a:prstGeom>
        </p:spPr>
        <p:txBody>
          <a:bodyPr vert="horz" wrap="square" lIns="0" tIns="0" rIns="0" bIns="0" rtlCol="0">
            <a:spAutoFit/>
          </a:bodyPr>
          <a:lstStyle>
            <a:lvl1pPr marL="0" indent="0" algn="l" defTabSz="914400" rtl="0" eaLnBrk="1" latinLnBrk="0" hangingPunct="1">
              <a:spcBef>
                <a:spcPts val="200"/>
              </a:spcBef>
              <a:buClr>
                <a:schemeClr val="tx2"/>
              </a:buClr>
              <a:buFont typeface="Wingdings" pitchFamily="2" charset="2"/>
              <a:buNone/>
              <a:defRPr sz="1600" kern="1200">
                <a:solidFill>
                  <a:schemeClr val="tx2"/>
                </a:solidFill>
                <a:latin typeface="+mn-lt"/>
                <a:ea typeface="+mn-ea"/>
                <a:cs typeface="+mn-cs"/>
              </a:defRPr>
            </a:lvl1pPr>
            <a:lvl2pPr marL="180975" indent="-180975" algn="l" defTabSz="914400" rtl="0" eaLnBrk="1" latinLnBrk="0" hangingPunct="1">
              <a:spcBef>
                <a:spcPts val="200"/>
              </a:spcBef>
              <a:buClr>
                <a:schemeClr val="tx2"/>
              </a:buClr>
              <a:buFont typeface="Wingdings" pitchFamily="2" charset="2"/>
              <a:buChar char="§"/>
              <a:defRPr sz="1600" kern="1200">
                <a:solidFill>
                  <a:schemeClr val="tx2"/>
                </a:solidFill>
                <a:latin typeface="+mn-lt"/>
                <a:ea typeface="+mn-ea"/>
                <a:cs typeface="+mn-cs"/>
              </a:defRPr>
            </a:lvl2pPr>
            <a:lvl3pPr marL="355600" indent="-174625"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3pPr>
            <a:lvl4pPr marL="538163" indent="-182563"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4pPr>
            <a:lvl5pPr marL="719138" indent="-180975" algn="l" defTabSz="914400" rtl="0" eaLnBrk="1" latinLnBrk="0" hangingPunct="1">
              <a:spcBef>
                <a:spcPts val="200"/>
              </a:spcBef>
              <a:buClr>
                <a:schemeClr val="tx2"/>
              </a:buClr>
              <a:buFont typeface="Symbol" pitchFamily="18" charset="2"/>
              <a:buChar char="-"/>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2400" b="1" dirty="0" smtClean="0">
                <a:latin typeface="MV Boli" panose="02000500030200090000" pitchFamily="2" charset="0"/>
                <a:cs typeface="MV Boli" panose="02000500030200090000" pitchFamily="2" charset="0"/>
              </a:rPr>
              <a:t>4.0 </a:t>
            </a:r>
            <a:r>
              <a:rPr lang="de-DE" sz="2400" b="1" dirty="0" err="1" smtClean="0">
                <a:latin typeface="MV Boli" panose="02000500030200090000" pitchFamily="2" charset="0"/>
                <a:cs typeface="MV Boli" panose="02000500030200090000" pitchFamily="2" charset="0"/>
              </a:rPr>
              <a:t>Bn</a:t>
            </a:r>
            <a:r>
              <a:rPr lang="de-DE" sz="2400" b="1" dirty="0" smtClean="0">
                <a:latin typeface="MV Boli" panose="02000500030200090000" pitchFamily="2" charset="0"/>
                <a:cs typeface="MV Boli" panose="02000500030200090000" pitchFamily="2" charset="0"/>
              </a:rPr>
              <a:t> EUR</a:t>
            </a:r>
            <a:endParaRPr lang="de-DE" sz="2400" b="1" dirty="0">
              <a:latin typeface="MV Boli" panose="02000500030200090000" pitchFamily="2" charset="0"/>
              <a:cs typeface="MV Boli" panose="02000500030200090000" pitchFamily="2" charset="0"/>
            </a:endParaRPr>
          </a:p>
        </p:txBody>
      </p:sp>
      <p:sp>
        <p:nvSpPr>
          <p:cNvPr id="18" name="Freihandform 17"/>
          <p:cNvSpPr/>
          <p:nvPr/>
        </p:nvSpPr>
        <p:spPr>
          <a:xfrm>
            <a:off x="891430" y="5235886"/>
            <a:ext cx="2851256" cy="46642"/>
          </a:xfrm>
          <a:custGeom>
            <a:avLst/>
            <a:gdLst>
              <a:gd name="connsiteX0" fmla="*/ 0 w 2106273"/>
              <a:gd name="connsiteY0" fmla="*/ 21417 h 46642"/>
              <a:gd name="connsiteX1" fmla="*/ 0 w 2106273"/>
              <a:gd name="connsiteY1" fmla="*/ 21417 h 46642"/>
              <a:gd name="connsiteX2" fmla="*/ 1696369 w 2106273"/>
              <a:gd name="connsiteY2" fmla="*/ 15111 h 46642"/>
              <a:gd name="connsiteX3" fmla="*/ 1790962 w 2106273"/>
              <a:gd name="connsiteY3" fmla="*/ 34029 h 46642"/>
              <a:gd name="connsiteX4" fmla="*/ 1854024 w 2106273"/>
              <a:gd name="connsiteY4" fmla="*/ 40335 h 46642"/>
              <a:gd name="connsiteX5" fmla="*/ 2106273 w 2106273"/>
              <a:gd name="connsiteY5" fmla="*/ 46642 h 46642"/>
              <a:gd name="connsiteX6" fmla="*/ 2106273 w 2106273"/>
              <a:gd name="connsiteY6" fmla="*/ 46642 h 46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06273" h="46642">
                <a:moveTo>
                  <a:pt x="0" y="21417"/>
                </a:moveTo>
                <a:lnTo>
                  <a:pt x="0" y="21417"/>
                </a:lnTo>
                <a:cubicBezTo>
                  <a:pt x="782730" y="-736"/>
                  <a:pt x="796445" y="-10168"/>
                  <a:pt x="1696369" y="15111"/>
                </a:cubicBezTo>
                <a:cubicBezTo>
                  <a:pt x="1728512" y="16014"/>
                  <a:pt x="1759210" y="28949"/>
                  <a:pt x="1790962" y="34029"/>
                </a:cubicBezTo>
                <a:cubicBezTo>
                  <a:pt x="1811822" y="37367"/>
                  <a:pt x="1832916" y="39473"/>
                  <a:pt x="1854024" y="40335"/>
                </a:cubicBezTo>
                <a:cubicBezTo>
                  <a:pt x="1938063" y="43765"/>
                  <a:pt x="2022164" y="46642"/>
                  <a:pt x="2106273" y="46642"/>
                </a:cubicBezTo>
                <a:lnTo>
                  <a:pt x="2106273" y="46642"/>
                </a:lnTo>
              </a:path>
            </a:pathLst>
          </a:cu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800"/>
          </a:p>
        </p:txBody>
      </p:sp>
      <p:sp>
        <p:nvSpPr>
          <p:cNvPr id="19" name="Freihandform 18"/>
          <p:cNvSpPr/>
          <p:nvPr/>
        </p:nvSpPr>
        <p:spPr>
          <a:xfrm>
            <a:off x="1486763" y="3291864"/>
            <a:ext cx="2902477" cy="18918"/>
          </a:xfrm>
          <a:custGeom>
            <a:avLst/>
            <a:gdLst>
              <a:gd name="connsiteX0" fmla="*/ 0 w 2144111"/>
              <a:gd name="connsiteY0" fmla="*/ 0 h 18918"/>
              <a:gd name="connsiteX1" fmla="*/ 0 w 2144111"/>
              <a:gd name="connsiteY1" fmla="*/ 0 h 18918"/>
              <a:gd name="connsiteX2" fmla="*/ 2144111 w 2144111"/>
              <a:gd name="connsiteY2" fmla="*/ 18918 h 18918"/>
              <a:gd name="connsiteX3" fmla="*/ 2144111 w 2144111"/>
              <a:gd name="connsiteY3" fmla="*/ 18918 h 18918"/>
            </a:gdLst>
            <a:ahLst/>
            <a:cxnLst>
              <a:cxn ang="0">
                <a:pos x="connsiteX0" y="connsiteY0"/>
              </a:cxn>
              <a:cxn ang="0">
                <a:pos x="connsiteX1" y="connsiteY1"/>
              </a:cxn>
              <a:cxn ang="0">
                <a:pos x="connsiteX2" y="connsiteY2"/>
              </a:cxn>
              <a:cxn ang="0">
                <a:pos x="connsiteX3" y="connsiteY3"/>
              </a:cxn>
            </a:cxnLst>
            <a:rect l="l" t="t" r="r" b="b"/>
            <a:pathLst>
              <a:path w="2144111" h="18918">
                <a:moveTo>
                  <a:pt x="0" y="0"/>
                </a:moveTo>
                <a:lnTo>
                  <a:pt x="0" y="0"/>
                </a:lnTo>
                <a:lnTo>
                  <a:pt x="2144111" y="18918"/>
                </a:lnTo>
                <a:lnTo>
                  <a:pt x="2144111" y="18918"/>
                </a:lnTo>
              </a:path>
            </a:pathLst>
          </a:cu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800"/>
          </a:p>
        </p:txBody>
      </p:sp>
      <p:grpSp>
        <p:nvGrpSpPr>
          <p:cNvPr id="22" name="Gruppieren 21"/>
          <p:cNvGrpSpPr/>
          <p:nvPr/>
        </p:nvGrpSpPr>
        <p:grpSpPr>
          <a:xfrm>
            <a:off x="696609" y="4821561"/>
            <a:ext cx="208105" cy="195492"/>
            <a:chOff x="1500877" y="4698124"/>
            <a:chExt cx="296392" cy="283779"/>
          </a:xfrm>
        </p:grpSpPr>
        <p:sp>
          <p:nvSpPr>
            <p:cNvPr id="20" name="Freihandform 19"/>
            <p:cNvSpPr/>
            <p:nvPr/>
          </p:nvSpPr>
          <p:spPr>
            <a:xfrm rot="530344">
              <a:off x="1500877" y="4742268"/>
              <a:ext cx="296392" cy="239635"/>
            </a:xfrm>
            <a:custGeom>
              <a:avLst/>
              <a:gdLst>
                <a:gd name="connsiteX0" fmla="*/ 0 w 296392"/>
                <a:gd name="connsiteY0" fmla="*/ 0 h 239635"/>
                <a:gd name="connsiteX1" fmla="*/ 0 w 296392"/>
                <a:gd name="connsiteY1" fmla="*/ 0 h 239635"/>
                <a:gd name="connsiteX2" fmla="*/ 63062 w 296392"/>
                <a:gd name="connsiteY2" fmla="*/ 63062 h 239635"/>
                <a:gd name="connsiteX3" fmla="*/ 296392 w 296392"/>
                <a:gd name="connsiteY3" fmla="*/ 239635 h 239635"/>
                <a:gd name="connsiteX4" fmla="*/ 296392 w 296392"/>
                <a:gd name="connsiteY4" fmla="*/ 239635 h 2396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6392" h="239635">
                  <a:moveTo>
                    <a:pt x="0" y="0"/>
                  </a:moveTo>
                  <a:lnTo>
                    <a:pt x="0" y="0"/>
                  </a:lnTo>
                  <a:cubicBezTo>
                    <a:pt x="21021" y="21021"/>
                    <a:pt x="39945" y="44372"/>
                    <a:pt x="63062" y="63062"/>
                  </a:cubicBezTo>
                  <a:cubicBezTo>
                    <a:pt x="138910" y="124385"/>
                    <a:pt x="296392" y="239635"/>
                    <a:pt x="296392" y="239635"/>
                  </a:cubicBezTo>
                  <a:lnTo>
                    <a:pt x="296392" y="239635"/>
                  </a:lnTo>
                </a:path>
              </a:pathLst>
            </a:cu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800"/>
            </a:p>
          </p:txBody>
        </p:sp>
        <p:sp>
          <p:nvSpPr>
            <p:cNvPr id="21" name="Freihandform 20"/>
            <p:cNvSpPr/>
            <p:nvPr/>
          </p:nvSpPr>
          <p:spPr>
            <a:xfrm>
              <a:off x="1526102" y="4698124"/>
              <a:ext cx="252248" cy="283779"/>
            </a:xfrm>
            <a:custGeom>
              <a:avLst/>
              <a:gdLst>
                <a:gd name="connsiteX0" fmla="*/ 0 w 252248"/>
                <a:gd name="connsiteY0" fmla="*/ 283779 h 283779"/>
                <a:gd name="connsiteX1" fmla="*/ 0 w 252248"/>
                <a:gd name="connsiteY1" fmla="*/ 283779 h 283779"/>
                <a:gd name="connsiteX2" fmla="*/ 37837 w 252248"/>
                <a:gd name="connsiteY2" fmla="*/ 233330 h 283779"/>
                <a:gd name="connsiteX3" fmla="*/ 252248 w 252248"/>
                <a:gd name="connsiteY3" fmla="*/ 0 h 283779"/>
                <a:gd name="connsiteX4" fmla="*/ 252248 w 252248"/>
                <a:gd name="connsiteY4" fmla="*/ 0 h 2837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248" h="283779">
                  <a:moveTo>
                    <a:pt x="0" y="283779"/>
                  </a:moveTo>
                  <a:lnTo>
                    <a:pt x="0" y="283779"/>
                  </a:lnTo>
                  <a:cubicBezTo>
                    <a:pt x="12612" y="266963"/>
                    <a:pt x="23872" y="249041"/>
                    <a:pt x="37837" y="233330"/>
                  </a:cubicBezTo>
                  <a:cubicBezTo>
                    <a:pt x="108012" y="154383"/>
                    <a:pt x="252248" y="0"/>
                    <a:pt x="252248" y="0"/>
                  </a:cubicBezTo>
                  <a:lnTo>
                    <a:pt x="252248" y="0"/>
                  </a:lnTo>
                </a:path>
              </a:pathLst>
            </a:cu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800"/>
            </a:p>
          </p:txBody>
        </p:sp>
      </p:grpSp>
      <p:grpSp>
        <p:nvGrpSpPr>
          <p:cNvPr id="27" name="Gruppieren 26"/>
          <p:cNvGrpSpPr/>
          <p:nvPr/>
        </p:nvGrpSpPr>
        <p:grpSpPr>
          <a:xfrm>
            <a:off x="1098274" y="2897371"/>
            <a:ext cx="271167" cy="236764"/>
            <a:chOff x="1898168" y="2863013"/>
            <a:chExt cx="271167" cy="236764"/>
          </a:xfrm>
        </p:grpSpPr>
        <p:sp>
          <p:nvSpPr>
            <p:cNvPr id="23" name="Freihandform 22"/>
            <p:cNvSpPr/>
            <p:nvPr/>
          </p:nvSpPr>
          <p:spPr>
            <a:xfrm>
              <a:off x="1898168" y="2976530"/>
              <a:ext cx="271167" cy="6306"/>
            </a:xfrm>
            <a:custGeom>
              <a:avLst/>
              <a:gdLst>
                <a:gd name="connsiteX0" fmla="*/ 0 w 271167"/>
                <a:gd name="connsiteY0" fmla="*/ 0 h 6306"/>
                <a:gd name="connsiteX1" fmla="*/ 0 w 271167"/>
                <a:gd name="connsiteY1" fmla="*/ 0 h 6306"/>
                <a:gd name="connsiteX2" fmla="*/ 227024 w 271167"/>
                <a:gd name="connsiteY2" fmla="*/ 6306 h 6306"/>
                <a:gd name="connsiteX3" fmla="*/ 271167 w 271167"/>
                <a:gd name="connsiteY3" fmla="*/ 0 h 6306"/>
                <a:gd name="connsiteX4" fmla="*/ 271167 w 271167"/>
                <a:gd name="connsiteY4" fmla="*/ 0 h 63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1167" h="6306">
                  <a:moveTo>
                    <a:pt x="0" y="0"/>
                  </a:moveTo>
                  <a:lnTo>
                    <a:pt x="0" y="0"/>
                  </a:lnTo>
                  <a:cubicBezTo>
                    <a:pt x="75675" y="2102"/>
                    <a:pt x="151320" y="6306"/>
                    <a:pt x="227024" y="6306"/>
                  </a:cubicBezTo>
                  <a:cubicBezTo>
                    <a:pt x="241888" y="6306"/>
                    <a:pt x="271167" y="0"/>
                    <a:pt x="271167" y="0"/>
                  </a:cubicBezTo>
                  <a:lnTo>
                    <a:pt x="271167" y="0"/>
                  </a:lnTo>
                </a:path>
              </a:pathLst>
            </a:cu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800"/>
            </a:p>
          </p:txBody>
        </p:sp>
        <p:sp>
          <p:nvSpPr>
            <p:cNvPr id="25" name="Ellipse 24"/>
            <p:cNvSpPr/>
            <p:nvPr/>
          </p:nvSpPr>
          <p:spPr>
            <a:xfrm>
              <a:off x="1988032" y="2863013"/>
              <a:ext cx="45719" cy="4571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dirty="0" smtClean="0">
                <a:solidFill>
                  <a:schemeClr val="tx1"/>
                </a:solidFill>
              </a:endParaRPr>
            </a:p>
          </p:txBody>
        </p:sp>
        <p:sp>
          <p:nvSpPr>
            <p:cNvPr id="26" name="Ellipse 25"/>
            <p:cNvSpPr/>
            <p:nvPr/>
          </p:nvSpPr>
          <p:spPr>
            <a:xfrm>
              <a:off x="1997491" y="3054058"/>
              <a:ext cx="45719" cy="4571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dirty="0" smtClean="0">
                <a:solidFill>
                  <a:schemeClr val="tx1"/>
                </a:solidFill>
              </a:endParaRPr>
            </a:p>
          </p:txBody>
        </p:sp>
      </p:grpSp>
      <p:sp>
        <p:nvSpPr>
          <p:cNvPr id="45" name="Freihandform 44"/>
          <p:cNvSpPr/>
          <p:nvPr/>
        </p:nvSpPr>
        <p:spPr>
          <a:xfrm>
            <a:off x="5967450" y="3079988"/>
            <a:ext cx="239636" cy="12613"/>
          </a:xfrm>
          <a:custGeom>
            <a:avLst/>
            <a:gdLst>
              <a:gd name="connsiteX0" fmla="*/ 0 w 239636"/>
              <a:gd name="connsiteY0" fmla="*/ 0 h 12613"/>
              <a:gd name="connsiteX1" fmla="*/ 0 w 239636"/>
              <a:gd name="connsiteY1" fmla="*/ 0 h 12613"/>
              <a:gd name="connsiteX2" fmla="*/ 220718 w 239636"/>
              <a:gd name="connsiteY2" fmla="*/ 6306 h 12613"/>
              <a:gd name="connsiteX3" fmla="*/ 239636 w 239636"/>
              <a:gd name="connsiteY3" fmla="*/ 12613 h 12613"/>
              <a:gd name="connsiteX4" fmla="*/ 239636 w 239636"/>
              <a:gd name="connsiteY4" fmla="*/ 12613 h 12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636" h="12613">
                <a:moveTo>
                  <a:pt x="0" y="0"/>
                </a:moveTo>
                <a:lnTo>
                  <a:pt x="0" y="0"/>
                </a:lnTo>
                <a:cubicBezTo>
                  <a:pt x="73573" y="2102"/>
                  <a:pt x="147217" y="2437"/>
                  <a:pt x="220718" y="6306"/>
                </a:cubicBezTo>
                <a:cubicBezTo>
                  <a:pt x="227356" y="6655"/>
                  <a:pt x="239636" y="12613"/>
                  <a:pt x="239636" y="12613"/>
                </a:cubicBezTo>
                <a:lnTo>
                  <a:pt x="239636" y="12613"/>
                </a:lnTo>
              </a:path>
            </a:pathLst>
          </a:cu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000"/>
          </a:p>
        </p:txBody>
      </p:sp>
      <p:sp>
        <p:nvSpPr>
          <p:cNvPr id="46" name="Freihandform 45"/>
          <p:cNvSpPr/>
          <p:nvPr/>
        </p:nvSpPr>
        <p:spPr>
          <a:xfrm>
            <a:off x="6126414" y="3425254"/>
            <a:ext cx="2326990" cy="45719"/>
          </a:xfrm>
          <a:custGeom>
            <a:avLst/>
            <a:gdLst>
              <a:gd name="connsiteX0" fmla="*/ 0 w 1879250"/>
              <a:gd name="connsiteY0" fmla="*/ 31531 h 31531"/>
              <a:gd name="connsiteX1" fmla="*/ 0 w 1879250"/>
              <a:gd name="connsiteY1" fmla="*/ 31531 h 31531"/>
              <a:gd name="connsiteX2" fmla="*/ 1822494 w 1879250"/>
              <a:gd name="connsiteY2" fmla="*/ 6306 h 31531"/>
              <a:gd name="connsiteX3" fmla="*/ 1879250 w 1879250"/>
              <a:gd name="connsiteY3" fmla="*/ 0 h 31531"/>
              <a:gd name="connsiteX4" fmla="*/ 1879250 w 1879250"/>
              <a:gd name="connsiteY4" fmla="*/ 0 h 315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9250" h="31531">
                <a:moveTo>
                  <a:pt x="0" y="31531"/>
                </a:moveTo>
                <a:lnTo>
                  <a:pt x="0" y="31531"/>
                </a:lnTo>
                <a:lnTo>
                  <a:pt x="1822494" y="6306"/>
                </a:lnTo>
                <a:cubicBezTo>
                  <a:pt x="1841526" y="5987"/>
                  <a:pt x="1879250" y="0"/>
                  <a:pt x="1879250" y="0"/>
                </a:cubicBezTo>
                <a:lnTo>
                  <a:pt x="1879250" y="0"/>
                </a:lnTo>
              </a:path>
            </a:pathLst>
          </a:cu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7" name="Freihandform 46"/>
          <p:cNvSpPr/>
          <p:nvPr/>
        </p:nvSpPr>
        <p:spPr>
          <a:xfrm>
            <a:off x="6427803" y="4231525"/>
            <a:ext cx="1820980" cy="45719"/>
          </a:xfrm>
          <a:custGeom>
            <a:avLst/>
            <a:gdLst>
              <a:gd name="connsiteX0" fmla="*/ 0 w 1519796"/>
              <a:gd name="connsiteY0" fmla="*/ 8805 h 22177"/>
              <a:gd name="connsiteX1" fmla="*/ 0 w 1519796"/>
              <a:gd name="connsiteY1" fmla="*/ 8805 h 22177"/>
              <a:gd name="connsiteX2" fmla="*/ 1154036 w 1519796"/>
              <a:gd name="connsiteY2" fmla="*/ 21418 h 22177"/>
              <a:gd name="connsiteX3" fmla="*/ 1519796 w 1519796"/>
              <a:gd name="connsiteY3" fmla="*/ 21418 h 22177"/>
              <a:gd name="connsiteX4" fmla="*/ 1519796 w 1519796"/>
              <a:gd name="connsiteY4" fmla="*/ 21418 h 221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19796" h="22177">
                <a:moveTo>
                  <a:pt x="0" y="8805"/>
                </a:moveTo>
                <a:lnTo>
                  <a:pt x="0" y="8805"/>
                </a:lnTo>
                <a:cubicBezTo>
                  <a:pt x="516422" y="-10321"/>
                  <a:pt x="7253" y="5341"/>
                  <a:pt x="1154036" y="21418"/>
                </a:cubicBezTo>
                <a:cubicBezTo>
                  <a:pt x="1275944" y="23127"/>
                  <a:pt x="1397876" y="21418"/>
                  <a:pt x="1519796" y="21418"/>
                </a:cubicBezTo>
                <a:lnTo>
                  <a:pt x="1519796" y="21418"/>
                </a:lnTo>
              </a:path>
            </a:pathLst>
          </a:custGeom>
          <a:solidFill>
            <a:schemeClr val="accent4"/>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8" name="Freihandform 47"/>
          <p:cNvSpPr/>
          <p:nvPr/>
        </p:nvSpPr>
        <p:spPr>
          <a:xfrm>
            <a:off x="6421497" y="4322311"/>
            <a:ext cx="1662306" cy="45719"/>
          </a:xfrm>
          <a:custGeom>
            <a:avLst/>
            <a:gdLst>
              <a:gd name="connsiteX0" fmla="*/ 0 w 1387366"/>
              <a:gd name="connsiteY0" fmla="*/ 0 h 25225"/>
              <a:gd name="connsiteX1" fmla="*/ 0 w 1387366"/>
              <a:gd name="connsiteY1" fmla="*/ 0 h 25225"/>
              <a:gd name="connsiteX2" fmla="*/ 1387366 w 1387366"/>
              <a:gd name="connsiteY2" fmla="*/ 25225 h 25225"/>
              <a:gd name="connsiteX3" fmla="*/ 1387366 w 1387366"/>
              <a:gd name="connsiteY3" fmla="*/ 25225 h 25225"/>
            </a:gdLst>
            <a:ahLst/>
            <a:cxnLst>
              <a:cxn ang="0">
                <a:pos x="connsiteX0" y="connsiteY0"/>
              </a:cxn>
              <a:cxn ang="0">
                <a:pos x="connsiteX1" y="connsiteY1"/>
              </a:cxn>
              <a:cxn ang="0">
                <a:pos x="connsiteX2" y="connsiteY2"/>
              </a:cxn>
              <a:cxn ang="0">
                <a:pos x="connsiteX3" y="connsiteY3"/>
              </a:cxn>
            </a:cxnLst>
            <a:rect l="l" t="t" r="r" b="b"/>
            <a:pathLst>
              <a:path w="1387366" h="25225">
                <a:moveTo>
                  <a:pt x="0" y="0"/>
                </a:moveTo>
                <a:lnTo>
                  <a:pt x="0" y="0"/>
                </a:lnTo>
                <a:lnTo>
                  <a:pt x="1387366" y="25225"/>
                </a:lnTo>
                <a:lnTo>
                  <a:pt x="1387366" y="25225"/>
                </a:lnTo>
              </a:path>
            </a:pathLst>
          </a:custGeom>
          <a:solidFill>
            <a:schemeClr val="accent4"/>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33" name="Gruppieren 32"/>
          <p:cNvGrpSpPr/>
          <p:nvPr/>
        </p:nvGrpSpPr>
        <p:grpSpPr>
          <a:xfrm>
            <a:off x="2248244" y="2285148"/>
            <a:ext cx="785293" cy="1974042"/>
            <a:chOff x="8974260" y="3385711"/>
            <a:chExt cx="785293" cy="1974042"/>
          </a:xfrm>
        </p:grpSpPr>
        <p:grpSp>
          <p:nvGrpSpPr>
            <p:cNvPr id="24" name="Gruppieren 23"/>
            <p:cNvGrpSpPr/>
            <p:nvPr/>
          </p:nvGrpSpPr>
          <p:grpSpPr>
            <a:xfrm rot="8762874">
              <a:off x="8974260" y="3385711"/>
              <a:ext cx="240847" cy="1974042"/>
              <a:chOff x="8675657" y="2646996"/>
              <a:chExt cx="240847" cy="1974042"/>
            </a:xfrm>
            <a:solidFill>
              <a:schemeClr val="bg2"/>
            </a:solidFill>
          </p:grpSpPr>
          <p:sp>
            <p:nvSpPr>
              <p:cNvPr id="3" name="Rechteck 2"/>
              <p:cNvSpPr/>
              <p:nvPr/>
            </p:nvSpPr>
            <p:spPr>
              <a:xfrm>
                <a:off x="8699341" y="2646996"/>
                <a:ext cx="196656" cy="1551334"/>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600" dirty="0" smtClean="0">
                  <a:solidFill>
                    <a:schemeClr val="tx1"/>
                  </a:solidFill>
                </a:endParaRPr>
              </a:p>
            </p:txBody>
          </p:sp>
          <p:sp>
            <p:nvSpPr>
              <p:cNvPr id="17" name="Gleichschenkliges Dreieck 16"/>
              <p:cNvSpPr/>
              <p:nvPr/>
            </p:nvSpPr>
            <p:spPr>
              <a:xfrm rot="10800000">
                <a:off x="8675657" y="4240328"/>
                <a:ext cx="240847" cy="380710"/>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600" dirty="0" smtClean="0">
                  <a:solidFill>
                    <a:schemeClr val="tx1"/>
                  </a:solidFill>
                </a:endParaRPr>
              </a:p>
            </p:txBody>
          </p:sp>
        </p:grpSp>
        <p:sp>
          <p:nvSpPr>
            <p:cNvPr id="31" name="Ellipse 30"/>
            <p:cNvSpPr/>
            <p:nvPr/>
          </p:nvSpPr>
          <p:spPr>
            <a:xfrm rot="19738401">
              <a:off x="9537276" y="5144059"/>
              <a:ext cx="222277" cy="98774"/>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600" dirty="0" smtClean="0">
                <a:solidFill>
                  <a:schemeClr val="tx1"/>
                </a:solidFill>
              </a:endParaRPr>
            </a:p>
          </p:txBody>
        </p:sp>
      </p:grpSp>
      <p:sp>
        <p:nvSpPr>
          <p:cNvPr id="34" name="Fußzeilenplatzhalter 2"/>
          <p:cNvSpPr txBox="1">
            <a:spLocks/>
          </p:cNvSpPr>
          <p:nvPr/>
        </p:nvSpPr>
        <p:spPr>
          <a:xfrm>
            <a:off x="317090" y="6362700"/>
            <a:ext cx="8636409" cy="266719"/>
          </a:xfrm>
          <a:prstGeom prst="rect">
            <a:avLst/>
          </a:prstGeom>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sz="1200" dirty="0" smtClean="0">
                <a:solidFill>
                  <a:schemeClr val="accent6"/>
                </a:solidFill>
              </a:rPr>
              <a:t> </a:t>
            </a:r>
            <a:r>
              <a:rPr lang="en-GB" sz="1200" dirty="0">
                <a:hlinkClick r:id="rId3" tooltip="Always points to the most recent version of this publication, which is accessible with your user rights. Depending on the status of the actual version you may directed to different versions."/>
              </a:rPr>
              <a:t>http://hdl.handle.net/11858/00-001M-0000-0026-C274-7</a:t>
            </a:r>
            <a:endParaRPr lang="de-DE" sz="1200" dirty="0">
              <a:solidFill>
                <a:schemeClr val="accent6"/>
              </a:solidFill>
            </a:endParaRPr>
          </a:p>
        </p:txBody>
      </p:sp>
    </p:spTree>
    <p:extLst>
      <p:ext uri="{BB962C8B-B14F-4D97-AF65-F5344CB8AC3E}">
        <p14:creationId xmlns:p14="http://schemas.microsoft.com/office/powerpoint/2010/main" val="27302228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0" presetClass="path" presetSubtype="0" accel="50000" decel="50000" fill="hold" nodeType="afterEffect">
                                  <p:stCondLst>
                                    <p:cond delay="0"/>
                                  </p:stCondLst>
                                  <p:childTnLst>
                                    <p:animMotion origin="layout" path="M -0.00609 0.03633 C 0.03943 0.04096 -0.02661 0.03448 0.10563 0.03818 C 0.10755 0.03818 0.10194 0.04003 0.10018 0.04096 C 0.09521 0.0435 0.09184 0.04558 0.08623 0.04628 C 0.07549 0.04998 0.06443 0.05484 0.05337 0.05646 C 0.04472 0.06016 0.0367 0.06247 0.02773 0.06386 C 0.02276 0.06548 0.01747 0.06594 0.0125 0.06756 C 0.00288 0.07057 -0.00673 0.07497 -0.01651 0.07682 C -0.01795 0.07751 -0.01907 0.07798 -0.02052 0.07867 C -0.02116 0.0789 -0.0226 0.0796 -0.0226 0.07983 C 0.01619 0.08353 0.05514 0.08191 0.09392 0.08307 C 0.10338 0.08353 0.11284 0.0826 0.12229 0.08492 C 0.12374 0.08538 0.11893 0.08584 0.11733 0.08584 C 0.10258 0.08631 0.08799 0.08654 0.07325 0.08677 C 0.06652 0.08792 0.06059 0.0907 0.05401 0.09325 C 0.04824 0.09926 0.04087 0.10088 0.03382 0.10343 C 0.02725 0.10597 0.02052 0.10713 0.01394 0.10898 C 0.00673 0.11106 -0.00048 0.1143 -0.00753 0.11708 C -0.01491 0.11985 -0.0226 0.12194 -0.03029 0.12356 C -0.03158 0.12379 -0.03302 0.12402 -0.03446 0.12448 C -0.03574 0.12494 -0.03847 0.12633 -0.03847 0.12656 C 0.03606 0.13304 0.08158 0.12865 0.18 0.12911 C 0.19009 0.13027 0.29524 0.13258 0.3055 0.13258 " pathEditMode="relative" rAng="0" ptsTypes="fffffffffffffffffffffff">
                                      <p:cBhvr>
                                        <p:cTn id="6" dur="2800" fill="hold"/>
                                        <p:tgtEl>
                                          <p:spTgt spid="33"/>
                                        </p:tgtEl>
                                        <p:attrNameLst>
                                          <p:attrName>ppt_x</p:attrName>
                                          <p:attrName>ppt_y</p:attrName>
                                        </p:attrNameLst>
                                      </p:cBhvr>
                                      <p:rCtr x="13961" y="4743"/>
                                    </p:animMotion>
                                  </p:childTnLst>
                                </p:cTn>
                              </p:par>
                              <p:par>
                                <p:cTn id="7" presetID="22" presetClass="entr" presetSubtype="8" fill="hold" grpId="0" nodeType="withEffect">
                                  <p:stCondLst>
                                    <p:cond delay="0"/>
                                  </p:stCondLst>
                                  <p:childTnLst>
                                    <p:set>
                                      <p:cBhvr>
                                        <p:cTn id="8" dur="1" fill="hold">
                                          <p:stCondLst>
                                            <p:cond delay="0"/>
                                          </p:stCondLst>
                                        </p:cTn>
                                        <p:tgtEl>
                                          <p:spTgt spid="4">
                                            <p:txEl>
                                              <p:pRg st="0" end="0"/>
                                            </p:txEl>
                                          </p:spTgt>
                                        </p:tgtEl>
                                        <p:attrNameLst>
                                          <p:attrName>style.visibility</p:attrName>
                                        </p:attrNameLst>
                                      </p:cBhvr>
                                      <p:to>
                                        <p:strVal val="visible"/>
                                      </p:to>
                                    </p:set>
                                    <p:animEffect transition="in" filter="wipe(left)">
                                      <p:cBhvr>
                                        <p:cTn id="9" dur="500"/>
                                        <p:tgtEl>
                                          <p:spTgt spid="4">
                                            <p:txEl>
                                              <p:pRg st="0" end="0"/>
                                            </p:txEl>
                                          </p:spTgt>
                                        </p:tgtEl>
                                      </p:cBhvr>
                                    </p:animEffect>
                                  </p:childTnLst>
                                </p:cTn>
                              </p:par>
                              <p:par>
                                <p:cTn id="10" presetID="22" presetClass="entr" presetSubtype="8" fill="hold" nodeType="withEffect">
                                  <p:stCondLst>
                                    <p:cond delay="500"/>
                                  </p:stCondLst>
                                  <p:childTnLst>
                                    <p:set>
                                      <p:cBhvr>
                                        <p:cTn id="11" dur="1" fill="hold">
                                          <p:stCondLst>
                                            <p:cond delay="0"/>
                                          </p:stCondLst>
                                        </p:cTn>
                                        <p:tgtEl>
                                          <p:spTgt spid="27"/>
                                        </p:tgtEl>
                                        <p:attrNameLst>
                                          <p:attrName>style.visibility</p:attrName>
                                        </p:attrNameLst>
                                      </p:cBhvr>
                                      <p:to>
                                        <p:strVal val="visible"/>
                                      </p:to>
                                    </p:set>
                                    <p:animEffect transition="in" filter="wipe(left)">
                                      <p:cBhvr>
                                        <p:cTn id="12" dur="500"/>
                                        <p:tgtEl>
                                          <p:spTgt spid="27"/>
                                        </p:tgtEl>
                                      </p:cBhvr>
                                    </p:animEffect>
                                  </p:childTnLst>
                                </p:cTn>
                              </p:par>
                              <p:par>
                                <p:cTn id="13" presetID="22" presetClass="entr" presetSubtype="8" fill="hold" grpId="0" nodeType="withEffect">
                                  <p:stCondLst>
                                    <p:cond delay="1100"/>
                                  </p:stCondLst>
                                  <p:childTnLst>
                                    <p:set>
                                      <p:cBhvr>
                                        <p:cTn id="14" dur="1" fill="hold">
                                          <p:stCondLst>
                                            <p:cond delay="0"/>
                                          </p:stCondLst>
                                        </p:cTn>
                                        <p:tgtEl>
                                          <p:spTgt spid="6"/>
                                        </p:tgtEl>
                                        <p:attrNameLst>
                                          <p:attrName>style.visibility</p:attrName>
                                        </p:attrNameLst>
                                      </p:cBhvr>
                                      <p:to>
                                        <p:strVal val="visible"/>
                                      </p:to>
                                    </p:set>
                                    <p:animEffect transition="in" filter="wipe(left)">
                                      <p:cBhvr>
                                        <p:cTn id="15" dur="500"/>
                                        <p:tgtEl>
                                          <p:spTgt spid="6"/>
                                        </p:tgtEl>
                                      </p:cBhvr>
                                    </p:animEffect>
                                  </p:childTnLst>
                                </p:cTn>
                              </p:par>
                              <p:par>
                                <p:cTn id="16" presetID="22" presetClass="entr" presetSubtype="8" fill="hold" grpId="0" nodeType="withEffect">
                                  <p:stCondLst>
                                    <p:cond delay="1700"/>
                                  </p:stCondLst>
                                  <p:childTnLst>
                                    <p:set>
                                      <p:cBhvr>
                                        <p:cTn id="17" dur="1" fill="hold">
                                          <p:stCondLst>
                                            <p:cond delay="0"/>
                                          </p:stCondLst>
                                        </p:cTn>
                                        <p:tgtEl>
                                          <p:spTgt spid="19"/>
                                        </p:tgtEl>
                                        <p:attrNameLst>
                                          <p:attrName>style.visibility</p:attrName>
                                        </p:attrNameLst>
                                      </p:cBhvr>
                                      <p:to>
                                        <p:strVal val="visible"/>
                                      </p:to>
                                    </p:set>
                                    <p:animEffect transition="in" filter="wipe(left)">
                                      <p:cBhvr>
                                        <p:cTn id="18" dur="500"/>
                                        <p:tgtEl>
                                          <p:spTgt spid="19"/>
                                        </p:tgtEl>
                                      </p:cBhvr>
                                    </p:animEffect>
                                  </p:childTnLst>
                                </p:cTn>
                              </p:par>
                              <p:par>
                                <p:cTn id="19" presetID="22" presetClass="entr" presetSubtype="8" fill="hold" grpId="0" nodeType="withEffect">
                                  <p:stCondLst>
                                    <p:cond delay="2200"/>
                                  </p:stCondLst>
                                  <p:childTnLst>
                                    <p:set>
                                      <p:cBhvr>
                                        <p:cTn id="20" dur="1" fill="hold">
                                          <p:stCondLst>
                                            <p:cond delay="0"/>
                                          </p:stCondLst>
                                        </p:cTn>
                                        <p:tgtEl>
                                          <p:spTgt spid="9"/>
                                        </p:tgtEl>
                                        <p:attrNameLst>
                                          <p:attrName>style.visibility</p:attrName>
                                        </p:attrNameLst>
                                      </p:cBhvr>
                                      <p:to>
                                        <p:strVal val="visible"/>
                                      </p:to>
                                    </p:set>
                                    <p:animEffect transition="in" filter="wipe(left)">
                                      <p:cBhvr>
                                        <p:cTn id="21" dur="500"/>
                                        <p:tgtEl>
                                          <p:spTgt spid="9"/>
                                        </p:tgtEl>
                                      </p:cBhvr>
                                    </p:animEffect>
                                  </p:childTnLst>
                                </p:cTn>
                              </p:par>
                            </p:childTnLst>
                          </p:cTn>
                        </p:par>
                      </p:childTnLst>
                    </p:cTn>
                  </p:par>
                  <p:par>
                    <p:cTn id="22" fill="hold">
                      <p:stCondLst>
                        <p:cond delay="indefinite"/>
                      </p:stCondLst>
                      <p:childTnLst>
                        <p:par>
                          <p:cTn id="23" fill="hold">
                            <p:stCondLst>
                              <p:cond delay="0"/>
                            </p:stCondLst>
                            <p:childTnLst>
                              <p:par>
                                <p:cTn id="24" presetID="0" presetClass="path" presetSubtype="0" accel="50000" decel="50000" fill="hold" nodeType="clickEffect">
                                  <p:stCondLst>
                                    <p:cond delay="0"/>
                                  </p:stCondLst>
                                  <p:childTnLst>
                                    <p:animMotion origin="layout" path="M 0.08238 0.29709 C 0.05722 0.30195 0.03222 0.30218 0.00721 0.30542 C -0.02068 0.30912 -0.04857 0.31699 -0.07662 0.31999 C -0.0803 0.32092 -0.08351 0.32208 -0.08703 0.32462 C -0.03382 0.34336 0.02132 0.32393 0.07533 0.3274 C 0.07854 0.32786 0.08206 0.32902 0.08543 0.32925 C 0.09745 0.33017 0.12133 0.3311 0.12133 0.33133 C 0.1231 0.33133 0.12502 0.33017 0.12662 0.33202 C 0.12758 0.33318 0.12454 0.33341 0.12342 0.33388 C 0.12085 0.33526 0.11829 0.33665 0.11556 0.33758 C 0.10995 0.33943 0.10386 0.33966 0.09809 0.34035 C 0.07774 0.34313 0.05786 0.34984 0.03783 0.35401 C 0.02933 0.35794 0.02003 0.35771 0.01122 0.35863 C -0.00769 0.36465 -0.02533 0.36627 -0.04472 0.36696 C -0.05434 0.36789 -0.06363 0.37066 -0.07325 0.37344 C -0.07806 0.37691 -0.08447 0.36928 -0.0888 0.37529 C -0.09232 0.38038 -0.08014 0.37599 -0.07581 0.37622 C -0.0686 0.37668 -0.06139 0.37691 -0.05434 0.37714 C -0.04296 0.38061 -0.03158 0.38246 -0.0202 0.38432 C -0.0133 0.38709 -0.00625 0.39426 0.00064 0.3945 C 0.01635 0.39519 0.0319 0.39519 0.0476 0.39542 C 0.03302 0.4056 0.01795 0.41069 0.00288 0.41463 C -0.01266 0.41879 -0.02757 0.42319 -0.04344 0.42481 C -0.05001 0.42689 -0.05642 0.4299 -0.06299 0.43128 C -0.06636 0.4336 -0.07036 0.43429 -0.07389 0.43499 C -0.06604 0.43568 -0.05866 0.43753 -0.05081 0.43869 C -0.04007 0.44332 -0.02805 0.4417 -0.01715 0.44239 C -0.00978 0.44401 -0.00224 0.44401 0.00513 0.44517 C 0.02308 0.45095 0.13063 0.45974 0.14906 0.45974 " pathEditMode="relative" rAng="0" ptsTypes="fffffffffffffffffffffffffffff">
                                      <p:cBhvr>
                                        <p:cTn id="25" dur="3200" fill="hold"/>
                                        <p:tgtEl>
                                          <p:spTgt spid="33"/>
                                        </p:tgtEl>
                                        <p:attrNameLst>
                                          <p:attrName>ppt_x</p:attrName>
                                          <p:attrName>ppt_y</p:attrName>
                                        </p:attrNameLst>
                                      </p:cBhvr>
                                      <p:rCtr x="-5402" y="8121"/>
                                    </p:animMotion>
                                  </p:childTnLst>
                                </p:cTn>
                              </p:par>
                              <p:par>
                                <p:cTn id="26" presetID="22" presetClass="entr" presetSubtype="8" fill="hold" grpId="0" nodeType="withEffect">
                                  <p:stCondLst>
                                    <p:cond delay="600"/>
                                  </p:stCondLst>
                                  <p:childTnLst>
                                    <p:set>
                                      <p:cBhvr>
                                        <p:cTn id="27" dur="1" fill="hold">
                                          <p:stCondLst>
                                            <p:cond delay="0"/>
                                          </p:stCondLst>
                                        </p:cTn>
                                        <p:tgtEl>
                                          <p:spTgt spid="11"/>
                                        </p:tgtEl>
                                        <p:attrNameLst>
                                          <p:attrName>style.visibility</p:attrName>
                                        </p:attrNameLst>
                                      </p:cBhvr>
                                      <p:to>
                                        <p:strVal val="visible"/>
                                      </p:to>
                                    </p:set>
                                    <p:animEffect transition="in" filter="wipe(left)">
                                      <p:cBhvr>
                                        <p:cTn id="28" dur="500"/>
                                        <p:tgtEl>
                                          <p:spTgt spid="11"/>
                                        </p:tgtEl>
                                      </p:cBhvr>
                                    </p:animEffect>
                                  </p:childTnLst>
                                </p:cTn>
                              </p:par>
                              <p:par>
                                <p:cTn id="29" presetID="22" presetClass="entr" presetSubtype="8" fill="hold" nodeType="withEffect">
                                  <p:stCondLst>
                                    <p:cond delay="1100"/>
                                  </p:stCondLst>
                                  <p:childTnLst>
                                    <p:set>
                                      <p:cBhvr>
                                        <p:cTn id="30" dur="1" fill="hold">
                                          <p:stCondLst>
                                            <p:cond delay="0"/>
                                          </p:stCondLst>
                                        </p:cTn>
                                        <p:tgtEl>
                                          <p:spTgt spid="22"/>
                                        </p:tgtEl>
                                        <p:attrNameLst>
                                          <p:attrName>style.visibility</p:attrName>
                                        </p:attrNameLst>
                                      </p:cBhvr>
                                      <p:to>
                                        <p:strVal val="visible"/>
                                      </p:to>
                                    </p:set>
                                    <p:animEffect transition="in" filter="wipe(left)">
                                      <p:cBhvr>
                                        <p:cTn id="31" dur="500"/>
                                        <p:tgtEl>
                                          <p:spTgt spid="22"/>
                                        </p:tgtEl>
                                      </p:cBhvr>
                                    </p:animEffect>
                                  </p:childTnLst>
                                </p:cTn>
                              </p:par>
                              <p:par>
                                <p:cTn id="32" presetID="22" presetClass="entr" presetSubtype="8" fill="hold" grpId="0" nodeType="withEffect">
                                  <p:stCondLst>
                                    <p:cond delay="1700"/>
                                  </p:stCondLst>
                                  <p:childTnLst>
                                    <p:set>
                                      <p:cBhvr>
                                        <p:cTn id="33" dur="1" fill="hold">
                                          <p:stCondLst>
                                            <p:cond delay="0"/>
                                          </p:stCondLst>
                                        </p:cTn>
                                        <p:tgtEl>
                                          <p:spTgt spid="12"/>
                                        </p:tgtEl>
                                        <p:attrNameLst>
                                          <p:attrName>style.visibility</p:attrName>
                                        </p:attrNameLst>
                                      </p:cBhvr>
                                      <p:to>
                                        <p:strVal val="visible"/>
                                      </p:to>
                                    </p:set>
                                    <p:animEffect transition="in" filter="wipe(left)">
                                      <p:cBhvr>
                                        <p:cTn id="34" dur="500"/>
                                        <p:tgtEl>
                                          <p:spTgt spid="12"/>
                                        </p:tgtEl>
                                      </p:cBhvr>
                                    </p:animEffect>
                                  </p:childTnLst>
                                </p:cTn>
                              </p:par>
                              <p:par>
                                <p:cTn id="35" presetID="22" presetClass="entr" presetSubtype="8" fill="hold" grpId="0" nodeType="withEffect">
                                  <p:stCondLst>
                                    <p:cond delay="2200"/>
                                  </p:stCondLst>
                                  <p:childTnLst>
                                    <p:set>
                                      <p:cBhvr>
                                        <p:cTn id="36" dur="1" fill="hold">
                                          <p:stCondLst>
                                            <p:cond delay="0"/>
                                          </p:stCondLst>
                                        </p:cTn>
                                        <p:tgtEl>
                                          <p:spTgt spid="18"/>
                                        </p:tgtEl>
                                        <p:attrNameLst>
                                          <p:attrName>style.visibility</p:attrName>
                                        </p:attrNameLst>
                                      </p:cBhvr>
                                      <p:to>
                                        <p:strVal val="visible"/>
                                      </p:to>
                                    </p:set>
                                    <p:animEffect transition="in" filter="wipe(left)">
                                      <p:cBhvr>
                                        <p:cTn id="37" dur="500"/>
                                        <p:tgtEl>
                                          <p:spTgt spid="18"/>
                                        </p:tgtEl>
                                      </p:cBhvr>
                                    </p:animEffect>
                                  </p:childTnLst>
                                </p:cTn>
                              </p:par>
                              <p:par>
                                <p:cTn id="38" presetID="22" presetClass="entr" presetSubtype="8" fill="hold" grpId="0" nodeType="withEffect">
                                  <p:stCondLst>
                                    <p:cond delay="2700"/>
                                  </p:stCondLst>
                                  <p:childTnLst>
                                    <p:set>
                                      <p:cBhvr>
                                        <p:cTn id="39" dur="1" fill="hold">
                                          <p:stCondLst>
                                            <p:cond delay="0"/>
                                          </p:stCondLst>
                                        </p:cTn>
                                        <p:tgtEl>
                                          <p:spTgt spid="13"/>
                                        </p:tgtEl>
                                        <p:attrNameLst>
                                          <p:attrName>style.visibility</p:attrName>
                                        </p:attrNameLst>
                                      </p:cBhvr>
                                      <p:to>
                                        <p:strVal val="visible"/>
                                      </p:to>
                                    </p:set>
                                    <p:animEffect transition="in" filter="wipe(left)">
                                      <p:cBhvr>
                                        <p:cTn id="40" dur="500"/>
                                        <p:tgtEl>
                                          <p:spTgt spid="13"/>
                                        </p:tgtEl>
                                      </p:cBhvr>
                                    </p:animEffect>
                                  </p:childTnLst>
                                </p:cTn>
                              </p:par>
                            </p:childTnLst>
                          </p:cTn>
                        </p:par>
                      </p:childTnLst>
                    </p:cTn>
                  </p:par>
                  <p:par>
                    <p:cTn id="41" fill="hold">
                      <p:stCondLst>
                        <p:cond delay="indefinite"/>
                      </p:stCondLst>
                      <p:childTnLst>
                        <p:par>
                          <p:cTn id="42" fill="hold">
                            <p:stCondLst>
                              <p:cond delay="0"/>
                            </p:stCondLst>
                            <p:childTnLst>
                              <p:par>
                                <p:cTn id="43" presetID="0" presetClass="path" presetSubtype="0" accel="50000" decel="50000" fill="hold" nodeType="clickEffect">
                                  <p:stCondLst>
                                    <p:cond delay="0"/>
                                  </p:stCondLst>
                                  <p:childTnLst>
                                    <p:animMotion origin="layout" path="M 0.47171 0.03008 C 0.50072 0.03031 0.56259 0.02106 0.6025 0.03563 C 0.5908 0.04188 0.57782 0.0435 0.56579 0.04674 C 0.56051 0.05021 0.55586 0.04998 0.55025 0.05137 C 0.54592 0.05252 0.54191 0.05414 0.53759 0.05507 C 0.53278 0.05785 0.52781 0.05877 0.52268 0.0597 C 0.51194 0.06409 0.50008 0.06479 0.48902 0.06594 C 0.47588 0.07011 0.46257 0.07451 0.44943 0.07798 C 0.45985 0.08214 0.47139 0.08098 0.48197 0.08168 C 0.49816 0.08538 0.51515 0.08422 0.53133 0.08631 C 0.52252 0.09602 0.5097 0.09741 0.49928 0.10088 C 0.49303 0.10597 0.48613 0.10875 0.47972 0.11291 C 0.47171 0.118 0.46402 0.12309 0.45616 0.12865 C 0.4536 0.1305 0.44991 0.13466 0.44703 0.13582 C 0.43805 0.13952 0.42907 0.14484 0.4201 0.1497 C 0.41625 0.15178 0.41353 0.15549 0.41048 0.15896 C 0.40824 0.16127 0.40471 0.16289 0.40231 0.16428 C 0.40167 0.1652 0.4007 0.1659 0.40006 0.16705 C 0.39926 0.16821 0.39894 0.16983 0.3983 0.17076 C 0.3959 0.17423 0.39157 0.17839 0.38868 0.18186 C 0.39718 0.18464 0.40615 0.1851 0.41481 0.18649 C 0.43052 0.19274 0.47155 0.18973 0.48774 0.19019 C 0.51434 0.19204 0.54095 0.19389 0.56756 0.19575 C 0.58631 0.19898 0.60538 0.19829 0.6243 0.19922 C 0.63087 0.2006 0.6376 0.20246 0.64433 0.20292 C 0.65123 0.20338 0.67543 0.20593 0.67543 0.20616 " pathEditMode="relative" rAng="0" ptsTypes="ffffffffffffffffffffffffff">
                                      <p:cBhvr>
                                        <p:cTn id="44" dur="2700" fill="hold"/>
                                        <p:tgtEl>
                                          <p:spTgt spid="33"/>
                                        </p:tgtEl>
                                        <p:attrNameLst>
                                          <p:attrName>ppt_x</p:attrName>
                                          <p:attrName>ppt_y</p:attrName>
                                        </p:attrNameLst>
                                      </p:cBhvr>
                                      <p:rCtr x="6027" y="8353"/>
                                    </p:animMotion>
                                  </p:childTnLst>
                                </p:cTn>
                              </p:par>
                              <p:par>
                                <p:cTn id="45" presetID="22" presetClass="entr" presetSubtype="8" fill="hold" grpId="0" nodeType="withEffect">
                                  <p:stCondLst>
                                    <p:cond delay="0"/>
                                  </p:stCondLst>
                                  <p:childTnLst>
                                    <p:set>
                                      <p:cBhvr>
                                        <p:cTn id="46" dur="1" fill="hold">
                                          <p:stCondLst>
                                            <p:cond delay="0"/>
                                          </p:stCondLst>
                                        </p:cTn>
                                        <p:tgtEl>
                                          <p:spTgt spid="7"/>
                                        </p:tgtEl>
                                        <p:attrNameLst>
                                          <p:attrName>style.visibility</p:attrName>
                                        </p:attrNameLst>
                                      </p:cBhvr>
                                      <p:to>
                                        <p:strVal val="visible"/>
                                      </p:to>
                                    </p:set>
                                    <p:animEffect transition="in" filter="wipe(left)">
                                      <p:cBhvr>
                                        <p:cTn id="47" dur="500"/>
                                        <p:tgtEl>
                                          <p:spTgt spid="7"/>
                                        </p:tgtEl>
                                      </p:cBhvr>
                                    </p:animEffect>
                                  </p:childTnLst>
                                </p:cTn>
                              </p:par>
                              <p:par>
                                <p:cTn id="48" presetID="22" presetClass="entr" presetSubtype="8" fill="hold" grpId="0" nodeType="withEffect">
                                  <p:stCondLst>
                                    <p:cond delay="500"/>
                                  </p:stCondLst>
                                  <p:childTnLst>
                                    <p:set>
                                      <p:cBhvr>
                                        <p:cTn id="49" dur="1" fill="hold">
                                          <p:stCondLst>
                                            <p:cond delay="0"/>
                                          </p:stCondLst>
                                        </p:cTn>
                                        <p:tgtEl>
                                          <p:spTgt spid="45"/>
                                        </p:tgtEl>
                                        <p:attrNameLst>
                                          <p:attrName>style.visibility</p:attrName>
                                        </p:attrNameLst>
                                      </p:cBhvr>
                                      <p:to>
                                        <p:strVal val="visible"/>
                                      </p:to>
                                    </p:set>
                                    <p:animEffect transition="in" filter="wipe(left)">
                                      <p:cBhvr>
                                        <p:cTn id="50" dur="500"/>
                                        <p:tgtEl>
                                          <p:spTgt spid="45"/>
                                        </p:tgtEl>
                                      </p:cBhvr>
                                    </p:animEffect>
                                  </p:childTnLst>
                                </p:cTn>
                              </p:par>
                              <p:par>
                                <p:cTn id="51" presetID="22" presetClass="entr" presetSubtype="8" fill="hold" grpId="0" nodeType="withEffect">
                                  <p:stCondLst>
                                    <p:cond delay="1000"/>
                                  </p:stCondLst>
                                  <p:childTnLst>
                                    <p:set>
                                      <p:cBhvr>
                                        <p:cTn id="52" dur="1" fill="hold">
                                          <p:stCondLst>
                                            <p:cond delay="0"/>
                                          </p:stCondLst>
                                        </p:cTn>
                                        <p:tgtEl>
                                          <p:spTgt spid="8"/>
                                        </p:tgtEl>
                                        <p:attrNameLst>
                                          <p:attrName>style.visibility</p:attrName>
                                        </p:attrNameLst>
                                      </p:cBhvr>
                                      <p:to>
                                        <p:strVal val="visible"/>
                                      </p:to>
                                    </p:set>
                                    <p:animEffect transition="in" filter="wipe(left)">
                                      <p:cBhvr>
                                        <p:cTn id="53" dur="500"/>
                                        <p:tgtEl>
                                          <p:spTgt spid="8"/>
                                        </p:tgtEl>
                                      </p:cBhvr>
                                    </p:animEffect>
                                  </p:childTnLst>
                                </p:cTn>
                              </p:par>
                              <p:par>
                                <p:cTn id="54" presetID="22" presetClass="entr" presetSubtype="8" fill="hold" grpId="0" nodeType="withEffect">
                                  <p:stCondLst>
                                    <p:cond delay="1600"/>
                                  </p:stCondLst>
                                  <p:childTnLst>
                                    <p:set>
                                      <p:cBhvr>
                                        <p:cTn id="55" dur="1" fill="hold">
                                          <p:stCondLst>
                                            <p:cond delay="0"/>
                                          </p:stCondLst>
                                        </p:cTn>
                                        <p:tgtEl>
                                          <p:spTgt spid="46"/>
                                        </p:tgtEl>
                                        <p:attrNameLst>
                                          <p:attrName>style.visibility</p:attrName>
                                        </p:attrNameLst>
                                      </p:cBhvr>
                                      <p:to>
                                        <p:strVal val="visible"/>
                                      </p:to>
                                    </p:set>
                                    <p:animEffect transition="in" filter="wipe(left)">
                                      <p:cBhvr>
                                        <p:cTn id="56" dur="500"/>
                                        <p:tgtEl>
                                          <p:spTgt spid="46"/>
                                        </p:tgtEl>
                                      </p:cBhvr>
                                    </p:animEffect>
                                  </p:childTnLst>
                                </p:cTn>
                              </p:par>
                              <p:par>
                                <p:cTn id="57" presetID="22" presetClass="entr" presetSubtype="8" fill="hold" grpId="0" nodeType="withEffect">
                                  <p:stCondLst>
                                    <p:cond delay="2100"/>
                                  </p:stCondLst>
                                  <p:childTnLst>
                                    <p:set>
                                      <p:cBhvr>
                                        <p:cTn id="58" dur="1" fill="hold">
                                          <p:stCondLst>
                                            <p:cond delay="0"/>
                                          </p:stCondLst>
                                        </p:cTn>
                                        <p:tgtEl>
                                          <p:spTgt spid="10"/>
                                        </p:tgtEl>
                                        <p:attrNameLst>
                                          <p:attrName>style.visibility</p:attrName>
                                        </p:attrNameLst>
                                      </p:cBhvr>
                                      <p:to>
                                        <p:strVal val="visible"/>
                                      </p:to>
                                    </p:set>
                                    <p:animEffect transition="in" filter="wipe(left)">
                                      <p:cBhvr>
                                        <p:cTn id="59" dur="500"/>
                                        <p:tgtEl>
                                          <p:spTgt spid="10"/>
                                        </p:tgtEl>
                                      </p:cBhvr>
                                    </p:animEffect>
                                  </p:childTnLst>
                                </p:cTn>
                              </p:par>
                              <p:par>
                                <p:cTn id="60" presetID="22" presetClass="entr" presetSubtype="8" fill="hold" grpId="0" nodeType="withEffect">
                                  <p:stCondLst>
                                    <p:cond delay="2200"/>
                                  </p:stCondLst>
                                  <p:childTnLst>
                                    <p:set>
                                      <p:cBhvr>
                                        <p:cTn id="61" dur="1" fill="hold">
                                          <p:stCondLst>
                                            <p:cond delay="0"/>
                                          </p:stCondLst>
                                        </p:cTn>
                                        <p:tgtEl>
                                          <p:spTgt spid="47"/>
                                        </p:tgtEl>
                                        <p:attrNameLst>
                                          <p:attrName>style.visibility</p:attrName>
                                        </p:attrNameLst>
                                      </p:cBhvr>
                                      <p:to>
                                        <p:strVal val="visible"/>
                                      </p:to>
                                    </p:set>
                                    <p:animEffect transition="in" filter="wipe(left)">
                                      <p:cBhvr>
                                        <p:cTn id="62" dur="500"/>
                                        <p:tgtEl>
                                          <p:spTgt spid="47"/>
                                        </p:tgtEl>
                                      </p:cBhvr>
                                    </p:animEffect>
                                  </p:childTnLst>
                                </p:cTn>
                              </p:par>
                              <p:par>
                                <p:cTn id="63" presetID="22" presetClass="entr" presetSubtype="8" fill="hold" grpId="0" nodeType="withEffect">
                                  <p:stCondLst>
                                    <p:cond delay="2300"/>
                                  </p:stCondLst>
                                  <p:childTnLst>
                                    <p:set>
                                      <p:cBhvr>
                                        <p:cTn id="64" dur="1" fill="hold">
                                          <p:stCondLst>
                                            <p:cond delay="0"/>
                                          </p:stCondLst>
                                        </p:cTn>
                                        <p:tgtEl>
                                          <p:spTgt spid="48"/>
                                        </p:tgtEl>
                                        <p:attrNameLst>
                                          <p:attrName>style.visibility</p:attrName>
                                        </p:attrNameLst>
                                      </p:cBhvr>
                                      <p:to>
                                        <p:strVal val="visible"/>
                                      </p:to>
                                    </p:set>
                                    <p:animEffect transition="in" filter="wipe(left)">
                                      <p:cBhvr>
                                        <p:cTn id="65" dur="500"/>
                                        <p:tgtEl>
                                          <p:spTgt spid="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P spid="6" grpId="0"/>
      <p:bldP spid="7" grpId="0"/>
      <p:bldP spid="8" grpId="0"/>
      <p:bldP spid="9" grpId="0"/>
      <p:bldP spid="10" grpId="0"/>
      <p:bldP spid="11" grpId="0"/>
      <p:bldP spid="12" grpId="0"/>
      <p:bldP spid="13" grpId="0"/>
      <p:bldP spid="18" grpId="0" animBg="1"/>
      <p:bldP spid="19" grpId="0" animBg="1"/>
      <p:bldP spid="45" grpId="0" animBg="1"/>
      <p:bldP spid="46" grpId="0" animBg="1"/>
      <p:bldP spid="47" grpId="0" animBg="1"/>
      <p:bldP spid="48"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48&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d.%m.%Y&lt;/m_strFormatTime&gt;&lt;/m_precDefaultDate&gt;&lt;m_precDefaultYear/&gt;&lt;m_precDefaultQuarter/&gt;&lt;m_precDefaultMonth/&gt;&lt;m_precDefaultWeek/&gt;&lt;m_precDefaultDay/&gt;&lt;m_mruColor&gt;&lt;m_vecMRU length=&quot;5&quot;&gt;&lt;elem m_fUsage=&quot;3.90530403910000070000E+000&quot;&gt;&lt;m_msothmcolidx val=&quot;0&quot;/&gt;&lt;m_rgb r=&quot;7d&quot; g=&quot;aa&quot; b=&quot;ed&quot;/&gt;&lt;m_ppcolschidx tagver0=&quot;23004&quot; tagname0=&quot;m_ppcolschidxUNRECOGNIZED&quot; val=&quot;0&quot;/&gt;&lt;m_nBrightness val=&quot;0&quot;/&gt;&lt;/elem&gt;&lt;elem m_fUsage=&quot;9.69910596090000190000E-001&quot;&gt;&lt;m_msothmcolidx val=&quot;0&quot;/&gt;&lt;m_rgb r=&quot;84&quot; g=&quot;9f&quot; b=&quot;c2&quot;/&gt;&lt;m_ppcolschidx tagver0=&quot;23004&quot; tagname0=&quot;m_ppcolschidxUNRECOGNIZED&quot; val=&quot;0&quot;/&gt;&lt;m_nBrightness val=&quot;0&quot;/&gt;&lt;/elem&gt;&lt;elem m_fUsage=&quot;9.00000000000000020000E-001&quot;&gt;&lt;m_msothmcolidx val=&quot;0&quot;/&gt;&lt;m_rgb r=&quot;de&quot; g=&quot;e5&quot; b=&quot;ee&quot;/&gt;&lt;m_ppcolschidx tagver0=&quot;23004&quot; tagname0=&quot;m_ppcolschidxUNRECOGNIZED&quot; val=&quot;0&quot;/&gt;&lt;m_nBrightness val=&quot;0&quot;/&gt;&lt;/elem&gt;&lt;elem m_fUsage=&quot;8.10000000000000050000E-001&quot;&gt;&lt;m_msothmcolidx val=&quot;0&quot;/&gt;&lt;m_rgb r=&quot;be&quot; g=&quot;d4&quot; b=&quot;f6&quot;/&gt;&lt;m_ppcolschidx tagver0=&quot;23004&quot; tagname0=&quot;m_ppcolschidxUNRECOGNIZED&quot; val=&quot;0&quot;/&gt;&lt;m_nBrightness val=&quot;0&quot;/&gt;&lt;/elem&gt;&lt;elem m_fUsage=&quot;5.90490000000000180000E-001&quot;&gt;&lt;m_msothmcolidx val=&quot;0&quot;/&gt;&lt;m_rgb r=&quot;0&quot; g=&quot;66&quot; b=&quot;0&quot;/&gt;&lt;m_ppcolschidx tagver0=&quot;23004&quot; tagname0=&quot;m_ppcolschidxUNRECOGNIZED&quot; val=&quot;0&quot;/&gt;&lt;m_nBrightness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xqaXVBQt90arWlA4myBoU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xqaXVBQt90arWlA4myBoU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xqaXVBQt90arWlA4myBoU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xqaXVBQt90arWlA4myBoU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xqaXVBQt90arWlA4myBoU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xqaXVBQt90arWlA4myBoU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xqaXVBQt90arWlA4myBoU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xqaXVBQt90arWlA4myBoU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xqaXVBQt90arWlA4myBoU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xqaXVBQt90arWlA4myBoU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xqaXVBQt90arWlA4myBoU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xqaXVBQt90arWlA4myBoU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xqaXVBQt90arWlA4myBoU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xqaXVBQt90arWlA4myBoU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xqaXVBQt90arWlA4myBoU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xqaXVBQt90arWlA4myBoU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xqaXVBQt90arWlA4myBoU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xqaXVBQt90arWlA4myBoU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xqaXVBQt90arWlA4myBoU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xqaXVBQt90arWlA4myBoU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HVstNLjY0CAGwpdO4KMP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4zm_zCOo7kyON9WbNsTPB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3dmZzc_Ez0mtCDGQVSb6K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xqaXVBQt90arWlA4myBoU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HHVstNLjY0CAGwpdO4KMPg"/>
</p:tagLst>
</file>

<file path=ppt/theme/theme1.xml><?xml version="1.0" encoding="utf-8"?>
<a:theme xmlns:a="http://schemas.openxmlformats.org/drawingml/2006/main" name="MPDL PPT Template (Leerpräsentation) 20120307">
  <a:themeElements>
    <a:clrScheme name="Benutzerdefiniert 4">
      <a:dk1>
        <a:sysClr val="windowText" lastClr="000000"/>
      </a:dk1>
      <a:lt1>
        <a:srgbClr val="FFFFFF"/>
      </a:lt1>
      <a:dk2>
        <a:srgbClr val="606060"/>
      </a:dk2>
      <a:lt2>
        <a:srgbClr val="F2F2F2"/>
      </a:lt2>
      <a:accent1>
        <a:srgbClr val="C0C0C0"/>
      </a:accent1>
      <a:accent2>
        <a:srgbClr val="7F7F7F"/>
      </a:accent2>
      <a:accent3>
        <a:srgbClr val="FFC865"/>
      </a:accent3>
      <a:accent4>
        <a:srgbClr val="F29A00"/>
      </a:accent4>
      <a:accent5>
        <a:srgbClr val="EF7E5F"/>
      </a:accent5>
      <a:accent6>
        <a:srgbClr val="DB3F16"/>
      </a:accent6>
      <a:hlink>
        <a:srgbClr val="DB3F16"/>
      </a:hlink>
      <a:folHlink>
        <a:srgbClr val="7C7C7C"/>
      </a:folHlink>
    </a:clrScheme>
    <a:fontScheme name="Benutzerdefiniert 4">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spPr>
      <a:bodyPr lIns="72000" tIns="72000" rIns="72000" bIns="72000" rtlCol="0" anchor="ctr">
        <a:noAutofit/>
      </a:bodyPr>
      <a:lstStyle>
        <a:defPPr algn="ctr">
          <a:defRPr sz="12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MPDL PPT Template (Leerpräsentation) 20120307</Template>
  <TotalTime>0</TotalTime>
  <Words>2997</Words>
  <Application>Microsoft Office PowerPoint</Application>
  <PresentationFormat>A4 Paper (210x297 mm)</PresentationFormat>
  <Paragraphs>531</Paragraphs>
  <Slides>39</Slides>
  <Notes>34</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39</vt:i4>
      </vt:variant>
    </vt:vector>
  </HeadingPairs>
  <TitlesOfParts>
    <vt:vector size="47" baseType="lpstr">
      <vt:lpstr>Arial</vt:lpstr>
      <vt:lpstr>Calibri</vt:lpstr>
      <vt:lpstr>MV Boli</vt:lpstr>
      <vt:lpstr>Symbol</vt:lpstr>
      <vt:lpstr>Verdana</vt:lpstr>
      <vt:lpstr>Wingdings</vt:lpstr>
      <vt:lpstr>MPDL PPT Template (Leerpräsentation) 20120307</vt:lpstr>
      <vt:lpstr>think-cell Folie</vt:lpstr>
      <vt:lpstr>Accelerating the transition to Open Access The global OA2020 Initiativ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everaging Bibliodiversity</dc:title>
  <dc:subject>Mandate for our money</dc:subject>
  <dc:creator/>
  <cp:keywords>OA2020: Initiative for the large-scale transformation to open access</cp:keywords>
  <cp:lastModifiedBy/>
  <cp:revision>1</cp:revision>
  <cp:lastPrinted>2013-01-22T15:34:55Z</cp:lastPrinted>
  <dcterms:created xsi:type="dcterms:W3CDTF">2013-01-22T07:58:38Z</dcterms:created>
  <dcterms:modified xsi:type="dcterms:W3CDTF">2019-03-18T09:53:04Z</dcterms:modified>
</cp:coreProperties>
</file>